
<file path=[Content_Types].xml><?xml version="1.0" encoding="utf-8"?>
<Types xmlns="http://schemas.openxmlformats.org/package/2006/content-types">
  <Default Extension="gif" ContentType="image/gi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  <p:sldMasterId id="2147483675" r:id="rId2"/>
  </p:sldMasterIdLst>
  <p:notesMasterIdLst>
    <p:notesMasterId r:id="rId27"/>
  </p:notesMasterIdLst>
  <p:sldIdLst>
    <p:sldId id="303" r:id="rId3"/>
    <p:sldId id="309" r:id="rId4"/>
    <p:sldId id="304" r:id="rId5"/>
    <p:sldId id="321" r:id="rId6"/>
    <p:sldId id="332" r:id="rId7"/>
    <p:sldId id="355" r:id="rId8"/>
    <p:sldId id="356" r:id="rId9"/>
    <p:sldId id="360" r:id="rId10"/>
    <p:sldId id="359" r:id="rId11"/>
    <p:sldId id="361" r:id="rId12"/>
    <p:sldId id="362" r:id="rId13"/>
    <p:sldId id="294" r:id="rId14"/>
    <p:sldId id="293" r:id="rId15"/>
    <p:sldId id="363" r:id="rId16"/>
    <p:sldId id="348" r:id="rId17"/>
    <p:sldId id="364" r:id="rId18"/>
    <p:sldId id="352" r:id="rId19"/>
    <p:sldId id="366" r:id="rId20"/>
    <p:sldId id="367" r:id="rId21"/>
    <p:sldId id="365" r:id="rId22"/>
    <p:sldId id="354" r:id="rId23"/>
    <p:sldId id="328" r:id="rId24"/>
    <p:sldId id="331" r:id="rId25"/>
    <p:sldId id="301" r:id="rId26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80">
          <p15:clr>
            <a:srgbClr val="A4A3A4"/>
          </p15:clr>
        </p15:guide>
        <p15:guide id="2" pos="2933">
          <p15:clr>
            <a:srgbClr val="A4A3A4"/>
          </p15:clr>
        </p15:guide>
        <p15:guide id="3" pos="196">
          <p15:clr>
            <a:srgbClr val="9AA0A6"/>
          </p15:clr>
        </p15:guide>
        <p15:guide id="4" pos="5564">
          <p15:clr>
            <a:srgbClr val="9AA0A6"/>
          </p15:clr>
        </p15:guide>
        <p15:guide id="5" orient="horz" pos="170">
          <p15:clr>
            <a:srgbClr val="9AA0A6"/>
          </p15:clr>
        </p15:guide>
        <p15:guide id="6" orient="horz" pos="523">
          <p15:clr>
            <a:srgbClr val="9AA0A6"/>
          </p15:clr>
        </p15:guide>
        <p15:guide id="7" orient="horz" pos="963">
          <p15:clr>
            <a:srgbClr val="9AA0A6"/>
          </p15:clr>
        </p15:guide>
        <p15:guide id="8" orient="horz" pos="1404">
          <p15:clr>
            <a:srgbClr val="9AA0A6"/>
          </p15:clr>
        </p15:guide>
        <p15:guide id="9" orient="horz" pos="1298">
          <p15:clr>
            <a:srgbClr val="9AA0A6"/>
          </p15:clr>
        </p15:guide>
        <p15:guide id="10" orient="horz" pos="1845">
          <p15:clr>
            <a:srgbClr val="9AA0A6"/>
          </p15:clr>
        </p15:guide>
        <p15:guide id="11" orient="horz" pos="1739">
          <p15:clr>
            <a:srgbClr val="9AA0A6"/>
          </p15:clr>
        </p15:guide>
        <p15:guide id="12" orient="horz" pos="2286">
          <p15:clr>
            <a:srgbClr val="9AA0A6"/>
          </p15:clr>
        </p15:guide>
        <p15:guide id="13" orient="horz" pos="2726">
          <p15:clr>
            <a:srgbClr val="9AA0A6"/>
          </p15:clr>
        </p15:guide>
        <p15:guide id="14" orient="horz" pos="2621">
          <p15:clr>
            <a:srgbClr val="9AA0A6"/>
          </p15:clr>
        </p15:guide>
        <p15:guide id="15" pos="547">
          <p15:clr>
            <a:srgbClr val="9AA0A6"/>
          </p15:clr>
        </p15:guide>
        <p15:guide id="16" pos="1003">
          <p15:clr>
            <a:srgbClr val="9AA0A6"/>
          </p15:clr>
        </p15:guide>
        <p15:guide id="17" pos="1109">
          <p15:clr>
            <a:srgbClr val="9AA0A6"/>
          </p15:clr>
        </p15:guide>
        <p15:guide id="18" pos="652">
          <p15:clr>
            <a:srgbClr val="9AA0A6"/>
          </p15:clr>
        </p15:guide>
        <p15:guide id="19" pos="1459">
          <p15:clr>
            <a:srgbClr val="9AA0A6"/>
          </p15:clr>
        </p15:guide>
        <p15:guide id="20" pos="1565">
          <p15:clr>
            <a:srgbClr val="9AA0A6"/>
          </p15:clr>
        </p15:guide>
        <p15:guide id="21" pos="1915">
          <p15:clr>
            <a:srgbClr val="9AA0A6"/>
          </p15:clr>
        </p15:guide>
        <p15:guide id="22" pos="2021">
          <p15:clr>
            <a:srgbClr val="9AA0A6"/>
          </p15:clr>
        </p15:guide>
        <p15:guide id="23" pos="2371">
          <p15:clr>
            <a:srgbClr val="9AA0A6"/>
          </p15:clr>
        </p15:guide>
        <p15:guide id="24" pos="2477">
          <p15:clr>
            <a:srgbClr val="9AA0A6"/>
          </p15:clr>
        </p15:guide>
        <p15:guide id="25" pos="2827">
          <p15:clr>
            <a:srgbClr val="9AA0A6"/>
          </p15:clr>
        </p15:guide>
        <p15:guide id="26" pos="3283">
          <p15:clr>
            <a:srgbClr val="9AA0A6"/>
          </p15:clr>
        </p15:guide>
        <p15:guide id="27" pos="3389">
          <p15:clr>
            <a:srgbClr val="9AA0A6"/>
          </p15:clr>
        </p15:guide>
        <p15:guide id="28" pos="3739">
          <p15:clr>
            <a:srgbClr val="9AA0A6"/>
          </p15:clr>
        </p15:guide>
        <p15:guide id="29" pos="3845">
          <p15:clr>
            <a:srgbClr val="9AA0A6"/>
          </p15:clr>
        </p15:guide>
        <p15:guide id="30" pos="4196">
          <p15:clr>
            <a:srgbClr val="9AA0A6"/>
          </p15:clr>
        </p15:guide>
        <p15:guide id="31" pos="4301">
          <p15:clr>
            <a:srgbClr val="9AA0A6"/>
          </p15:clr>
        </p15:guide>
        <p15:guide id="32" pos="4652">
          <p15:clr>
            <a:srgbClr val="9AA0A6"/>
          </p15:clr>
        </p15:guide>
        <p15:guide id="33" pos="4757">
          <p15:clr>
            <a:srgbClr val="9AA0A6"/>
          </p15:clr>
        </p15:guide>
        <p15:guide id="34" pos="5108">
          <p15:clr>
            <a:srgbClr val="9AA0A6"/>
          </p15:clr>
        </p15:guide>
        <p15:guide id="35" pos="5213">
          <p15:clr>
            <a:srgbClr val="9AA0A6"/>
          </p15:clr>
        </p15:guide>
        <p15:guide id="36" orient="horz" pos="849">
          <p15:clr>
            <a:srgbClr val="9AA0A6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Руслан Ахметов" initials="РА" lastIdx="1" clrIdx="0">
    <p:extLst>
      <p:ext uri="{19B8F6BF-5375-455C-9EA6-DF929625EA0E}">
        <p15:presenceInfo xmlns:p15="http://schemas.microsoft.com/office/powerpoint/2012/main" userId="9159c4ec515a59b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7800"/>
    <a:srgbClr val="FFAB40"/>
    <a:srgbClr val="FFD094"/>
    <a:srgbClr val="CB7A12"/>
    <a:srgbClr val="CD7B12"/>
    <a:srgbClr val="FF6600"/>
    <a:srgbClr val="FA6500"/>
    <a:srgbClr val="7F7F7F"/>
    <a:srgbClr val="2F5597"/>
    <a:srgbClr val="1931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13" autoAdjust="0"/>
    <p:restoredTop sz="73266" autoAdjust="0"/>
  </p:normalViewPr>
  <p:slideViewPr>
    <p:cSldViewPr snapToGrid="0">
      <p:cViewPr varScale="1">
        <p:scale>
          <a:sx n="116" d="100"/>
          <a:sy n="116" d="100"/>
        </p:scale>
        <p:origin x="1026" y="84"/>
      </p:cViewPr>
      <p:guideLst>
        <p:guide orient="horz" pos="2180"/>
        <p:guide pos="2933"/>
        <p:guide pos="196"/>
        <p:guide pos="5564"/>
        <p:guide orient="horz" pos="170"/>
        <p:guide orient="horz" pos="523"/>
        <p:guide orient="horz" pos="963"/>
        <p:guide orient="horz" pos="1404"/>
        <p:guide orient="horz" pos="1298"/>
        <p:guide orient="horz" pos="1845"/>
        <p:guide orient="horz" pos="1739"/>
        <p:guide orient="horz" pos="2286"/>
        <p:guide orient="horz" pos="2726"/>
        <p:guide orient="horz" pos="2621"/>
        <p:guide pos="547"/>
        <p:guide pos="1003"/>
        <p:guide pos="1109"/>
        <p:guide pos="652"/>
        <p:guide pos="1459"/>
        <p:guide pos="1565"/>
        <p:guide pos="1915"/>
        <p:guide pos="2021"/>
        <p:guide pos="2371"/>
        <p:guide pos="2477"/>
        <p:guide pos="2827"/>
        <p:guide pos="3283"/>
        <p:guide pos="3389"/>
        <p:guide pos="3739"/>
        <p:guide pos="3845"/>
        <p:guide pos="4196"/>
        <p:guide pos="4301"/>
        <p:guide pos="4652"/>
        <p:guide pos="4757"/>
        <p:guide pos="5108"/>
        <p:guide pos="5213"/>
        <p:guide orient="horz" pos="849"/>
      </p:guideLst>
    </p:cSldViewPr>
  </p:slideViewPr>
  <p:notesTextViewPr>
    <p:cViewPr>
      <p:scale>
        <a:sx n="75" d="100"/>
        <a:sy n="7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khmetovrv\Desktop\&#1090;&#1088;&#1072;&#1085;&#1089;&#1092;&#1086;&#1088;&#1084;&#1072;&#1090;&#1086;&#1088;&#1085;&#1086;&#1077;%20&#1084;&#1072;&#1089;&#1083;&#1086;\&#1043;&#1056;&#1040;&#1060;&#1048;&#1050;&#1048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khmetovrv\Desktop\&#1090;&#1088;&#1072;&#1085;&#1089;&#1092;&#1086;&#1088;&#1084;&#1072;&#1090;&#1086;&#1088;&#1085;&#1086;&#1077;%20&#1084;&#1072;&#1089;&#1083;&#1086;\&#1043;&#1056;&#1040;&#1060;&#1048;&#1050;&#1048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khmetovrv\Desktop\&#1055;&#1088;&#1086;&#1076;&#1091;&#1082;&#1090;&#1086;&#1074;&#1072;&#1103;%20&#1083;&#1080;&#1085;&#1077;&#1081;&#1082;&#1072;\&#1057;&#1090;&#1072;&#1090;&#1100;&#1103;%20&#1055;&#1040;&#1054;\&#1057;&#1088;&#1072;&#1074;&#1085;&#1077;&#1085;&#1080;&#1077;%20&#1055;&#1040;&#1054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khmetovrv\Desktop\&#1055;&#1088;&#1086;&#1076;&#1091;&#1082;&#1090;&#1086;&#1074;&#1072;&#1103;%20&#1083;&#1080;&#1085;&#1077;&#1081;&#1082;&#1072;\&#1057;&#1090;&#1072;&#1090;&#1100;&#1103;%20&#1055;&#1040;&#1054;\&#1057;&#1088;&#1072;&#1074;&#1085;&#1077;&#1085;&#1080;&#1077;%20&#1055;&#1040;&#1054;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sz="1400" dirty="0">
                <a:latin typeface="Century Gothic" panose="020B0502020202020204" pitchFamily="34" charset="0"/>
              </a:rPr>
              <a:t>Температура застывания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FA7800"/>
            </a:solidFill>
            <a:ln>
              <a:noFill/>
            </a:ln>
            <a:effectLst/>
          </c:spPr>
          <c:invertIfNegative val="0"/>
          <c:cat>
            <c:strRef>
              <c:f>Лист1!$B$10:$B$11</c:f>
              <c:strCache>
                <c:ptCount val="2"/>
                <c:pt idx="0">
                  <c:v>TAIF CADENZA PAO</c:v>
                </c:pt>
                <c:pt idx="1">
                  <c:v>Максимальная темература по IEC 60296</c:v>
                </c:pt>
              </c:strCache>
            </c:strRef>
          </c:cat>
          <c:val>
            <c:numRef>
              <c:f>Лист1!$C$10:$C$11</c:f>
              <c:numCache>
                <c:formatCode>General</c:formatCode>
                <c:ptCount val="2"/>
                <c:pt idx="0">
                  <c:v>-70</c:v>
                </c:pt>
                <c:pt idx="1">
                  <c:v>-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41-446F-A64B-D9EF39D8D9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3"/>
        <c:axId val="244290896"/>
        <c:axId val="244298384"/>
      </c:barChart>
      <c:catAx>
        <c:axId val="244290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15000"/>
                <a:lumOff val="8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244298384"/>
        <c:crosses val="autoZero"/>
        <c:auto val="1"/>
        <c:lblAlgn val="ctr"/>
        <c:lblOffset val="100"/>
        <c:noMultiLvlLbl val="0"/>
      </c:catAx>
      <c:valAx>
        <c:axId val="244298384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99000">
                    <a:schemeClr val="tx1">
                      <a:lumMod val="25000"/>
                      <a:lumOff val="75000"/>
                    </a:schemeClr>
                  </a:gs>
                  <a:gs pos="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 sz="1200" b="1">
                    <a:latin typeface="Century Gothic" panose="020B0502020202020204" pitchFamily="34" charset="0"/>
                  </a:rPr>
                  <a:t>T,</a:t>
                </a:r>
                <a:r>
                  <a:rPr lang="en-US" sz="1200" b="1" baseline="0">
                    <a:latin typeface="Century Gothic" panose="020B0502020202020204" pitchFamily="34" charset="0"/>
                  </a:rPr>
                  <a:t> °</a:t>
                </a:r>
                <a:r>
                  <a:rPr lang="ru-RU" sz="1200" b="1" baseline="0">
                    <a:latin typeface="Century Gothic" panose="020B0502020202020204" pitchFamily="34" charset="0"/>
                  </a:rPr>
                  <a:t>С</a:t>
                </a:r>
                <a:endParaRPr lang="ru-RU" sz="1200" b="1">
                  <a:latin typeface="Century Gothic" panose="020B0502020202020204" pitchFamily="34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244290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 b="1" dirty="0">
                <a:latin typeface="Century Gothic" panose="020B0502020202020204" pitchFamily="34" charset="0"/>
              </a:rPr>
              <a:t>Кинематическая вязкость при -40 °</a:t>
            </a:r>
            <a:r>
              <a:rPr lang="en-US" b="1" dirty="0">
                <a:latin typeface="Century Gothic" panose="020B0502020202020204" pitchFamily="34" charset="0"/>
              </a:rPr>
              <a:t>C</a:t>
            </a:r>
            <a:endParaRPr lang="ru-RU" b="1" dirty="0">
              <a:latin typeface="Century Gothic" panose="020B0502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31:$B$32</c:f>
              <c:strCache>
                <c:ptCount val="2"/>
                <c:pt idx="0">
                  <c:v>TAIF CADENZA PAO</c:v>
                </c:pt>
                <c:pt idx="1">
                  <c:v>Максимальная вязкость по IEC 60296</c:v>
                </c:pt>
              </c:strCache>
            </c:strRef>
          </c:cat>
          <c:val>
            <c:numRef>
              <c:f>Лист1!$C$31:$C$32</c:f>
              <c:numCache>
                <c:formatCode>General</c:formatCode>
                <c:ptCount val="2"/>
                <c:pt idx="0">
                  <c:v>300</c:v>
                </c:pt>
                <c:pt idx="1">
                  <c:v>2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AE-42C4-9580-E870A1C4FB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4"/>
        <c:overlap val="-27"/>
        <c:axId val="177442224"/>
        <c:axId val="177427248"/>
      </c:barChart>
      <c:catAx>
        <c:axId val="177442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77427248"/>
        <c:crosses val="autoZero"/>
        <c:auto val="1"/>
        <c:lblAlgn val="ctr"/>
        <c:lblOffset val="100"/>
        <c:noMultiLvlLbl val="0"/>
      </c:catAx>
      <c:valAx>
        <c:axId val="1774272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ru-RU" sz="1200" b="1">
                    <a:latin typeface="Century Gothic" panose="020B0502020202020204" pitchFamily="34" charset="0"/>
                  </a:rPr>
                  <a:t>КВ</a:t>
                </a:r>
                <a:r>
                  <a:rPr lang="ru-RU" sz="1200" b="1" baseline="0">
                    <a:latin typeface="Century Gothic" panose="020B0502020202020204" pitchFamily="34" charset="0"/>
                  </a:rPr>
                  <a:t> -40, сСт</a:t>
                </a:r>
                <a:endParaRPr lang="ru-RU" sz="1200" b="1">
                  <a:latin typeface="Century Gothic" panose="020B0502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2.2222222222222223E-2"/>
              <c:y val="0.361497156605424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77442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>
                <a:latin typeface="Century Gothic" panose="020B0502020202020204" pitchFamily="34" charset="0"/>
              </a:rPr>
              <a:t>Эффективность загущения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scatterChart>
        <c:scatterStyle val="smoothMarker"/>
        <c:varyColors val="0"/>
        <c:ser>
          <c:idx val="0"/>
          <c:order val="0"/>
          <c:tx>
            <c:strRef>
              <c:f>Лист3!$C$18</c:f>
              <c:strCache>
                <c:ptCount val="1"/>
                <c:pt idx="0">
                  <c:v>в ПАО-4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Лист3!$B$19:$B$22</c:f>
              <c:numCache>
                <c:formatCode>General</c:formatCode>
                <c:ptCount val="4"/>
                <c:pt idx="0">
                  <c:v>68</c:v>
                </c:pt>
                <c:pt idx="1">
                  <c:v>100</c:v>
                </c:pt>
                <c:pt idx="2">
                  <c:v>220</c:v>
                </c:pt>
                <c:pt idx="3">
                  <c:v>1000</c:v>
                </c:pt>
              </c:numCache>
            </c:numRef>
          </c:xVal>
          <c:yVal>
            <c:numRef>
              <c:f>Лист3!$C$19:$C$22</c:f>
              <c:numCache>
                <c:formatCode>General</c:formatCode>
                <c:ptCount val="4"/>
                <c:pt idx="0">
                  <c:v>31</c:v>
                </c:pt>
                <c:pt idx="1">
                  <c:v>36</c:v>
                </c:pt>
                <c:pt idx="2">
                  <c:v>56</c:v>
                </c:pt>
                <c:pt idx="3">
                  <c:v>10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09CE-4479-8999-1C7148E923F5}"/>
            </c:ext>
          </c:extLst>
        </c:ser>
        <c:ser>
          <c:idx val="1"/>
          <c:order val="1"/>
          <c:tx>
            <c:strRef>
              <c:f>Лист3!$D$18</c:f>
              <c:strCache>
                <c:ptCount val="1"/>
                <c:pt idx="0">
                  <c:v>в ПАО-8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Лист3!$B$19:$B$22</c:f>
              <c:numCache>
                <c:formatCode>General</c:formatCode>
                <c:ptCount val="4"/>
                <c:pt idx="0">
                  <c:v>68</c:v>
                </c:pt>
                <c:pt idx="1">
                  <c:v>100</c:v>
                </c:pt>
                <c:pt idx="2">
                  <c:v>220</c:v>
                </c:pt>
                <c:pt idx="3">
                  <c:v>1000</c:v>
                </c:pt>
              </c:numCache>
            </c:numRef>
          </c:xVal>
          <c:yVal>
            <c:numRef>
              <c:f>Лист3!$D$19:$D$22</c:f>
              <c:numCache>
                <c:formatCode>General</c:formatCode>
                <c:ptCount val="4"/>
                <c:pt idx="0">
                  <c:v>10</c:v>
                </c:pt>
                <c:pt idx="1">
                  <c:v>20</c:v>
                </c:pt>
                <c:pt idx="2">
                  <c:v>50</c:v>
                </c:pt>
                <c:pt idx="3">
                  <c:v>10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09CE-4479-8999-1C7148E923F5}"/>
            </c:ext>
          </c:extLst>
        </c:ser>
        <c:ser>
          <c:idx val="2"/>
          <c:order val="2"/>
          <c:tx>
            <c:strRef>
              <c:f>Лист3!$E$18</c:f>
              <c:strCache>
                <c:ptCount val="1"/>
                <c:pt idx="0">
                  <c:v>в SN-150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Лист3!$B$19:$B$22</c:f>
              <c:numCache>
                <c:formatCode>General</c:formatCode>
                <c:ptCount val="4"/>
                <c:pt idx="0">
                  <c:v>68</c:v>
                </c:pt>
                <c:pt idx="1">
                  <c:v>100</c:v>
                </c:pt>
                <c:pt idx="2">
                  <c:v>220</c:v>
                </c:pt>
                <c:pt idx="3">
                  <c:v>1000</c:v>
                </c:pt>
              </c:numCache>
            </c:numRef>
          </c:xVal>
          <c:yVal>
            <c:numRef>
              <c:f>Лист3!$E$19:$E$22</c:f>
              <c:numCache>
                <c:formatCode>General</c:formatCode>
                <c:ptCount val="4"/>
                <c:pt idx="0">
                  <c:v>30</c:v>
                </c:pt>
                <c:pt idx="1">
                  <c:v>35</c:v>
                </c:pt>
                <c:pt idx="2">
                  <c:v>55</c:v>
                </c:pt>
                <c:pt idx="3">
                  <c:v>10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09CE-4479-8999-1C7148E923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90427920"/>
        <c:axId val="1490428752"/>
      </c:scatterChart>
      <c:valAx>
        <c:axId val="1490427920"/>
        <c:scaling>
          <c:orientation val="minMax"/>
          <c:max val="10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ru-RU">
                    <a:latin typeface="Century Gothic" panose="020B0502020202020204" pitchFamily="34" charset="0"/>
                  </a:rPr>
                  <a:t>Класс вязкости по </a:t>
                </a:r>
                <a:r>
                  <a:rPr lang="en-US">
                    <a:latin typeface="Century Gothic" panose="020B0502020202020204" pitchFamily="34" charset="0"/>
                  </a:rPr>
                  <a:t>ISO</a:t>
                </a:r>
                <a:endParaRPr lang="ru-RU">
                  <a:latin typeface="Century Gothic" panose="020B0502020202020204" pitchFamily="34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490428752"/>
        <c:crosses val="autoZero"/>
        <c:crossBetween val="midCat"/>
      </c:valAx>
      <c:valAx>
        <c:axId val="149042875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>
                    <a:latin typeface="Century Gothic" panose="020B0502020202020204" pitchFamily="34" charset="0"/>
                  </a:rPr>
                  <a:t>TAIF PAO-100,</a:t>
                </a:r>
                <a:r>
                  <a:rPr lang="en-US" baseline="0">
                    <a:latin typeface="Century Gothic" panose="020B0502020202020204" pitchFamily="34" charset="0"/>
                  </a:rPr>
                  <a:t> % </a:t>
                </a:r>
                <a:r>
                  <a:rPr lang="ru-RU" baseline="0">
                    <a:latin typeface="Century Gothic" panose="020B0502020202020204" pitchFamily="34" charset="0"/>
                  </a:rPr>
                  <a:t>масс.</a:t>
                </a:r>
                <a:endParaRPr lang="ru-RU">
                  <a:latin typeface="Century Gothic" panose="020B0502020202020204" pitchFamily="34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49042792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ru-RU">
                <a:latin typeface="Century Gothic" panose="020B0502020202020204" pitchFamily="34" charset="0"/>
              </a:rPr>
              <a:t>Стабильность</a:t>
            </a:r>
            <a:r>
              <a:rPr lang="ru-RU" baseline="0">
                <a:latin typeface="Century Gothic" panose="020B0502020202020204" pitchFamily="34" charset="0"/>
              </a:rPr>
              <a:t> к сдвигу</a:t>
            </a:r>
            <a:endParaRPr lang="ru-RU">
              <a:latin typeface="Century Gothic" panose="020B0502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E2C-4F82-BD78-B06C66D54FA6}"/>
              </c:ext>
            </c:extLst>
          </c:dPt>
          <c:cat>
            <c:strRef>
              <c:f>Лист3!$B$32:$B$33</c:f>
              <c:strCache>
                <c:ptCount val="2"/>
                <c:pt idx="0">
                  <c:v>ПАО-100 в SN-150</c:v>
                </c:pt>
                <c:pt idx="1">
                  <c:v>ПАО-100 в ПАО-4</c:v>
                </c:pt>
              </c:strCache>
            </c:strRef>
          </c:cat>
          <c:val>
            <c:numRef>
              <c:f>Лист3!$C$32:$C$33</c:f>
              <c:numCache>
                <c:formatCode>General</c:formatCode>
                <c:ptCount val="2"/>
                <c:pt idx="0">
                  <c:v>0.3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E2C-4F82-BD78-B06C66D54F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68860336"/>
        <c:axId val="1568862416"/>
      </c:barChart>
      <c:catAx>
        <c:axId val="156886033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ru-RU" b="1" dirty="0">
                    <a:latin typeface="Century Gothic" panose="020B0502020202020204" pitchFamily="34" charset="0"/>
                  </a:rPr>
                  <a:t>КРЛ,</a:t>
                </a:r>
                <a:r>
                  <a:rPr lang="ru-RU" b="1" baseline="0" dirty="0">
                    <a:latin typeface="Century Gothic" panose="020B0502020202020204" pitchFamily="34" charset="0"/>
                  </a:rPr>
                  <a:t> 40 циклов</a:t>
                </a:r>
                <a:endParaRPr lang="ru-RU" b="1" dirty="0">
                  <a:latin typeface="Century Gothic" panose="020B0502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0.43576459804927625"/>
              <c:y val="0.9338070608820956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568862416"/>
        <c:crosses val="autoZero"/>
        <c:auto val="1"/>
        <c:lblAlgn val="ctr"/>
        <c:lblOffset val="100"/>
        <c:noMultiLvlLbl val="0"/>
      </c:catAx>
      <c:valAx>
        <c:axId val="156886241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ru-RU">
                    <a:latin typeface="Century Gothic" panose="020B0502020202020204" pitchFamily="34" charset="0"/>
                  </a:rPr>
                  <a:t>Потеря</a:t>
                </a:r>
                <a:r>
                  <a:rPr lang="ru-RU" baseline="0">
                    <a:latin typeface="Century Gothic" panose="020B0502020202020204" pitchFamily="34" charset="0"/>
                  </a:rPr>
                  <a:t> вязкости, %</a:t>
                </a:r>
                <a:endParaRPr lang="ru-RU">
                  <a:latin typeface="Century Gothic" panose="020B0502020202020204" pitchFamily="34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68860336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10800000" scaled="1"/>
        <a:tileRect/>
      </a:gra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10800000" scaled="1"/>
        <a:tileRect/>
      </a:gra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99000">
              <a:schemeClr val="tx1">
                <a:lumMod val="25000"/>
                <a:lumOff val="75000"/>
              </a:schemeClr>
            </a:gs>
            <a:gs pos="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15000"/>
                <a:lumOff val="85000"/>
              </a:schemeClr>
            </a:gs>
            <a:gs pos="0">
              <a:schemeClr val="tx1">
                <a:lumMod val="5000"/>
                <a:lumOff val="9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41791326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g936b55bbe4_0_1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0" name="Google Shape;80;g936b55bbe4_0_19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707600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78613" cy="37576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89982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78613" cy="37576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53445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50888"/>
            <a:ext cx="6678613" cy="37576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" name="Google Shape;105;p:notes"/>
          <p:cNvSpPr txBox="1">
            <a:spLocks noGrp="1"/>
          </p:cNvSpPr>
          <p:nvPr>
            <p:ph type="body" idx="1"/>
          </p:nvPr>
        </p:nvSpPr>
        <p:spPr>
          <a:xfrm>
            <a:off x="688817" y="4758889"/>
            <a:ext cx="5510530" cy="4508421"/>
          </a:xfrm>
          <a:prstGeom prst="rect">
            <a:avLst/>
          </a:prstGeom>
        </p:spPr>
        <p:txBody>
          <a:bodyPr spcFirstLastPara="1" wrap="square" lIns="96591" tIns="96591" rIns="96591" bIns="96591" anchor="t" anchorCtr="0">
            <a:noAutofit/>
          </a:bodyPr>
          <a:lstStyle/>
          <a:p>
            <a:pPr marL="161006" indent="0" algn="just">
              <a:lnSpc>
                <a:spcPct val="150000"/>
              </a:lnSpc>
              <a:buClrTx/>
              <a:buSzPts val="1800"/>
              <a:buNone/>
              <a:defRPr/>
            </a:pPr>
            <a:endParaRPr lang="ru-RU" sz="1200" kern="1200" dirty="0">
              <a:solidFill>
                <a:schemeClr val="tx1"/>
              </a:solidFill>
              <a:latin typeface="Inter" pitchFamily="34" charset="0"/>
              <a:ea typeface="Inter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70754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78613" cy="37576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r>
              <a:rPr lang="en-US" dirty="0"/>
              <a:t>Advantages of synthetics</a:t>
            </a:r>
          </a:p>
          <a:p>
            <a:pPr marL="158750" indent="0">
              <a:buNone/>
            </a:pPr>
            <a:r>
              <a:rPr lang="en-US" dirty="0"/>
              <a:t>While modern gear-oil lubricants based on mineral oils provide good performance, synthetic gear oils offer a number of significant advantages, including the following:</a:t>
            </a:r>
          </a:p>
          <a:p>
            <a:pPr marL="158750" indent="0">
              <a:buNone/>
            </a:pPr>
            <a:r>
              <a:rPr lang="en-US" dirty="0"/>
              <a:t>• Improved thermal and oxidation resistance</a:t>
            </a:r>
          </a:p>
          <a:p>
            <a:pPr marL="158750" indent="0">
              <a:buNone/>
            </a:pPr>
            <a:r>
              <a:rPr lang="en-US" dirty="0"/>
              <a:t>–– Allows significantly longer oil life (typically 3-5 times longer than mineral oils at the same temperature)</a:t>
            </a:r>
          </a:p>
          <a:p>
            <a:pPr marL="158750" indent="0">
              <a:buNone/>
            </a:pPr>
            <a:r>
              <a:rPr lang="en-US" dirty="0"/>
              <a:t>–– Allows operation at higher temperatures where mineral oils may not be able to perform</a:t>
            </a:r>
          </a:p>
          <a:p>
            <a:pPr marL="158750" indent="0">
              <a:buNone/>
            </a:pPr>
            <a:r>
              <a:rPr lang="en-US" dirty="0"/>
              <a:t>• Improved viscosity-temperature behavior through high viscosity indices</a:t>
            </a:r>
          </a:p>
          <a:p>
            <a:pPr marL="158750" indent="0">
              <a:buNone/>
            </a:pPr>
            <a:r>
              <a:rPr lang="en-US" dirty="0"/>
              <a:t>–– Reduces oil viscosity at low temperature for easier pumping and more rapid circulation at startup</a:t>
            </a:r>
          </a:p>
          <a:p>
            <a:pPr marL="158750" indent="0">
              <a:buNone/>
            </a:pPr>
            <a:r>
              <a:rPr lang="en-US" dirty="0"/>
              <a:t>–– Maintains a higher viscosity and hence thicker oil film at higher temperatures, preventing wear</a:t>
            </a:r>
          </a:p>
          <a:p>
            <a:pPr marL="158750" indent="0">
              <a:buNone/>
            </a:pPr>
            <a:r>
              <a:rPr lang="en-US" dirty="0"/>
              <a:t>• Improved low-temperature properties</a:t>
            </a:r>
          </a:p>
          <a:p>
            <a:pPr marL="158750" indent="0">
              <a:buNone/>
            </a:pPr>
            <a:r>
              <a:rPr lang="en-US" dirty="0"/>
              <a:t>–– Very low pour points allow operation at conditions where mineral oils would be solid</a:t>
            </a:r>
          </a:p>
          <a:p>
            <a:pPr marL="158750" indent="0">
              <a:buNone/>
            </a:pPr>
            <a:r>
              <a:rPr lang="en-US" dirty="0"/>
              <a:t>–– More rapid oil circulation at startup, improving wear protection and reducing churning energy losses</a:t>
            </a:r>
          </a:p>
          <a:p>
            <a:pPr marL="158750" indent="0">
              <a:buNone/>
            </a:pPr>
            <a:r>
              <a:rPr lang="en-US" dirty="0"/>
              <a:t>• Increased gear efficiency</a:t>
            </a:r>
          </a:p>
          <a:p>
            <a:pPr marL="158750" indent="0">
              <a:buNone/>
            </a:pPr>
            <a:r>
              <a:rPr lang="en-US" dirty="0"/>
              <a:t>––Lower traction forces translate into a number of benefits, such as reduced power requirements, reduced oil temperature and extended component life</a:t>
            </a:r>
          </a:p>
          <a:p>
            <a:pPr marL="158750" indent="0">
              <a:buNone/>
            </a:pPr>
            <a:r>
              <a:rPr lang="en-US" dirty="0"/>
              <a:t>• Lower volatility and evaporation losses</a:t>
            </a:r>
          </a:p>
          <a:p>
            <a:pPr marL="158750" indent="0">
              <a:buNone/>
            </a:pPr>
            <a:r>
              <a:rPr lang="en-US" dirty="0"/>
              <a:t>–– The low volatility of synthetics reduces evaporation losses and reduces oil top-up requirements</a:t>
            </a:r>
          </a:p>
          <a:p>
            <a:pPr marL="158750" indent="0">
              <a:buNone/>
            </a:pPr>
            <a:r>
              <a:rPr lang="en-US" dirty="0"/>
              <a:t>• Reduced flammability</a:t>
            </a:r>
          </a:p>
          <a:p>
            <a:pPr marL="158750" indent="0">
              <a:buNone/>
            </a:pPr>
            <a:r>
              <a:rPr lang="en-US" dirty="0"/>
              <a:t>–– Compared to mineral oils, the higher flash points and reduced volatility provide increased safety</a:t>
            </a:r>
          </a:p>
          <a:p>
            <a:pPr marL="158750" indent="0">
              <a:buNone/>
            </a:pPr>
            <a:r>
              <a:rPr lang="en-US" dirty="0"/>
              <a:t>• Improved cleanliness</a:t>
            </a:r>
          </a:p>
          <a:p>
            <a:pPr marL="158750" indent="0">
              <a:buNone/>
            </a:pPr>
            <a:r>
              <a:rPr lang="en-US" dirty="0"/>
              <a:t>–– Improved thermal and oxidation resistance of synthetic base stocks reduces the tendency to form lacquers and deposit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20492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50888"/>
            <a:ext cx="6678613" cy="37576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" name="Google Shape;105;p:notes"/>
          <p:cNvSpPr txBox="1">
            <a:spLocks noGrp="1"/>
          </p:cNvSpPr>
          <p:nvPr>
            <p:ph type="body" idx="1"/>
          </p:nvPr>
        </p:nvSpPr>
        <p:spPr>
          <a:xfrm>
            <a:off x="688817" y="4758889"/>
            <a:ext cx="5510530" cy="4508421"/>
          </a:xfrm>
          <a:prstGeom prst="rect">
            <a:avLst/>
          </a:prstGeom>
        </p:spPr>
        <p:txBody>
          <a:bodyPr spcFirstLastPara="1" wrap="square" lIns="96591" tIns="96591" rIns="96591" bIns="96591" anchor="t" anchorCtr="0">
            <a:noAutofit/>
          </a:bodyPr>
          <a:lstStyle/>
          <a:p>
            <a:pPr marL="161006" indent="0" algn="just">
              <a:lnSpc>
                <a:spcPct val="150000"/>
              </a:lnSpc>
              <a:buClrTx/>
              <a:buSzPts val="1800"/>
              <a:buNone/>
              <a:defRPr/>
            </a:pPr>
            <a:endParaRPr lang="ru-RU" sz="1200" kern="1200" dirty="0">
              <a:solidFill>
                <a:schemeClr val="tx1"/>
              </a:solidFill>
              <a:latin typeface="Inter" pitchFamily="34" charset="0"/>
              <a:ea typeface="Inter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504062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78613" cy="37576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92120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50888"/>
            <a:ext cx="6678613" cy="37576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" name="Google Shape;105;p:notes"/>
          <p:cNvSpPr txBox="1">
            <a:spLocks noGrp="1"/>
          </p:cNvSpPr>
          <p:nvPr>
            <p:ph type="body" idx="1"/>
          </p:nvPr>
        </p:nvSpPr>
        <p:spPr>
          <a:xfrm>
            <a:off x="688817" y="4758889"/>
            <a:ext cx="5510530" cy="4508421"/>
          </a:xfrm>
          <a:prstGeom prst="rect">
            <a:avLst/>
          </a:prstGeom>
        </p:spPr>
        <p:txBody>
          <a:bodyPr spcFirstLastPara="1" wrap="square" lIns="96591" tIns="96591" rIns="96591" bIns="96591" anchor="t" anchorCtr="0">
            <a:noAutofit/>
          </a:bodyPr>
          <a:lstStyle/>
          <a:p>
            <a:pPr marL="161006" indent="0" algn="just">
              <a:lnSpc>
                <a:spcPct val="150000"/>
              </a:lnSpc>
              <a:buClrTx/>
              <a:buSzPts val="1800"/>
              <a:buNone/>
              <a:defRPr/>
            </a:pPr>
            <a:endParaRPr lang="ru-RU" sz="1200" kern="1200" dirty="0">
              <a:solidFill>
                <a:schemeClr val="tx1"/>
              </a:solidFill>
              <a:latin typeface="Inter" pitchFamily="34" charset="0"/>
              <a:ea typeface="Inter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4818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78613" cy="37576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13094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" name="Google Shape;105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273490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g936b55bbe4_0_1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0" name="Google Shape;80;g936b55bbe4_0_19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33617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g936b55bbe4_0_1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0" name="Google Shape;80;g936b55bbe4_0_19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116042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" name="Google Shape;105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52396" indent="0" algn="just">
              <a:lnSpc>
                <a:spcPct val="150000"/>
              </a:lnSpc>
              <a:buClrTx/>
              <a:buSzPts val="1800"/>
              <a:buNone/>
              <a:defRPr/>
            </a:pPr>
            <a:endParaRPr lang="ru-RU" sz="1100" kern="1200" dirty="0">
              <a:solidFill>
                <a:schemeClr val="tx1"/>
              </a:solidFill>
              <a:latin typeface="Inter" pitchFamily="34" charset="0"/>
              <a:ea typeface="Inter" pitchFamily="34" charset="0"/>
              <a:cs typeface="Arial" panose="020B0604020202020204" pitchFamily="34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136519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" name="Google Shape;105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" name="Google Shape;105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704306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ПАО удовлетворяют некоторым требованиям, предъявляемым к </a:t>
            </a:r>
            <a:r>
              <a:rPr lang="ru-RU" sz="1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идеальным</a:t>
            </a: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 углеводородным смазочным материалам, что объясняется их химической структурой - идеальные углеводородные смазочные материалы должны иметь прямолинейные цепи, быть полностью насыщенными и кристаллизоваться при низких температурах.</a:t>
            </a:r>
            <a:endParaRPr lang="ru-RU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00576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g936b55bbe4_0_1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0" name="Google Shape;80;g936b55bbe4_0_19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748811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78613" cy="37576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7719" indent="0" defTabSz="966064">
              <a:buNone/>
              <a:defRPr/>
            </a:pPr>
            <a:r>
              <a:rPr lang="ru-RU" sz="1900" dirty="0">
                <a:latin typeface="Times New Roman" panose="02020603050405020304" pitchFamily="18" charset="0"/>
                <a:ea typeface="Calibri" panose="020F0502020204030204" pitchFamily="34" charset="0"/>
              </a:rPr>
              <a:t>ПАО удовлетворяют некоторым требованиям, предъявляемым к </a:t>
            </a:r>
            <a:r>
              <a:rPr lang="ru-RU" sz="1900" b="1" dirty="0">
                <a:latin typeface="Times New Roman" panose="02020603050405020304" pitchFamily="18" charset="0"/>
                <a:ea typeface="Calibri" panose="020F0502020204030204" pitchFamily="34" charset="0"/>
              </a:rPr>
              <a:t>идеальным</a:t>
            </a:r>
            <a:r>
              <a:rPr lang="ru-RU" sz="1900" dirty="0">
                <a:latin typeface="Times New Roman" panose="02020603050405020304" pitchFamily="18" charset="0"/>
                <a:ea typeface="Calibri" panose="020F0502020204030204" pitchFamily="34" charset="0"/>
              </a:rPr>
              <a:t> углеводородным смазочным материалам, что объясняется их химической структурой - идеальные углеводородные смазочные материалы должны иметь прямолинейные цепи, быть полностью насыщенными и кристаллизоваться при низких температурах.</a:t>
            </a:r>
            <a:endParaRPr lang="ru-RU" sz="19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11485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78613" cy="37576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7719" indent="0" defTabSz="966064">
              <a:buNone/>
              <a:defRPr/>
            </a:pPr>
            <a:r>
              <a:rPr lang="ru-RU" sz="1900" dirty="0">
                <a:latin typeface="Times New Roman" panose="02020603050405020304" pitchFamily="18" charset="0"/>
                <a:ea typeface="Calibri" panose="020F0502020204030204" pitchFamily="34" charset="0"/>
              </a:rPr>
              <a:t>ПАО удовлетворяют некоторым требованиям, предъявляемым к </a:t>
            </a:r>
            <a:r>
              <a:rPr lang="ru-RU" sz="1900" b="1" dirty="0">
                <a:latin typeface="Times New Roman" panose="02020603050405020304" pitchFamily="18" charset="0"/>
                <a:ea typeface="Calibri" panose="020F0502020204030204" pitchFamily="34" charset="0"/>
              </a:rPr>
              <a:t>идеальным</a:t>
            </a:r>
            <a:r>
              <a:rPr lang="ru-RU" sz="1900" dirty="0">
                <a:latin typeface="Times New Roman" panose="02020603050405020304" pitchFamily="18" charset="0"/>
                <a:ea typeface="Calibri" panose="020F0502020204030204" pitchFamily="34" charset="0"/>
              </a:rPr>
              <a:t> углеводородным смазочным материалам, что объясняется их химической структурой - идеальные углеводородные смазочные материалы должны иметь прямолинейные цепи, быть полностью насыщенными и кристаллизоваться при низких температурах.</a:t>
            </a:r>
            <a:endParaRPr lang="ru-RU" sz="19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2417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50888"/>
            <a:ext cx="6678613" cy="37576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59382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50888"/>
            <a:ext cx="6678613" cy="375761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5" name="Google Shape;105;p:notes"/>
          <p:cNvSpPr txBox="1">
            <a:spLocks noGrp="1"/>
          </p:cNvSpPr>
          <p:nvPr>
            <p:ph type="body" idx="1"/>
          </p:nvPr>
        </p:nvSpPr>
        <p:spPr>
          <a:xfrm>
            <a:off x="688817" y="4758889"/>
            <a:ext cx="5510530" cy="4508421"/>
          </a:xfrm>
          <a:prstGeom prst="rect">
            <a:avLst/>
          </a:prstGeom>
        </p:spPr>
        <p:txBody>
          <a:bodyPr spcFirstLastPara="1" wrap="square" lIns="96591" tIns="96591" rIns="96591" bIns="96591" anchor="t" anchorCtr="0">
            <a:noAutofit/>
          </a:bodyPr>
          <a:lstStyle/>
          <a:p>
            <a:pPr marL="161006" indent="0" algn="just">
              <a:lnSpc>
                <a:spcPct val="150000"/>
              </a:lnSpc>
              <a:buClrTx/>
              <a:buSzPts val="1800"/>
              <a:buNone/>
              <a:defRPr/>
            </a:pPr>
            <a:endParaRPr lang="ru-RU" sz="1200" kern="1200" dirty="0">
              <a:solidFill>
                <a:schemeClr val="tx1"/>
              </a:solidFill>
              <a:latin typeface="Inter" pitchFamily="34" charset="0"/>
              <a:ea typeface="Inter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0893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152A867-95C9-495B-9DC7-1D95342B59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018269D-307D-417F-BDBD-1F7A78B9E20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7209961-EA80-41D5-9557-3178BEA1C1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7ECC01-BF67-4D13-B519-FD884D96C1A3}" type="datetimeFigureOut">
              <a:rPr lang="ru-RU" smtClean="0"/>
              <a:t>12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4FFCDAB-06FE-4328-83E4-BB242CBC08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44EE9F8-E0E2-47C0-99C1-64689934A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46302-EA50-4C75-9F14-89210C3B5C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01230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030DC9-BED5-44D2-8839-332FB156D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AE2AA22-F959-47D0-8B6D-C93DAD5C83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56286CD-D744-4E8D-B30F-AD63267CB0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7ECC01-BF67-4D13-B519-FD884D96C1A3}" type="datetimeFigureOut">
              <a:rPr lang="ru-RU" smtClean="0"/>
              <a:t>12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8DFBCBE-7D40-4D60-B310-1913E59D05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B56091A-F414-4ECB-8C94-04EABEA0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46302-EA50-4C75-9F14-89210C3B5C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19695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969372-1B92-42B7-BF01-7CBB6B822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908B9CF-7185-40CA-AE64-C0C9BD8C16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1761BCB-549A-4914-A91E-691CEF23E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7ECC01-BF67-4D13-B519-FD884D96C1A3}" type="datetimeFigureOut">
              <a:rPr lang="ru-RU" smtClean="0"/>
              <a:t>12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96A3E27-5741-4277-A6DD-FD77EA227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B9A295D-8411-413D-BC09-C2A0F6E8D2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46302-EA50-4C75-9F14-89210C3B5C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42256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94A4C8-9D98-46F4-8FB3-D5EA1D48C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45D1F73-E149-483D-8FE9-A3B4AD3DF95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4CF29DC-14DD-406E-9D3F-C1FB83A6E5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D6AEFF3-394B-437A-9A75-FACA35B534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7ECC01-BF67-4D13-B519-FD884D96C1A3}" type="datetimeFigureOut">
              <a:rPr lang="ru-RU" smtClean="0"/>
              <a:t>12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A72D48C-7E38-48F7-9B1D-941C3EB355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5EF4913-A3FC-4A4B-8E69-78B1ED009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46302-EA50-4C75-9F14-89210C3B5C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3819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E24049-7D4E-4633-B3A2-A11F9F161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34CF5D6-5742-4FE6-B7C2-FBB230BA7D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EC26FEE-69CA-4B59-9683-FDDBA0D8AA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8AAB4D23-D3A5-48A4-B6A7-1D9F8A0455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E2666F5-DA55-47C5-9309-593475271C3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4CF71462-CD88-4C2D-8BC7-143B30CD02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7ECC01-BF67-4D13-B519-FD884D96C1A3}" type="datetimeFigureOut">
              <a:rPr lang="ru-RU" smtClean="0"/>
              <a:t>12.08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B77D955-7647-4F1F-AB96-A58ACF3890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A2D7ED71-FAD9-4532-B545-73CCE532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46302-EA50-4C75-9F14-89210C3B5C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14225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D5A957-AAC2-46BF-803D-0EF2603197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DE71F195-0FB5-466F-90BE-ECE6B2FEAE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7ECC01-BF67-4D13-B519-FD884D96C1A3}" type="datetimeFigureOut">
              <a:rPr lang="ru-RU" smtClean="0"/>
              <a:t>12.08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D83E275A-97F4-4027-A060-2005BD220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C1A71AA-59C0-4252-8492-22172B4D3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46302-EA50-4C75-9F14-89210C3B5C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59314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5890A2C-9C5A-46F8-9FDB-B6A63F9F6C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7ECC01-BF67-4D13-B519-FD884D96C1A3}" type="datetimeFigureOut">
              <a:rPr lang="ru-RU" smtClean="0"/>
              <a:t>12.08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6C0365D-BBF8-46E6-B0F2-845F11034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3DC7653-686D-46D9-989D-D01CB4BA7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46302-EA50-4C75-9F14-89210C3B5C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18419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E31BF4-83C5-4DF0-AE01-5DC24658D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B69B7E8-070C-45D4-8F69-7F27D045B4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FDAE3DC-9C2B-45CF-9C29-E5CAC5B2D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036E85C-C424-4F0C-9992-07C0B15D8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7ECC01-BF67-4D13-B519-FD884D96C1A3}" type="datetimeFigureOut">
              <a:rPr lang="ru-RU" smtClean="0"/>
              <a:t>12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4BEBDE4-E909-44DE-B29E-7A521EAE06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D935B72-E48D-4DF0-9B51-F423B07A9F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46302-EA50-4C75-9F14-89210C3B5C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67804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13F5C12-5D54-498F-B3F0-4958735CF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B383563-4A1B-4591-A11F-D94AEAA8903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246D1B5-807F-4883-AC04-9F3D97B7F5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3C87812-D372-492B-A2AC-BD07AFE011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7ECC01-BF67-4D13-B519-FD884D96C1A3}" type="datetimeFigureOut">
              <a:rPr lang="ru-RU" smtClean="0"/>
              <a:t>12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87B1F52-AA8C-48EB-8573-52DA95588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F165D18-642E-4A67-B545-5FF0FE97DE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46302-EA50-4C75-9F14-89210C3B5C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31430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9807293-2AD1-41A8-BCA7-899D434DEE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6936610-AF30-4A6C-83C8-54045A4A06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13758F6-637B-46CE-9FDE-2C097AB24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7ECC01-BF67-4D13-B519-FD884D96C1A3}" type="datetimeFigureOut">
              <a:rPr lang="ru-RU" smtClean="0"/>
              <a:t>12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C4D49AB-09F2-4EBB-BF23-AA829D460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C50FC08-F737-4EA2-AD9E-94CEBD5790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46302-EA50-4C75-9F14-89210C3B5C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42303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DC66A96B-11F1-42A5-A80A-50478FE6B4F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3AADCB4-3BD4-423D-A8BA-C6D3EA2391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7EA1C20-7BCD-45D0-AA84-C5C83A22C3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7ECC01-BF67-4D13-B519-FD884D96C1A3}" type="datetimeFigureOut">
              <a:rPr lang="ru-RU" smtClean="0"/>
              <a:t>12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5D92302-278B-42F2-A804-482C0D8D4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A6ADD68-F60F-4F2E-8201-8873B7320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46302-EA50-4C75-9F14-89210C3B5C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7349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030DC9-BED5-44D2-8839-332FB156D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AE2AA22-F959-47D0-8B6D-C93DAD5C83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56286CD-D744-4E8D-B30F-AD63267CB0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7ECC01-BF67-4D13-B519-FD884D96C1A3}" type="datetimeFigureOut">
              <a:rPr lang="ru-RU" smtClean="0"/>
              <a:t>12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8DFBCBE-7D40-4D60-B310-1913E59D05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B56091A-F414-4ECB-8C94-04EABEA0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C46302-EA50-4C75-9F14-89210C3B5C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00293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74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9259CB-228B-473D-8A55-A0466C1615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BC28398-A759-4B82-9549-04565DD1E6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653D19D-A3FE-4DAA-BA51-D850209F6E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7ECC01-BF67-4D13-B519-FD884D96C1A3}" type="datetimeFigureOut">
              <a:rPr lang="ru-RU" smtClean="0"/>
              <a:t>12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65C3B21-0087-423B-90A1-22A6E8BD3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18C40E8-55A4-488B-8EF9-3F3CA904A9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C46302-EA50-4C75-9F14-89210C3B5C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9013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.png"/><Relationship Id="rId4" Type="http://schemas.microsoft.com/office/2007/relationships/hdphoto" Target="../media/hdphoto2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6.png"/><Relationship Id="rId18" Type="http://schemas.openxmlformats.org/officeDocument/2006/relationships/image" Target="../media/image10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5.svg"/><Relationship Id="rId17" Type="http://schemas.openxmlformats.org/officeDocument/2006/relationships/image" Target="../media/image9.svg"/><Relationship Id="rId2" Type="http://schemas.openxmlformats.org/officeDocument/2006/relationships/tags" Target="../tags/tag2.xml"/><Relationship Id="rId16" Type="http://schemas.openxmlformats.org/officeDocument/2006/relationships/image" Target="../media/image8.png"/><Relationship Id="rId20" Type="http://schemas.openxmlformats.org/officeDocument/2006/relationships/image" Target="../media/image12.sv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4.png"/><Relationship Id="rId5" Type="http://schemas.openxmlformats.org/officeDocument/2006/relationships/tags" Target="../tags/tag5.xml"/><Relationship Id="rId15" Type="http://schemas.openxmlformats.org/officeDocument/2006/relationships/image" Target="../media/image2.png"/><Relationship Id="rId10" Type="http://schemas.openxmlformats.org/officeDocument/2006/relationships/notesSlide" Target="../notesSlides/notesSlide1.xml"/><Relationship Id="rId19" Type="http://schemas.openxmlformats.org/officeDocument/2006/relationships/image" Target="../media/image11.pn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7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5" Type="http://schemas.openxmlformats.org/officeDocument/2006/relationships/hyperlink" Target="mailto:sm@taif-sm.ru" TargetMode="Externa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15.jpg"/><Relationship Id="rId1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4.jpg"/><Relationship Id="rId17" Type="http://schemas.microsoft.com/office/2007/relationships/hdphoto" Target="../media/hdphoto1.wdp"/><Relationship Id="rId2" Type="http://schemas.openxmlformats.org/officeDocument/2006/relationships/tags" Target="../tags/tag10.xml"/><Relationship Id="rId16" Type="http://schemas.openxmlformats.org/officeDocument/2006/relationships/image" Target="../media/image17.png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image" Target="../media/image13.png"/><Relationship Id="rId5" Type="http://schemas.openxmlformats.org/officeDocument/2006/relationships/tags" Target="../tags/tag13.xml"/><Relationship Id="rId15" Type="http://schemas.openxmlformats.org/officeDocument/2006/relationships/image" Target="../media/image10.png"/><Relationship Id="rId10" Type="http://schemas.openxmlformats.org/officeDocument/2006/relationships/notesSlide" Target="../notesSlides/notesSlide2.xml"/><Relationship Id="rId4" Type="http://schemas.openxmlformats.org/officeDocument/2006/relationships/tags" Target="../tags/tag12.xml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8.jpg"/><Relationship Id="rId7" Type="http://schemas.openxmlformats.org/officeDocument/2006/relationships/image" Target="../media/image1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20.jp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2.jpg"/><Relationship Id="rId4" Type="http://schemas.openxmlformats.org/officeDocument/2006/relationships/image" Target="../media/image21.gi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13" Type="http://schemas.openxmlformats.org/officeDocument/2006/relationships/image" Target="../media/image32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1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5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svg"/><Relationship Id="rId11" Type="http://schemas.openxmlformats.org/officeDocument/2006/relationships/image" Target="../media/image30.png"/><Relationship Id="rId5" Type="http://schemas.openxmlformats.org/officeDocument/2006/relationships/image" Target="../media/image25.png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4" Type="http://schemas.openxmlformats.org/officeDocument/2006/relationships/image" Target="../media/image24.svg"/><Relationship Id="rId9" Type="http://schemas.openxmlformats.org/officeDocument/2006/relationships/image" Target="../media/image10.png"/><Relationship Id="rId14" Type="http://schemas.openxmlformats.org/officeDocument/2006/relationships/image" Target="../media/image33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6347D8D6-95D5-4031-B2E4-D62316595F5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" smtClean="0"/>
              <a:t>1</a:t>
            </a:fld>
            <a:endParaRPr lang="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EA9926F-5EEF-4F9F-B2D8-33FB81DFCF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75" y="2372"/>
            <a:ext cx="9144000" cy="513875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8625B7F-8851-48AC-866C-7ABECFA7061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29900" b="16224"/>
          <a:stretch/>
        </p:blipFill>
        <p:spPr>
          <a:xfrm>
            <a:off x="7079451" y="789493"/>
            <a:ext cx="1784595" cy="945658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7A27E1BF-AE5F-46E1-B929-956FE2186A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0026" y="802955"/>
            <a:ext cx="829169" cy="858336"/>
          </a:xfrm>
          <a:prstGeom prst="rect">
            <a:avLst/>
          </a:prstGeom>
        </p:spPr>
      </p:pic>
      <p:sp>
        <p:nvSpPr>
          <p:cNvPr id="15" name="Google Shape;56;p13">
            <a:extLst>
              <a:ext uri="{FF2B5EF4-FFF2-40B4-BE49-F238E27FC236}">
                <a16:creationId xmlns:a16="http://schemas.microsoft.com/office/drawing/2014/main" id="{E1F81951-D54A-4FF0-881D-A1EFAA5B0ED7}"/>
              </a:ext>
            </a:extLst>
          </p:cNvPr>
          <p:cNvSpPr txBox="1"/>
          <p:nvPr/>
        </p:nvSpPr>
        <p:spPr>
          <a:xfrm>
            <a:off x="213259" y="2326556"/>
            <a:ext cx="6790389" cy="8583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 dirty="0">
                <a:solidFill>
                  <a:srgbClr val="FFFFFF"/>
                </a:solidFill>
                <a:latin typeface="Century Gothic" panose="020B0502020202020204" pitchFamily="34" charset="0"/>
                <a:ea typeface="Inter"/>
                <a:cs typeface="Inter"/>
                <a:sym typeface="Inter"/>
              </a:rPr>
              <a:t>ПРИМЕНЕНИЕ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 dirty="0">
                <a:solidFill>
                  <a:srgbClr val="FFFFFF"/>
                </a:solidFill>
                <a:latin typeface="Century Gothic" panose="020B0502020202020204" pitchFamily="34" charset="0"/>
                <a:ea typeface="Inter"/>
                <a:cs typeface="Inter"/>
                <a:sym typeface="Inter"/>
              </a:rPr>
              <a:t>ПОЛИАЛЬФАОЛЕФИНОВ</a:t>
            </a:r>
            <a:r>
              <a:rPr lang="en-US" sz="2000" dirty="0">
                <a:solidFill>
                  <a:srgbClr val="FFFFFF"/>
                </a:solidFill>
                <a:latin typeface="Century Gothic" panose="020B0502020202020204" pitchFamily="34" charset="0"/>
                <a:ea typeface="Inter"/>
                <a:cs typeface="Inter"/>
                <a:sym typeface="Inter"/>
              </a:rPr>
              <a:t> (</a:t>
            </a:r>
            <a:r>
              <a:rPr lang="ru-RU" sz="2000" dirty="0">
                <a:solidFill>
                  <a:srgbClr val="FFFFFF"/>
                </a:solidFill>
                <a:latin typeface="Century Gothic" panose="020B0502020202020204" pitchFamily="34" charset="0"/>
                <a:ea typeface="Inter"/>
                <a:cs typeface="Inter"/>
                <a:sym typeface="Inter"/>
              </a:rPr>
              <a:t>ПАО</a:t>
            </a:r>
            <a:r>
              <a:rPr lang="en-US" sz="2000" dirty="0">
                <a:solidFill>
                  <a:srgbClr val="FFFFFF"/>
                </a:solidFill>
                <a:latin typeface="Century Gothic" panose="020B0502020202020204" pitchFamily="34" charset="0"/>
                <a:ea typeface="Inter"/>
                <a:cs typeface="Inter"/>
                <a:sym typeface="Inter"/>
              </a:rPr>
              <a:t>)</a:t>
            </a:r>
            <a:endParaRPr lang="ru-RU" sz="2000" dirty="0">
              <a:solidFill>
                <a:srgbClr val="FFFFFF"/>
              </a:solidFill>
              <a:latin typeface="Century Gothic" panose="020B0502020202020204" pitchFamily="34" charset="0"/>
              <a:ea typeface="Inter"/>
              <a:cs typeface="Inter"/>
              <a:sym typeface="Inter"/>
            </a:endParaRPr>
          </a:p>
        </p:txBody>
      </p:sp>
    </p:spTree>
    <p:extLst>
      <p:ext uri="{BB962C8B-B14F-4D97-AF65-F5344CB8AC3E}">
        <p14:creationId xmlns:p14="http://schemas.microsoft.com/office/powerpoint/2010/main" val="14759996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oogle Shape;91;p16">
            <a:extLst>
              <a:ext uri="{FF2B5EF4-FFF2-40B4-BE49-F238E27FC236}">
                <a16:creationId xmlns:a16="http://schemas.microsoft.com/office/drawing/2014/main" id="{274861B6-F485-45D5-8C1C-737B24286FAE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92;p16">
            <a:extLst>
              <a:ext uri="{FF2B5EF4-FFF2-40B4-BE49-F238E27FC236}">
                <a16:creationId xmlns:a16="http://schemas.microsoft.com/office/drawing/2014/main" id="{E06DB1F8-5549-4835-8279-C8EF6774595C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	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11C0CCF-693E-47AF-B4C6-4810E53F05F7}"/>
              </a:ext>
            </a:extLst>
          </p:cNvPr>
          <p:cNvSpPr txBox="1">
            <a:spLocks/>
          </p:cNvSpPr>
          <p:nvPr/>
        </p:nvSpPr>
        <p:spPr>
          <a:xfrm>
            <a:off x="-767817" y="0"/>
            <a:ext cx="10515600" cy="5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200"/>
              <a:buFont typeface="Arial"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Масла для ГПУ</a:t>
            </a:r>
          </a:p>
        </p:txBody>
      </p:sp>
      <p:graphicFrame>
        <p:nvGraphicFramePr>
          <p:cNvPr id="11" name="Таблица 8">
            <a:extLst>
              <a:ext uri="{FF2B5EF4-FFF2-40B4-BE49-F238E27FC236}">
                <a16:creationId xmlns:a16="http://schemas.microsoft.com/office/drawing/2014/main" id="{35C13FB3-04CC-48CF-8DF3-19F5724745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3894721"/>
              </p:ext>
            </p:extLst>
          </p:nvPr>
        </p:nvGraphicFramePr>
        <p:xfrm>
          <a:off x="438150" y="602421"/>
          <a:ext cx="8187010" cy="14632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78400">
                  <a:extLst>
                    <a:ext uri="{9D8B030D-6E8A-4147-A177-3AD203B41FA5}">
                      <a16:colId xmlns:a16="http://schemas.microsoft.com/office/drawing/2014/main" val="2064159338"/>
                    </a:ext>
                  </a:extLst>
                </a:gridCol>
                <a:gridCol w="3208610">
                  <a:extLst>
                    <a:ext uri="{9D8B030D-6E8A-4147-A177-3AD203B41FA5}">
                      <a16:colId xmlns:a16="http://schemas.microsoft.com/office/drawing/2014/main" val="26415883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Century Gothic" panose="020B0502020202020204" pitchFamily="34" charset="0"/>
                        </a:rPr>
                        <a:t>Компонен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Century Gothic" panose="020B0502020202020204" pitchFamily="34" charset="0"/>
                        </a:rPr>
                        <a:t>Рецептура </a:t>
                      </a: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TAIF, % </a:t>
                      </a:r>
                      <a:r>
                        <a:rPr lang="ru-RU" sz="1100" dirty="0">
                          <a:latin typeface="Century Gothic" panose="020B0502020202020204" pitchFamily="34" charset="0"/>
                        </a:rPr>
                        <a:t>масс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3048475"/>
                  </a:ext>
                </a:extLst>
              </a:tr>
              <a:tr h="31793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Century Gothic" panose="020B0502020202020204" pitchFamily="34" charset="0"/>
                        </a:rPr>
                        <a:t>TAIF PAO-12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entury Gothic" panose="020B0502020202020204" pitchFamily="34" charset="0"/>
                        </a:rPr>
                        <a:t>74,26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9776476"/>
                  </a:ext>
                </a:extLst>
              </a:tr>
              <a:tr h="286186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Century Gothic" panose="020B0502020202020204" pitchFamily="34" charset="0"/>
                        </a:rPr>
                        <a:t>TAIF PAO-20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08,24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532640"/>
                  </a:ext>
                </a:extLst>
              </a:tr>
              <a:tr h="293166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Century Gothic" panose="020B0502020202020204" pitchFamily="34" charset="0"/>
                        </a:rPr>
                        <a:t>Эфир</a:t>
                      </a: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*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05,00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3695315"/>
                  </a:ext>
                </a:extLst>
              </a:tr>
              <a:tr h="306899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Century Gothic" panose="020B0502020202020204" pitchFamily="34" charset="0"/>
                        </a:rPr>
                        <a:t>Пакет присадок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entury Gothic" panose="020B0502020202020204" pitchFamily="34" charset="0"/>
                        </a:rPr>
                        <a:t>12,50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286875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95E4D5B7-E00D-4E3C-83A2-B5F15186573E}"/>
              </a:ext>
            </a:extLst>
          </p:cNvPr>
          <p:cNvSpPr txBox="1"/>
          <p:nvPr/>
        </p:nvSpPr>
        <p:spPr>
          <a:xfrm>
            <a:off x="438150" y="4335339"/>
            <a:ext cx="8127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* </a:t>
            </a:r>
            <a:r>
              <a:rPr kumimoji="0" lang="ru-RU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Диоктилтерефталат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 (ДОТФ) СИБУР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/>
            </a:endParaRPr>
          </a:p>
        </p:txBody>
      </p:sp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5C11C2D9-2808-4D79-87F4-025D424161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2873077"/>
              </p:ext>
            </p:extLst>
          </p:nvPr>
        </p:nvGraphicFramePr>
        <p:xfrm>
          <a:off x="438150" y="2067885"/>
          <a:ext cx="8187010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84750">
                  <a:extLst>
                    <a:ext uri="{9D8B030D-6E8A-4147-A177-3AD203B41FA5}">
                      <a16:colId xmlns:a16="http://schemas.microsoft.com/office/drawing/2014/main" val="3546753765"/>
                    </a:ext>
                  </a:extLst>
                </a:gridCol>
                <a:gridCol w="3202260">
                  <a:extLst>
                    <a:ext uri="{9D8B030D-6E8A-4147-A177-3AD203B41FA5}">
                      <a16:colId xmlns:a16="http://schemas.microsoft.com/office/drawing/2014/main" val="339475466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Показател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Значение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6009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Кинематическая вязкость при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 100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°С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мм</a:t>
                      </a:r>
                      <a:r>
                        <a:rPr lang="en-US" sz="1200" kern="1200" baseline="300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/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4,44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85020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Кинематическая вязкость при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 40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°С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мм</a:t>
                      </a:r>
                      <a:r>
                        <a:rPr lang="en-US" sz="1200" kern="1200" baseline="300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/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16,2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40330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Индекс вязкост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26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43492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Температура застывания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en-US" sz="1200" kern="1200" baseline="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°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-49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23539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Испаряемость по 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NOACK,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3,5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60084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Температура вспышки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en-US" sz="1200" kern="1200" baseline="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°</a:t>
                      </a: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</a:t>
                      </a: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266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8539966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56E495DC-08AA-4F0C-ABB2-461AB8A15249}"/>
              </a:ext>
            </a:extLst>
          </p:cNvPr>
          <p:cNvSpPr txBox="1"/>
          <p:nvPr/>
        </p:nvSpPr>
        <p:spPr>
          <a:xfrm>
            <a:off x="343219" y="4058931"/>
            <a:ext cx="84575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Свойства товарных масел рассчитываются на основе типичных значений базовых компонентов и пакетов присадок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26614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7548E06-3678-4264-9E0C-8A77383D42A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9993" r="1839" b="17095"/>
          <a:stretch/>
        </p:blipFill>
        <p:spPr>
          <a:xfrm>
            <a:off x="236220" y="247896"/>
            <a:ext cx="3719145" cy="4264229"/>
          </a:xfrm>
          <a:prstGeom prst="rect">
            <a:avLst/>
          </a:prstGeom>
        </p:spPr>
      </p:pic>
      <p:pic>
        <p:nvPicPr>
          <p:cNvPr id="23" name="Google Shape;91;p16">
            <a:extLst>
              <a:ext uri="{FF2B5EF4-FFF2-40B4-BE49-F238E27FC236}">
                <a16:creationId xmlns:a16="http://schemas.microsoft.com/office/drawing/2014/main" id="{C155C265-EC0D-4CAE-AF05-5D4273FA993D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92;p16">
            <a:extLst>
              <a:ext uri="{FF2B5EF4-FFF2-40B4-BE49-F238E27FC236}">
                <a16:creationId xmlns:a16="http://schemas.microsoft.com/office/drawing/2014/main" id="{577EF62E-7690-4B8C-BB17-43AFEE141727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	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BC2926E2-E62B-42BC-86BA-51BAB219B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9532" y="308163"/>
            <a:ext cx="3605352" cy="1210934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/>
          <a:p>
            <a:pPr marL="0" indent="0" algn="r">
              <a:lnSpc>
                <a:spcPct val="107000"/>
              </a:lnSpc>
              <a:spcAft>
                <a:spcPts val="600"/>
              </a:spcAft>
              <a:buNone/>
            </a:pPr>
            <a:r>
              <a:rPr lang="ru-RU" sz="2100" b="1" u="sng" dirty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рансформаторные масла</a:t>
            </a:r>
            <a:endParaRPr lang="ru-RU" sz="2100" b="1" u="sng" dirty="0">
              <a:solidFill>
                <a:schemeClr val="bg1"/>
              </a:solidFill>
              <a:effectLst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7A87863-6538-4BE5-80D4-E8FFE9792E0C}"/>
              </a:ext>
            </a:extLst>
          </p:cNvPr>
          <p:cNvSpPr txBox="1"/>
          <p:nvPr/>
        </p:nvSpPr>
        <p:spPr>
          <a:xfrm>
            <a:off x="4237107" y="1842612"/>
            <a:ext cx="4670673" cy="26695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lnSpc>
                <a:spcPct val="107000"/>
              </a:lnSpc>
              <a:spcAft>
                <a:spcPts val="600"/>
              </a:spcAft>
              <a:buClrTx/>
              <a:defRPr/>
            </a:pPr>
            <a:r>
              <a:rPr kumimoji="0" lang="ru-RU" sz="2100" b="1" i="0" u="sng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Преимущества</a:t>
            </a: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Исключительные низкотемпературные свойства, что позволяет производить продукты для условий Арктики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Удельная теплоемкость на 10-15% выше минеральных масел, что позволяет лучше отводить тепло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Узкомолекулярный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состав обеспечивает отличные диэлектрические характеристики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Негигроскопичен, что обеспечивает простоту эксплуатации</a:t>
            </a: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200" kern="1200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сключительная окислительная стабильность позволяет увеличивать срок эксплуатации масла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779E9E4-A1F2-465E-A371-849AD7B49FAB}"/>
              </a:ext>
            </a:extLst>
          </p:cNvPr>
          <p:cNvCxnSpPr>
            <a:cxnSpLocks/>
          </p:cNvCxnSpPr>
          <p:nvPr/>
        </p:nvCxnSpPr>
        <p:spPr>
          <a:xfrm>
            <a:off x="4237107" y="1797266"/>
            <a:ext cx="0" cy="2760204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2003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F671514B-DC38-4EE5-BD21-3E883ADE11B1}"/>
              </a:ext>
            </a:extLst>
          </p:cNvPr>
          <p:cNvGrpSpPr/>
          <p:nvPr/>
        </p:nvGrpSpPr>
        <p:grpSpPr>
          <a:xfrm>
            <a:off x="-8168" y="4851035"/>
            <a:ext cx="9152168" cy="303533"/>
            <a:chOff x="0" y="6452004"/>
            <a:chExt cx="12192000" cy="404711"/>
          </a:xfrm>
        </p:grpSpPr>
        <p:pic>
          <p:nvPicPr>
            <p:cNvPr id="12" name="Google Shape;106;p17">
              <a:extLst>
                <a:ext uri="{FF2B5EF4-FFF2-40B4-BE49-F238E27FC236}">
                  <a16:creationId xmlns:a16="http://schemas.microsoft.com/office/drawing/2014/main" id="{2B4FC6BD-96C4-4C2A-91CE-76F8CC62C4A3}"/>
                </a:ext>
              </a:extLst>
            </p:cNvPr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0" y="6452004"/>
              <a:ext cx="12192000" cy="40458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" name="Google Shape;107;p17">
              <a:extLst>
                <a:ext uri="{FF2B5EF4-FFF2-40B4-BE49-F238E27FC236}">
                  <a16:creationId xmlns:a16="http://schemas.microsoft.com/office/drawing/2014/main" id="{201167C1-236F-495E-8C35-E03727844F8D}"/>
                </a:ext>
              </a:extLst>
            </p:cNvPr>
            <p:cNvSpPr txBox="1"/>
            <p:nvPr/>
          </p:nvSpPr>
          <p:spPr>
            <a:xfrm>
              <a:off x="316537" y="6452015"/>
              <a:ext cx="10395604" cy="404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>
                <a:buClrTx/>
              </a:pPr>
              <a:r>
                <a:rPr lang="ru" sz="450" kern="1200" dirty="0">
                  <a:solidFill>
                    <a:srgbClr val="999999"/>
                  </a:solidFill>
                  <a:latin typeface="Century Gothic" panose="020B0502020202020204" pitchFamily="34" charset="0"/>
                  <a:ea typeface="Inter" panose="020B0604020202020204" charset="0"/>
                  <a:cs typeface="Inter"/>
                  <a:sym typeface="Inter"/>
                </a:rPr>
                <a:t>© Taif Lubricants 2020.		</a:t>
              </a:r>
              <a:r>
                <a:rPr lang="en-US" sz="450" kern="1200" dirty="0" err="1">
                  <a:solidFill>
                    <a:srgbClr val="999999"/>
                  </a:solidFill>
                  <a:latin typeface="Century Gothic" panose="020B0502020202020204" pitchFamily="34" charset="0"/>
                  <a:ea typeface="Inter" panose="020B0604020202020204" charset="0"/>
                  <a:cs typeface="Inter"/>
                  <a:sym typeface="Inter"/>
                </a:rPr>
                <a:t>sm</a:t>
              </a:r>
              <a:r>
                <a:rPr lang="ru" sz="450" kern="1200" dirty="0">
                  <a:solidFill>
                    <a:srgbClr val="999999"/>
                  </a:solidFill>
                  <a:latin typeface="Century Gothic" panose="020B0502020202020204" pitchFamily="34" charset="0"/>
                  <a:ea typeface="Inter" panose="020B0604020202020204" charset="0"/>
                  <a:cs typeface="Inter"/>
                  <a:sym typeface="Inter"/>
                </a:rPr>
                <a:t>@taif-l</a:t>
              </a:r>
              <a:r>
                <a:rPr lang="en-US" sz="450" kern="1200" dirty="0" err="1">
                  <a:solidFill>
                    <a:srgbClr val="999999"/>
                  </a:solidFill>
                  <a:latin typeface="Century Gothic" panose="020B0502020202020204" pitchFamily="34" charset="0"/>
                  <a:ea typeface="Inter" panose="020B0604020202020204" charset="0"/>
                  <a:cs typeface="Inter"/>
                  <a:sym typeface="Inter"/>
                </a:rPr>
                <a:t>sm</a:t>
              </a:r>
              <a:r>
                <a:rPr lang="ru" sz="450" kern="1200" dirty="0">
                  <a:solidFill>
                    <a:srgbClr val="999999"/>
                  </a:solidFill>
                  <a:latin typeface="Century Gothic" panose="020B0502020202020204" pitchFamily="34" charset="0"/>
                  <a:ea typeface="Inter" panose="020B0604020202020204" charset="0"/>
                  <a:cs typeface="Inter"/>
                  <a:sym typeface="Inter"/>
                </a:rPr>
                <a:t>.ru</a:t>
              </a:r>
              <a:endParaRPr sz="450" kern="1200" dirty="0">
                <a:solidFill>
                  <a:srgbClr val="999999"/>
                </a:solidFill>
                <a:latin typeface="Century Gothic" panose="020B0502020202020204" pitchFamily="34" charset="0"/>
                <a:ea typeface="Inter" panose="020B0604020202020204" charset="0"/>
                <a:cs typeface="Inter"/>
                <a:sym typeface="Inter"/>
              </a:endParaRPr>
            </a:p>
          </p:txBody>
        </p:sp>
        <p:pic>
          <p:nvPicPr>
            <p:cNvPr id="14" name="Google Shape;108;p17">
              <a:extLst>
                <a:ext uri="{FF2B5EF4-FFF2-40B4-BE49-F238E27FC236}">
                  <a16:creationId xmlns:a16="http://schemas.microsoft.com/office/drawing/2014/main" id="{06B45A04-845F-4F87-AE19-01A212C37DB6}"/>
                </a:ext>
              </a:extLst>
            </p:cNvPr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11603714" y="6557038"/>
              <a:ext cx="356224" cy="18587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8296BDB-79B9-4561-9819-126C740AB8CB}"/>
              </a:ext>
            </a:extLst>
          </p:cNvPr>
          <p:cNvSpPr txBox="1"/>
          <p:nvPr/>
        </p:nvSpPr>
        <p:spPr>
          <a:xfrm>
            <a:off x="0" y="22827"/>
            <a:ext cx="915216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buClrTx/>
            </a:pPr>
            <a:r>
              <a:rPr lang="ru-RU" sz="3000" b="1" kern="1200" dirty="0">
                <a:solidFill>
                  <a:prstClr val="black"/>
                </a:solidFill>
                <a:latin typeface="Century Gothic" panose="020B0502020202020204" pitchFamily="34" charset="0"/>
                <a:ea typeface="+mn-ea"/>
                <a:cs typeface="+mn-cs"/>
              </a:rPr>
              <a:t>НИЗКОТЕМПЕРАТУРНЫЕ СВОЙСТВА</a:t>
            </a:r>
          </a:p>
        </p:txBody>
      </p:sp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B99C4961-5BB1-46A8-BC94-2645AAFA2B7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9915358"/>
              </p:ext>
            </p:extLst>
          </p:nvPr>
        </p:nvGraphicFramePr>
        <p:xfrm>
          <a:off x="247554" y="831457"/>
          <a:ext cx="3784347" cy="39088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24DD32EC-52D6-43A5-8245-39980951DB1F}"/>
              </a:ext>
            </a:extLst>
          </p:cNvPr>
          <p:cNvGraphicFramePr>
            <a:graphicFrameLocks/>
          </p:cNvGraphicFramePr>
          <p:nvPr/>
        </p:nvGraphicFramePr>
        <p:xfrm>
          <a:off x="4572000" y="831458"/>
          <a:ext cx="4324446" cy="3902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4" name="Прямая со стрелкой 3">
            <a:extLst>
              <a:ext uri="{FF2B5EF4-FFF2-40B4-BE49-F238E27FC236}">
                <a16:creationId xmlns:a16="http://schemas.microsoft.com/office/drawing/2014/main" id="{F8DE2160-FD3F-4891-969A-94ECB892C928}"/>
              </a:ext>
            </a:extLst>
          </p:cNvPr>
          <p:cNvCxnSpPr/>
          <p:nvPr/>
        </p:nvCxnSpPr>
        <p:spPr>
          <a:xfrm>
            <a:off x="6903469" y="1588980"/>
            <a:ext cx="0" cy="263015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11610B69-5C41-462C-8C7A-35A60395D2F4}"/>
              </a:ext>
            </a:extLst>
          </p:cNvPr>
          <p:cNvSpPr txBox="1"/>
          <p:nvPr/>
        </p:nvSpPr>
        <p:spPr>
          <a:xfrm rot="16200000">
            <a:off x="6199462" y="2901091"/>
            <a:ext cx="1069524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>
              <a:buClrTx/>
            </a:pPr>
            <a:r>
              <a:rPr lang="ru-RU" sz="825" kern="1200" dirty="0">
                <a:solidFill>
                  <a:prstClr val="black"/>
                </a:solidFill>
                <a:latin typeface="Century Gothic" panose="020B0502020202020204" pitchFamily="34" charset="0"/>
                <a:ea typeface="+mn-ea"/>
                <a:cs typeface="+mn-cs"/>
              </a:rPr>
              <a:t>меньше – лучше</a:t>
            </a:r>
          </a:p>
        </p:txBody>
      </p:sp>
    </p:spTree>
    <p:extLst>
      <p:ext uri="{BB962C8B-B14F-4D97-AF65-F5344CB8AC3E}">
        <p14:creationId xmlns:p14="http://schemas.microsoft.com/office/powerpoint/2010/main" val="21115154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F671514B-DC38-4EE5-BD21-3E883ADE11B1}"/>
              </a:ext>
            </a:extLst>
          </p:cNvPr>
          <p:cNvGrpSpPr/>
          <p:nvPr/>
        </p:nvGrpSpPr>
        <p:grpSpPr>
          <a:xfrm>
            <a:off x="-8168" y="4851035"/>
            <a:ext cx="9152168" cy="303533"/>
            <a:chOff x="0" y="6452004"/>
            <a:chExt cx="12192000" cy="404711"/>
          </a:xfrm>
        </p:grpSpPr>
        <p:pic>
          <p:nvPicPr>
            <p:cNvPr id="12" name="Google Shape;106;p17">
              <a:extLst>
                <a:ext uri="{FF2B5EF4-FFF2-40B4-BE49-F238E27FC236}">
                  <a16:creationId xmlns:a16="http://schemas.microsoft.com/office/drawing/2014/main" id="{2B4FC6BD-96C4-4C2A-91CE-76F8CC62C4A3}"/>
                </a:ext>
              </a:extLst>
            </p:cNvPr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0" y="6452004"/>
              <a:ext cx="12192000" cy="40458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3" name="Google Shape;107;p17">
              <a:extLst>
                <a:ext uri="{FF2B5EF4-FFF2-40B4-BE49-F238E27FC236}">
                  <a16:creationId xmlns:a16="http://schemas.microsoft.com/office/drawing/2014/main" id="{201167C1-236F-495E-8C35-E03727844F8D}"/>
                </a:ext>
              </a:extLst>
            </p:cNvPr>
            <p:cNvSpPr txBox="1"/>
            <p:nvPr/>
          </p:nvSpPr>
          <p:spPr>
            <a:xfrm>
              <a:off x="316537" y="6452015"/>
              <a:ext cx="10395604" cy="404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68569" rIns="68569" bIns="68569" anchor="ctr" anchorCtr="0">
              <a:noAutofit/>
            </a:bodyPr>
            <a:lstStyle/>
            <a:p>
              <a:pPr defTabSz="685800">
                <a:buClrTx/>
              </a:pPr>
              <a:r>
                <a:rPr lang="ru" sz="450" kern="1200" dirty="0">
                  <a:solidFill>
                    <a:srgbClr val="999999"/>
                  </a:solidFill>
                  <a:latin typeface="Inter" panose="020B0604020202020204" charset="0"/>
                  <a:ea typeface="Inter" panose="020B0604020202020204" charset="0"/>
                  <a:cs typeface="Inter"/>
                  <a:sym typeface="Inter"/>
                </a:rPr>
                <a:t>© Taif Lubricants 2020.		</a:t>
              </a:r>
              <a:r>
                <a:rPr lang="en-US" sz="450" kern="1200" dirty="0" err="1">
                  <a:solidFill>
                    <a:srgbClr val="999999"/>
                  </a:solidFill>
                  <a:latin typeface="Inter" panose="020B0604020202020204" charset="0"/>
                  <a:ea typeface="Inter" panose="020B0604020202020204" charset="0"/>
                  <a:cs typeface="Inter"/>
                  <a:sym typeface="Inter"/>
                </a:rPr>
                <a:t>sm</a:t>
              </a:r>
              <a:r>
                <a:rPr lang="ru" sz="450" kern="1200" dirty="0">
                  <a:solidFill>
                    <a:srgbClr val="999999"/>
                  </a:solidFill>
                  <a:latin typeface="Inter" panose="020B0604020202020204" charset="0"/>
                  <a:ea typeface="Inter" panose="020B0604020202020204" charset="0"/>
                  <a:cs typeface="Inter"/>
                  <a:sym typeface="Inter"/>
                </a:rPr>
                <a:t>@taif-l</a:t>
              </a:r>
              <a:r>
                <a:rPr lang="en-US" sz="450" kern="1200" dirty="0" err="1">
                  <a:solidFill>
                    <a:srgbClr val="999999"/>
                  </a:solidFill>
                  <a:latin typeface="Inter" panose="020B0604020202020204" charset="0"/>
                  <a:ea typeface="Inter" panose="020B0604020202020204" charset="0"/>
                  <a:cs typeface="Inter"/>
                  <a:sym typeface="Inter"/>
                </a:rPr>
                <a:t>sm</a:t>
              </a:r>
              <a:r>
                <a:rPr lang="ru" sz="450" kern="1200" dirty="0">
                  <a:solidFill>
                    <a:srgbClr val="999999"/>
                  </a:solidFill>
                  <a:latin typeface="Inter" panose="020B0604020202020204" charset="0"/>
                  <a:ea typeface="Inter" panose="020B0604020202020204" charset="0"/>
                  <a:cs typeface="Inter"/>
                  <a:sym typeface="Inter"/>
                </a:rPr>
                <a:t>.ru</a:t>
              </a:r>
              <a:endParaRPr sz="450" kern="1200" dirty="0">
                <a:solidFill>
                  <a:srgbClr val="999999"/>
                </a:solidFill>
                <a:latin typeface="Inter" panose="020B0604020202020204" charset="0"/>
                <a:ea typeface="Inter" panose="020B0604020202020204" charset="0"/>
                <a:cs typeface="Inter"/>
                <a:sym typeface="Inter"/>
              </a:endParaRPr>
            </a:p>
          </p:txBody>
        </p:sp>
        <p:pic>
          <p:nvPicPr>
            <p:cNvPr id="14" name="Google Shape;108;p17">
              <a:extLst>
                <a:ext uri="{FF2B5EF4-FFF2-40B4-BE49-F238E27FC236}">
                  <a16:creationId xmlns:a16="http://schemas.microsoft.com/office/drawing/2014/main" id="{06B45A04-845F-4F87-AE19-01A212C37DB6}"/>
                </a:ext>
              </a:extLst>
            </p:cNvPr>
            <p:cNvPicPr preferRelativeResize="0"/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11603714" y="6557038"/>
              <a:ext cx="356224" cy="18587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8296BDB-79B9-4561-9819-126C740AB8CB}"/>
              </a:ext>
            </a:extLst>
          </p:cNvPr>
          <p:cNvSpPr txBox="1"/>
          <p:nvPr/>
        </p:nvSpPr>
        <p:spPr>
          <a:xfrm>
            <a:off x="0" y="22827"/>
            <a:ext cx="915216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buClrTx/>
            </a:pPr>
            <a:r>
              <a:rPr lang="ru-RU" sz="3000" b="1" kern="1200" dirty="0">
                <a:solidFill>
                  <a:prstClr val="black"/>
                </a:solidFill>
                <a:latin typeface="Century Gothic" panose="020B0502020202020204" pitchFamily="34" charset="0"/>
                <a:ea typeface="+mn-ea"/>
                <a:cs typeface="+mn-cs"/>
              </a:rPr>
              <a:t>СООТВЕТСТВИЕ МАСЕЛ МЭК</a:t>
            </a:r>
          </a:p>
        </p:txBody>
      </p:sp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id="{36524C79-EE0B-4D64-BA7C-7F8500CBCA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446493"/>
              </p:ext>
            </p:extLst>
          </p:nvPr>
        </p:nvGraphicFramePr>
        <p:xfrm>
          <a:off x="248541" y="835218"/>
          <a:ext cx="8638750" cy="3549263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38723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40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59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6571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06068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618275">
                <a:tc>
                  <a:txBody>
                    <a:bodyPr/>
                    <a:lstStyle/>
                    <a:p>
                      <a:pPr algn="l"/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en-US" sz="1200" b="1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IEC 60296</a:t>
                      </a:r>
                      <a:endParaRPr lang="ru-RU" sz="1200" b="1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en-US" sz="1200" b="1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TAIF PAO-2</a:t>
                      </a:r>
                      <a:r>
                        <a:rPr lang="ru-RU" sz="1200" b="1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*</a:t>
                      </a:r>
                      <a:endParaRPr lang="ru-RU" sz="1200" b="1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en-US" sz="1200" b="1" dirty="0" err="1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Nynas</a:t>
                      </a:r>
                      <a:r>
                        <a:rPr lang="en-US" sz="1200" b="1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 Nytro 10XN</a:t>
                      </a:r>
                      <a:endParaRPr lang="ru-RU" sz="1200" b="1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en-US" sz="1200" b="1" dirty="0" err="1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Nynas</a:t>
                      </a:r>
                      <a:r>
                        <a:rPr lang="en-US" sz="1200" b="1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 Lyra X</a:t>
                      </a:r>
                      <a:endParaRPr lang="ru-RU" sz="1200" b="1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b="1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Плотность при 20 °С, кг/м</a:t>
                      </a:r>
                      <a:r>
                        <a:rPr lang="ru-RU" sz="1200" b="1" baseline="300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3</a:t>
                      </a:r>
                      <a:endParaRPr lang="ru-RU" sz="1200" b="1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Не более 895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800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874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870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9607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b="1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Кинематическая вязкость при 40 °С, мм</a:t>
                      </a:r>
                      <a:r>
                        <a:rPr lang="ru-RU" sz="1200" b="1" baseline="300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2</a:t>
                      </a:r>
                      <a:r>
                        <a:rPr lang="ru-RU" sz="1200" b="1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/с</a:t>
                      </a:r>
                      <a:endParaRPr lang="ru-RU" sz="1200" b="1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Не более 12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5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en-US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7</a:t>
                      </a: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,</a:t>
                      </a:r>
                      <a:r>
                        <a:rPr lang="en-US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7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9,3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607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b="1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Кинематическая вязкость при -30 °С, мм</a:t>
                      </a:r>
                      <a:r>
                        <a:rPr lang="ru-RU" sz="1200" b="1" baseline="300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2</a:t>
                      </a:r>
                      <a:r>
                        <a:rPr lang="ru-RU" sz="1200" b="1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/с</a:t>
                      </a:r>
                      <a:endParaRPr lang="ru-RU" sz="1200" b="1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Не более 1800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150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730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926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607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b="1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Температура вспышки в закрытом тигле, °С</a:t>
                      </a:r>
                      <a:endParaRPr lang="ru-RU" sz="1200" b="1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Не менее 135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152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142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152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9607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b="1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Температура застывания, °С</a:t>
                      </a:r>
                      <a:endParaRPr lang="ru-RU" sz="1200" b="1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Не более -4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-</a:t>
                      </a:r>
                      <a:r>
                        <a:rPr lang="en-US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7</a:t>
                      </a: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5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-63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-48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607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b="1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Число нейтрализации, мг KOH/г</a:t>
                      </a:r>
                      <a:endParaRPr lang="ru-RU" sz="1200" b="1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Не более 0,01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0,01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0,01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0,01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9607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b="1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Общее содержание серы, мг/кг</a:t>
                      </a:r>
                      <a:endParaRPr lang="ru-RU" sz="1200" b="1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Не более 500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0,01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en-US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0</a:t>
                      </a: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,01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9607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b="1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Пробивное напряжение до обработки, кВ</a:t>
                      </a:r>
                      <a:endParaRPr lang="ru-RU" sz="1200" b="1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Не менее 3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58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5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50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9607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b="1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Пробивное напряжение после обработки, кВ</a:t>
                      </a:r>
                      <a:endParaRPr lang="ru-RU" sz="1200" b="1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Не менее 7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86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70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7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9607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b="1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Тангенс угла диэлектрических потерь при 90 °С</a:t>
                      </a:r>
                      <a:endParaRPr lang="ru-RU" sz="1200" b="1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Не более 0,005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0,001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0,001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0,001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9607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b="1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Содержание воды, мг/кг</a:t>
                      </a:r>
                      <a:endParaRPr lang="ru-RU" sz="1200" b="1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Не более 40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1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en-US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&lt; </a:t>
                      </a: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2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en-US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&lt; </a:t>
                      </a: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20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09690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b="1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Содержание ингибиторов окисления, % масс.</a:t>
                      </a:r>
                      <a:endParaRPr lang="ru-RU" sz="1200" b="1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Не более 0,4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0,2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0,28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en-US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0</a:t>
                      </a: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,38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b="1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Содержание полициклических ароматических соединений (PCA), % масс.</a:t>
                      </a:r>
                      <a:endParaRPr lang="ru-RU" sz="1200" b="1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Не более 3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Отсутствие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en-US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&lt; </a:t>
                      </a: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3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r>
                        <a:rPr lang="en-US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&lt; </a:t>
                      </a: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  <a:ea typeface="Inter" panose="020B0604020202020204"/>
                        </a:rPr>
                        <a:t>3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D1BE3CCB-A9BB-4EFE-9251-67632D68CE6D}"/>
              </a:ext>
            </a:extLst>
          </p:cNvPr>
          <p:cNvSpPr txBox="1"/>
          <p:nvPr/>
        </p:nvSpPr>
        <p:spPr>
          <a:xfrm>
            <a:off x="248541" y="4554880"/>
            <a:ext cx="4572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* </a:t>
            </a:r>
            <a:r>
              <a:rPr lang="ru-RU" sz="1050" dirty="0">
                <a:latin typeface="Century Gothic" panose="020B0502020202020204" pitchFamily="34" charset="0"/>
              </a:rPr>
              <a:t>Смесь с антиоксидантом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73725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73165C5-E99C-474A-8E84-356E87154B4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949" r="28956"/>
          <a:stretch/>
        </p:blipFill>
        <p:spPr>
          <a:xfrm>
            <a:off x="241852" y="223038"/>
            <a:ext cx="3725868" cy="4366256"/>
          </a:xfrm>
          <a:prstGeom prst="rect">
            <a:avLst/>
          </a:prstGeom>
        </p:spPr>
      </p:pic>
      <p:pic>
        <p:nvPicPr>
          <p:cNvPr id="23" name="Google Shape;91;p16">
            <a:extLst>
              <a:ext uri="{FF2B5EF4-FFF2-40B4-BE49-F238E27FC236}">
                <a16:creationId xmlns:a16="http://schemas.microsoft.com/office/drawing/2014/main" id="{C155C265-EC0D-4CAE-AF05-5D4273FA993D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92;p16">
            <a:extLst>
              <a:ext uri="{FF2B5EF4-FFF2-40B4-BE49-F238E27FC236}">
                <a16:creationId xmlns:a16="http://schemas.microsoft.com/office/drawing/2014/main" id="{577EF62E-7690-4B8C-BB17-43AFEE141727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	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BC2926E2-E62B-42BC-86BA-51BAB219B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8340" y="308163"/>
            <a:ext cx="3026543" cy="1210934"/>
          </a:xfrm>
          <a:solidFill>
            <a:srgbClr val="FA7800"/>
          </a:solidFill>
        </p:spPr>
        <p:txBody>
          <a:bodyPr>
            <a:normAutofit/>
          </a:bodyPr>
          <a:lstStyle/>
          <a:p>
            <a:pPr marL="0" indent="0" algn="r">
              <a:lnSpc>
                <a:spcPct val="107000"/>
              </a:lnSpc>
              <a:spcAft>
                <a:spcPts val="600"/>
              </a:spcAft>
              <a:buNone/>
            </a:pPr>
            <a:r>
              <a:rPr lang="ru-RU" sz="2100" b="1" u="sng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рансмиссионные масл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7A87863-6538-4BE5-80D4-E8FFE9792E0C}"/>
              </a:ext>
            </a:extLst>
          </p:cNvPr>
          <p:cNvSpPr txBox="1"/>
          <p:nvPr/>
        </p:nvSpPr>
        <p:spPr>
          <a:xfrm>
            <a:off x="4183966" y="1826605"/>
            <a:ext cx="4670673" cy="2454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lnSpc>
                <a:spcPct val="107000"/>
              </a:lnSpc>
              <a:spcAft>
                <a:spcPts val="600"/>
              </a:spcAft>
              <a:buClrTx/>
              <a:defRPr/>
            </a:pPr>
            <a:r>
              <a:rPr kumimoji="0" lang="ru-RU" sz="2100" b="1" i="0" u="sng" strike="noStrike" kern="1200" cap="none" spc="0" normalizeH="0" baseline="0" noProof="0" dirty="0">
                <a:ln>
                  <a:noFill/>
                </a:ln>
                <a:solidFill>
                  <a:srgbClr val="EC7E34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Преимущества</a:t>
            </a:r>
          </a:p>
          <a:p>
            <a:pPr marR="0" lvl="0" algn="just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Синтетические базовые масла обладают следующими преимуществами перед нефтяными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:</a:t>
            </a: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Лучшие низкотемпературные свойства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Лучшие вязкостно-температурные характеристики (ИВ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Исключительная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термоокислительная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стабильность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200" kern="1200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изкая летучесть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Лучшая приемистость присадок (в смеси с эфиром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Высокая эффективность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779E9E4-A1F2-465E-A371-849AD7B49FAB}"/>
              </a:ext>
            </a:extLst>
          </p:cNvPr>
          <p:cNvCxnSpPr>
            <a:cxnSpLocks/>
          </p:cNvCxnSpPr>
          <p:nvPr/>
        </p:nvCxnSpPr>
        <p:spPr>
          <a:xfrm>
            <a:off x="4183966" y="1758025"/>
            <a:ext cx="0" cy="2760204"/>
          </a:xfrm>
          <a:prstGeom prst="line">
            <a:avLst/>
          </a:prstGeom>
          <a:ln w="22225">
            <a:solidFill>
              <a:srgbClr val="EC7E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57667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oogle Shape;91;p16">
            <a:extLst>
              <a:ext uri="{FF2B5EF4-FFF2-40B4-BE49-F238E27FC236}">
                <a16:creationId xmlns:a16="http://schemas.microsoft.com/office/drawing/2014/main" id="{274861B6-F485-45D5-8C1C-737B24286FAE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92;p16">
            <a:extLst>
              <a:ext uri="{FF2B5EF4-FFF2-40B4-BE49-F238E27FC236}">
                <a16:creationId xmlns:a16="http://schemas.microsoft.com/office/drawing/2014/main" id="{E06DB1F8-5549-4835-8279-C8EF6774595C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	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7A277887-5278-406D-99FB-52110FB52344}"/>
              </a:ext>
            </a:extLst>
          </p:cNvPr>
          <p:cNvSpPr txBox="1">
            <a:spLocks/>
          </p:cNvSpPr>
          <p:nvPr/>
        </p:nvSpPr>
        <p:spPr>
          <a:xfrm>
            <a:off x="4" y="0"/>
            <a:ext cx="9143996" cy="5893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200"/>
              <a:buFont typeface="Arial"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Трансмиссионное масло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GL-5 75W-90</a:t>
            </a:r>
            <a:endParaRPr kumimoji="0" lang="ru-RU" sz="2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/>
            </a:endParaRPr>
          </a:p>
        </p:txBody>
      </p:sp>
      <p:graphicFrame>
        <p:nvGraphicFramePr>
          <p:cNvPr id="11" name="Таблица 8">
            <a:extLst>
              <a:ext uri="{FF2B5EF4-FFF2-40B4-BE49-F238E27FC236}">
                <a16:creationId xmlns:a16="http://schemas.microsoft.com/office/drawing/2014/main" id="{136C49E2-BC0A-4B71-B4FF-F75E81D331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0932112"/>
              </p:ext>
            </p:extLst>
          </p:nvPr>
        </p:nvGraphicFramePr>
        <p:xfrm>
          <a:off x="241870" y="685874"/>
          <a:ext cx="5496326" cy="2072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6326">
                  <a:extLst>
                    <a:ext uri="{9D8B030D-6E8A-4147-A177-3AD203B41FA5}">
                      <a16:colId xmlns:a16="http://schemas.microsoft.com/office/drawing/2014/main" val="2064159338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922356362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val="26415883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Century Gothic" panose="020B0502020202020204" pitchFamily="34" charset="0"/>
                        </a:rPr>
                        <a:t>Компонен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entury Gothic" panose="020B0502020202020204" pitchFamily="34" charset="0"/>
                        </a:rPr>
                        <a:t>Gr I + GR III, %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entury Gothic" panose="020B0502020202020204" pitchFamily="34" charset="0"/>
                        </a:rPr>
                        <a:t>PAO-based, </a:t>
                      </a:r>
                      <a:r>
                        <a:rPr lang="ru-RU" sz="1100" dirty="0">
                          <a:latin typeface="Century Gothic" panose="020B0502020202020204" pitchFamily="34" charset="0"/>
                        </a:rPr>
                        <a:t>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30484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Century Gothic" panose="020B0502020202020204" pitchFamily="34" charset="0"/>
                        </a:rPr>
                        <a:t>SN-150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entury Gothic" panose="020B0502020202020204" pitchFamily="34" charset="0"/>
                        </a:rPr>
                        <a:t>24,80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entury Gothic" panose="020B0502020202020204" pitchFamily="34" charset="0"/>
                        </a:rPr>
                        <a:t>-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222532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Century Gothic" panose="020B0502020202020204" pitchFamily="34" charset="0"/>
                        </a:rPr>
                        <a:t>VHVI-4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entury Gothic" panose="020B0502020202020204" pitchFamily="34" charset="0"/>
                        </a:rPr>
                        <a:t>55,00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entury Gothic" panose="020B0502020202020204" pitchFamily="34" charset="0"/>
                        </a:rPr>
                        <a:t>-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977647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Century Gothic" panose="020B0502020202020204" pitchFamily="34" charset="0"/>
                        </a:rPr>
                        <a:t>TAIF PAO-12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entury Gothic" panose="020B0502020202020204" pitchFamily="34" charset="0"/>
                        </a:rPr>
                        <a:t>-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79,65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53264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Century Gothic" panose="020B0502020202020204" pitchFamily="34" charset="0"/>
                        </a:rPr>
                        <a:t>Эфир</a:t>
                      </a: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*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entury Gothic" panose="020B0502020202020204" pitchFamily="34" charset="0"/>
                        </a:rPr>
                        <a:t>-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10,00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369531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100" b="1" dirty="0">
                          <a:latin typeface="Century Gothic" panose="020B0502020202020204" pitchFamily="34" charset="0"/>
                        </a:rPr>
                        <a:t>Депрессор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latin typeface="Century Gothic" panose="020B0502020202020204" pitchFamily="34" charset="0"/>
                        </a:rPr>
                        <a:t>0,70</a:t>
                      </a:r>
                      <a:endParaRPr lang="ru-RU" sz="11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latin typeface="Century Gothic" panose="020B0502020202020204" pitchFamily="34" charset="0"/>
                        </a:rPr>
                        <a:t>-</a:t>
                      </a:r>
                      <a:endParaRPr lang="ru-RU" sz="11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74539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100" b="1" dirty="0">
                          <a:latin typeface="Century Gothic" panose="020B0502020202020204" pitchFamily="34" charset="0"/>
                        </a:rPr>
                        <a:t>Пакет присадок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latin typeface="Century Gothic" panose="020B0502020202020204" pitchFamily="34" charset="0"/>
                        </a:rPr>
                        <a:t>5,50</a:t>
                      </a:r>
                      <a:endParaRPr lang="ru-RU" sz="11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latin typeface="Century Gothic" panose="020B0502020202020204" pitchFamily="34" charset="0"/>
                        </a:rPr>
                        <a:t>3,85</a:t>
                      </a:r>
                      <a:endParaRPr lang="ru-RU" sz="11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92868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100" b="1" dirty="0">
                          <a:latin typeface="Century Gothic" panose="020B0502020202020204" pitchFamily="34" charset="0"/>
                        </a:rPr>
                        <a:t>Загустител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latin typeface="Century Gothic" panose="020B0502020202020204" pitchFamily="34" charset="0"/>
                        </a:rPr>
                        <a:t>14,00</a:t>
                      </a:r>
                      <a:endParaRPr lang="ru-RU" sz="11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latin typeface="Century Gothic" panose="020B0502020202020204" pitchFamily="34" charset="0"/>
                        </a:rPr>
                        <a:t>6,50</a:t>
                      </a:r>
                      <a:endParaRPr lang="ru-RU" sz="1100" b="1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5965968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415D381F-A1EC-4D16-A21A-561BFEBAA242}"/>
              </a:ext>
            </a:extLst>
          </p:cNvPr>
          <p:cNvSpPr txBox="1"/>
          <p:nvPr/>
        </p:nvSpPr>
        <p:spPr>
          <a:xfrm>
            <a:off x="6073139" y="831964"/>
            <a:ext cx="2828990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kumimoji="0" lang="ru-RU" sz="1600" b="1" i="0" u="sng" strike="noStrike" kern="1200" cap="none" spc="0" normalizeH="0" baseline="0" noProof="0" dirty="0">
                <a:ln>
                  <a:noFill/>
                </a:ln>
                <a:solidFill>
                  <a:srgbClr val="EC7E34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Преимущества</a:t>
            </a:r>
          </a:p>
          <a:p>
            <a:pPr algn="just">
              <a:defRPr/>
            </a:pPr>
            <a:endParaRPr kumimoji="0" lang="ru-RU" sz="1600" b="1" i="0" u="sng" strike="noStrike" kern="1200" cap="none" spc="0" normalizeH="0" baseline="0" noProof="0" dirty="0">
              <a:ln>
                <a:noFill/>
              </a:ln>
              <a:solidFill>
                <a:srgbClr val="EC7E34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Использование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TAIF PAO-12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 позволяет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снизить содержание загустителя более чем на 50% и полностью исключить депрессор из состава продукта </a:t>
            </a:r>
            <a:r>
              <a:rPr lang="en-US" sz="1200" dirty="0">
                <a:latin typeface="Century Gothic" panose="020B0502020202020204" pitchFamily="34" charset="0"/>
              </a:rPr>
              <a:t>SAE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75W-90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/>
            </a:endParaRPr>
          </a:p>
          <a:p>
            <a:pPr algn="just">
              <a:defRPr/>
            </a:pPr>
            <a:r>
              <a:rPr lang="ru-RU" sz="1200" dirty="0">
                <a:latin typeface="Century Gothic" panose="020B0502020202020204" pitchFamily="34" charset="0"/>
              </a:rPr>
              <a:t>Противоизносные и противозадирные характеристики для обоих рецептура равны, несмотря на снижение вовлечения пакета на 30% в рецептуре на основе </a:t>
            </a:r>
            <a:r>
              <a:rPr lang="en-US" sz="1200" dirty="0">
                <a:latin typeface="Century Gothic" panose="020B0502020202020204" pitchFamily="34" charset="0"/>
              </a:rPr>
              <a:t>TAIF PAO-12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. 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/>
            </a:endParaRPr>
          </a:p>
        </p:txBody>
      </p:sp>
      <p:graphicFrame>
        <p:nvGraphicFramePr>
          <p:cNvPr id="7" name="Объект 3">
            <a:extLst>
              <a:ext uri="{FF2B5EF4-FFF2-40B4-BE49-F238E27FC236}">
                <a16:creationId xmlns:a16="http://schemas.microsoft.com/office/drawing/2014/main" id="{F40F52E5-01E2-46AE-9243-FC3DD15B9A5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4197349"/>
              </p:ext>
            </p:extLst>
          </p:nvPr>
        </p:nvGraphicFramePr>
        <p:xfrm>
          <a:off x="241871" y="2766674"/>
          <a:ext cx="5500873" cy="155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6325">
                  <a:extLst>
                    <a:ext uri="{9D8B030D-6E8A-4147-A177-3AD203B41FA5}">
                      <a16:colId xmlns:a16="http://schemas.microsoft.com/office/drawing/2014/main" val="1458014206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135521514"/>
                    </a:ext>
                  </a:extLst>
                </a:gridCol>
                <a:gridCol w="1192548">
                  <a:extLst>
                    <a:ext uri="{9D8B030D-6E8A-4147-A177-3AD203B41FA5}">
                      <a16:colId xmlns:a16="http://schemas.microsoft.com/office/drawing/2014/main" val="226404622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100" dirty="0">
                          <a:latin typeface="Century Gothic" panose="020B0502020202020204" pitchFamily="34" charset="0"/>
                        </a:rPr>
                        <a:t>Показател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entury Gothic" panose="020B0502020202020204" pitchFamily="34" charset="0"/>
                        </a:rPr>
                        <a:t>Gr I + GR III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entury Gothic" panose="020B0502020202020204" pitchFamily="34" charset="0"/>
                        </a:rPr>
                        <a:t>PAO-based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78576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latin typeface="Century Gothic" panose="020B0502020202020204" pitchFamily="34" charset="0"/>
                        </a:rPr>
                        <a:t>КВ</a:t>
                      </a: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>
                          <a:latin typeface="Century Gothic" panose="020B0502020202020204" pitchFamily="34" charset="0"/>
                        </a:rPr>
                        <a:t>при</a:t>
                      </a: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 100 </a:t>
                      </a: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°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, </a:t>
                      </a:r>
                      <a:r>
                        <a:rPr lang="ru-RU" sz="11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мм</a:t>
                      </a:r>
                      <a:r>
                        <a:rPr lang="en-US" sz="1100" kern="1200" baseline="300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1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/с</a:t>
                      </a:r>
                      <a:endParaRPr lang="en-US" sz="1100" kern="1200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Century Gothic" panose="020B0502020202020204" pitchFamily="34" charset="0"/>
                        </a:rPr>
                        <a:t>15,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Century Gothic" panose="020B0502020202020204" pitchFamily="34" charset="0"/>
                        </a:rPr>
                        <a:t>15,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57365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latin typeface="Century Gothic" panose="020B0502020202020204" pitchFamily="34" charset="0"/>
                        </a:rPr>
                        <a:t>КВ</a:t>
                      </a: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>
                          <a:latin typeface="Century Gothic" panose="020B0502020202020204" pitchFamily="34" charset="0"/>
                        </a:rPr>
                        <a:t>при</a:t>
                      </a: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 40 </a:t>
                      </a: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°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, </a:t>
                      </a:r>
                      <a:r>
                        <a:rPr lang="ru-RU" sz="11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мм</a:t>
                      </a:r>
                      <a:r>
                        <a:rPr lang="en-US" sz="1100" kern="1200" baseline="300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1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/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entury Gothic" panose="020B0502020202020204" pitchFamily="34" charset="0"/>
                        </a:rPr>
                        <a:t>99,</a:t>
                      </a:r>
                      <a:r>
                        <a:rPr lang="ru-RU" sz="1100" dirty="0"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Century Gothic" panose="020B0502020202020204" pitchFamily="34" charset="0"/>
                        </a:rPr>
                        <a:t>120,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215747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latin typeface="Century Gothic" panose="020B0502020202020204" pitchFamily="34" charset="0"/>
                        </a:rPr>
                        <a:t>Индекс вязкост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Century Gothic" panose="020B0502020202020204" pitchFamily="34" charset="0"/>
                        </a:rPr>
                        <a:t>16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Century Gothic" panose="020B0502020202020204" pitchFamily="34" charset="0"/>
                        </a:rPr>
                        <a:t>13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55270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latin typeface="Century Gothic" panose="020B0502020202020204" pitchFamily="34" charset="0"/>
                        </a:rPr>
                        <a:t>Вязкость по </a:t>
                      </a:r>
                      <a:r>
                        <a:rPr lang="ru-RU" sz="1100" dirty="0" err="1">
                          <a:latin typeface="Century Gothic" panose="020B0502020202020204" pitchFamily="34" charset="0"/>
                        </a:rPr>
                        <a:t>Брукфильду</a:t>
                      </a:r>
                      <a:r>
                        <a:rPr lang="ru-RU" sz="1100" dirty="0">
                          <a:latin typeface="Century Gothic" panose="020B0502020202020204" pitchFamily="34" charset="0"/>
                        </a:rPr>
                        <a:t> при</a:t>
                      </a: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 -40 </a:t>
                      </a: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°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</a:t>
                      </a: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ru-RU" sz="1100" dirty="0">
                          <a:latin typeface="Century Gothic" panose="020B0502020202020204" pitchFamily="34" charset="0"/>
                        </a:rPr>
                        <a:t>мПа</a:t>
                      </a: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.</a:t>
                      </a:r>
                      <a:r>
                        <a:rPr lang="ru-RU" sz="1100" dirty="0">
                          <a:latin typeface="Century Gothic" panose="020B0502020202020204" pitchFamily="34" charset="0"/>
                        </a:rPr>
                        <a:t>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Century Gothic" panose="020B0502020202020204" pitchFamily="34" charset="0"/>
                        </a:rPr>
                        <a:t>1206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latin typeface="Century Gothic" panose="020B0502020202020204" pitchFamily="34" charset="0"/>
                        </a:rPr>
                        <a:t>1204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67231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Century Gothic" panose="020B0502020202020204" pitchFamily="34" charset="0"/>
                        </a:rPr>
                        <a:t>Pour point, </a:t>
                      </a:r>
                      <a:r>
                        <a:rPr lang="en-US" sz="1100" kern="1200" baseline="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°</a:t>
                      </a:r>
                      <a:r>
                        <a:rPr lang="en-US" sz="11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entury Gothic" panose="020B0502020202020204" pitchFamily="34" charset="0"/>
                        </a:rPr>
                        <a:t>-44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entury Gothic" panose="020B0502020202020204" pitchFamily="34" charset="0"/>
                        </a:rPr>
                        <a:t>-50</a:t>
                      </a:r>
                      <a:endParaRPr lang="ru-RU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0734081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6F556BF3-4479-494F-BEE5-A508CD197E4B}"/>
              </a:ext>
            </a:extLst>
          </p:cNvPr>
          <p:cNvSpPr txBox="1"/>
          <p:nvPr/>
        </p:nvSpPr>
        <p:spPr>
          <a:xfrm>
            <a:off x="241870" y="4429351"/>
            <a:ext cx="4572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* </a:t>
            </a:r>
            <a:r>
              <a:rPr kumimoji="0" lang="ru-RU" sz="105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Диоктилтерефталат</a:t>
            </a: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 (ДОТФ) СИБУР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31D3A458-3AE7-4D4A-99D8-BF1AFFACD21B}"/>
              </a:ext>
            </a:extLst>
          </p:cNvPr>
          <p:cNvCxnSpPr>
            <a:cxnSpLocks/>
          </p:cNvCxnSpPr>
          <p:nvPr/>
        </p:nvCxnSpPr>
        <p:spPr>
          <a:xfrm>
            <a:off x="5883226" y="1026505"/>
            <a:ext cx="0" cy="3027298"/>
          </a:xfrm>
          <a:prstGeom prst="line">
            <a:avLst/>
          </a:prstGeom>
          <a:ln w="22225">
            <a:solidFill>
              <a:srgbClr val="EC7E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73782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2A0D01D-99D4-434B-BF5B-1B88046A623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874" r="25832" b="15111"/>
          <a:stretch/>
        </p:blipFill>
        <p:spPr>
          <a:xfrm>
            <a:off x="241851" y="223038"/>
            <a:ext cx="3725869" cy="4366256"/>
          </a:xfrm>
          <a:prstGeom prst="rect">
            <a:avLst/>
          </a:prstGeom>
        </p:spPr>
      </p:pic>
      <p:pic>
        <p:nvPicPr>
          <p:cNvPr id="23" name="Google Shape;91;p16">
            <a:extLst>
              <a:ext uri="{FF2B5EF4-FFF2-40B4-BE49-F238E27FC236}">
                <a16:creationId xmlns:a16="http://schemas.microsoft.com/office/drawing/2014/main" id="{C155C265-EC0D-4CAE-AF05-5D4273FA993D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92;p16">
            <a:extLst>
              <a:ext uri="{FF2B5EF4-FFF2-40B4-BE49-F238E27FC236}">
                <a16:creationId xmlns:a16="http://schemas.microsoft.com/office/drawing/2014/main" id="{577EF62E-7690-4B8C-BB17-43AFEE141727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	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BC2926E2-E62B-42BC-86BA-51BAB219B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8340" y="308163"/>
            <a:ext cx="3026543" cy="1210934"/>
          </a:xfrm>
          <a:solidFill>
            <a:srgbClr val="FA7800"/>
          </a:solidFill>
        </p:spPr>
        <p:txBody>
          <a:bodyPr>
            <a:normAutofit/>
          </a:bodyPr>
          <a:lstStyle/>
          <a:p>
            <a:pPr marL="0" indent="0" algn="r">
              <a:lnSpc>
                <a:spcPct val="107000"/>
              </a:lnSpc>
              <a:spcAft>
                <a:spcPts val="600"/>
              </a:spcAft>
              <a:buNone/>
            </a:pPr>
            <a:r>
              <a:rPr lang="ru-RU" sz="2100" b="1" u="sng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дукторные масл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7A87863-6538-4BE5-80D4-E8FFE9792E0C}"/>
              </a:ext>
            </a:extLst>
          </p:cNvPr>
          <p:cNvSpPr txBox="1"/>
          <p:nvPr/>
        </p:nvSpPr>
        <p:spPr>
          <a:xfrm>
            <a:off x="4183966" y="1578958"/>
            <a:ext cx="4670673" cy="29003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lnSpc>
                <a:spcPct val="107000"/>
              </a:lnSpc>
              <a:spcAft>
                <a:spcPts val="600"/>
              </a:spcAft>
              <a:buClrTx/>
              <a:defRPr/>
            </a:pPr>
            <a:r>
              <a:rPr kumimoji="0" lang="ru-RU" sz="2100" b="1" i="0" u="sng" strike="noStrike" kern="1200" cap="none" spc="0" normalizeH="0" baseline="0" noProof="0" dirty="0">
                <a:ln>
                  <a:noFill/>
                </a:ln>
                <a:solidFill>
                  <a:srgbClr val="EC7E34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Преимущества</a:t>
            </a:r>
          </a:p>
          <a:p>
            <a:pPr marR="0" lvl="0" algn="just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ru-RU" sz="1200" kern="1200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интетические редукторные масла обладают рядом существенных преимуществ по сравнению с нефтяными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Повышенная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термоокислительная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стабильность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200" kern="1200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личные вязкостно-температурные характеристики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200" kern="1200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сключительные низкотемпературные свойства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Повышенный КПД редуктора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200" kern="1200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изкая летучесть и потери на испарение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Пониженная воспламеняемость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200" kern="1200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изкое </a:t>
            </a:r>
            <a:r>
              <a:rPr lang="ru-RU" sz="1200" kern="1200" dirty="0" err="1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акообразование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779E9E4-A1F2-465E-A371-849AD7B49FAB}"/>
              </a:ext>
            </a:extLst>
          </p:cNvPr>
          <p:cNvCxnSpPr>
            <a:cxnSpLocks/>
          </p:cNvCxnSpPr>
          <p:nvPr/>
        </p:nvCxnSpPr>
        <p:spPr>
          <a:xfrm>
            <a:off x="4183966" y="1758025"/>
            <a:ext cx="0" cy="2760204"/>
          </a:xfrm>
          <a:prstGeom prst="line">
            <a:avLst/>
          </a:prstGeom>
          <a:ln w="22225">
            <a:solidFill>
              <a:srgbClr val="EC7E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09624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oogle Shape;91;p16">
            <a:extLst>
              <a:ext uri="{FF2B5EF4-FFF2-40B4-BE49-F238E27FC236}">
                <a16:creationId xmlns:a16="http://schemas.microsoft.com/office/drawing/2014/main" id="{274861B6-F485-45D5-8C1C-737B24286FAE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92;p16">
            <a:extLst>
              <a:ext uri="{FF2B5EF4-FFF2-40B4-BE49-F238E27FC236}">
                <a16:creationId xmlns:a16="http://schemas.microsoft.com/office/drawing/2014/main" id="{E06DB1F8-5549-4835-8279-C8EF6774595C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	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A130737-740E-4FA6-8F3F-46ECCF0E9549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9144000" cy="698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200"/>
              <a:buFont typeface="Arial"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Редукторные масла</a:t>
            </a:r>
          </a:p>
        </p:txBody>
      </p:sp>
      <p:graphicFrame>
        <p:nvGraphicFramePr>
          <p:cNvPr id="8" name="Таблица 4">
            <a:extLst>
              <a:ext uri="{FF2B5EF4-FFF2-40B4-BE49-F238E27FC236}">
                <a16:creationId xmlns:a16="http://schemas.microsoft.com/office/drawing/2014/main" id="{6B2018A3-17EC-4A68-A388-8F874BFE93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2948929"/>
              </p:ext>
            </p:extLst>
          </p:nvPr>
        </p:nvGraphicFramePr>
        <p:xfrm>
          <a:off x="414961" y="880997"/>
          <a:ext cx="8314073" cy="33815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4562">
                  <a:extLst>
                    <a:ext uri="{9D8B030D-6E8A-4147-A177-3AD203B41FA5}">
                      <a16:colId xmlns:a16="http://schemas.microsoft.com/office/drawing/2014/main" val="2842827713"/>
                    </a:ext>
                  </a:extLst>
                </a:gridCol>
                <a:gridCol w="1475910">
                  <a:extLst>
                    <a:ext uri="{9D8B030D-6E8A-4147-A177-3AD203B41FA5}">
                      <a16:colId xmlns:a16="http://schemas.microsoft.com/office/drawing/2014/main" val="2962166001"/>
                    </a:ext>
                  </a:extLst>
                </a:gridCol>
                <a:gridCol w="1485326">
                  <a:extLst>
                    <a:ext uri="{9D8B030D-6E8A-4147-A177-3AD203B41FA5}">
                      <a16:colId xmlns:a16="http://schemas.microsoft.com/office/drawing/2014/main" val="645232416"/>
                    </a:ext>
                  </a:extLst>
                </a:gridCol>
                <a:gridCol w="1537728">
                  <a:extLst>
                    <a:ext uri="{9D8B030D-6E8A-4147-A177-3AD203B41FA5}">
                      <a16:colId xmlns:a16="http://schemas.microsoft.com/office/drawing/2014/main" val="2393844133"/>
                    </a:ext>
                  </a:extLst>
                </a:gridCol>
                <a:gridCol w="1470547">
                  <a:extLst>
                    <a:ext uri="{9D8B030D-6E8A-4147-A177-3AD203B41FA5}">
                      <a16:colId xmlns:a16="http://schemas.microsoft.com/office/drawing/2014/main" val="3851192311"/>
                    </a:ext>
                  </a:extLst>
                </a:gridCol>
              </a:tblGrid>
              <a:tr h="251247"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Компонен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SO VG 46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SO VG 68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SO VG 10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SO VG 15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12100"/>
                  </a:ext>
                </a:extLst>
              </a:tr>
              <a:tr h="2512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Пакет присадок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, %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02,65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Century Gothic" panose="020B0502020202020204" pitchFamily="34" charset="0"/>
                        </a:rPr>
                        <a:t>02,65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Century Gothic" panose="020B0502020202020204" pitchFamily="34" charset="0"/>
                        </a:rPr>
                        <a:t>02,65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latin typeface="Century Gothic" panose="020B0502020202020204" pitchFamily="34" charset="0"/>
                        </a:rPr>
                        <a:t>02,65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4907430"/>
                  </a:ext>
                </a:extLst>
              </a:tr>
              <a:tr h="25124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Century Gothic" panose="020B0502020202020204" pitchFamily="34" charset="0"/>
                        </a:rPr>
                        <a:t>Эфир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, %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0,0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10,0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10,0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10,0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0411334"/>
                  </a:ext>
                </a:extLst>
              </a:tr>
              <a:tr h="251247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entury Gothic" panose="020B0502020202020204" pitchFamily="34" charset="0"/>
                        </a:rPr>
                        <a:t>TAIF PAO-6, %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51,08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16,24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-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-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831579"/>
                  </a:ext>
                </a:extLst>
              </a:tr>
              <a:tr h="251247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entury Gothic" panose="020B0502020202020204" pitchFamily="34" charset="0"/>
                        </a:rPr>
                        <a:t>TAIF PAO-12, %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36,24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71,08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51,14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-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3722464"/>
                  </a:ext>
                </a:extLst>
              </a:tr>
              <a:tr h="251247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entury Gothic" panose="020B0502020202020204" pitchFamily="34" charset="0"/>
                        </a:rPr>
                        <a:t>TAIF PAO-20, %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-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-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36,18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87,32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9971897"/>
                  </a:ext>
                </a:extLst>
              </a:tr>
              <a:tr h="251247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Антипенная присадка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, %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00,03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00,03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00,03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00,03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1917441"/>
                  </a:ext>
                </a:extLst>
              </a:tr>
              <a:tr h="307579"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Вязкостные характеристики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43667"/>
                  </a:ext>
                </a:extLst>
              </a:tr>
              <a:tr h="4396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КВ при 40 °C, мм</a:t>
                      </a:r>
                      <a:r>
                        <a:rPr lang="ru-RU" sz="1200" baseline="30000" dirty="0">
                          <a:latin typeface="Century Gothic" panose="020B0502020202020204" pitchFamily="34" charset="0"/>
                        </a:rPr>
                        <a:t>2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/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46,02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68,71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104,22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145,53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0664182"/>
                  </a:ext>
                </a:extLst>
              </a:tr>
              <a:tr h="4396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КВ при 100 °C, мм</a:t>
                      </a:r>
                      <a:r>
                        <a:rPr lang="ru-RU" sz="1200" baseline="30000" dirty="0">
                          <a:latin typeface="Century Gothic" panose="020B0502020202020204" pitchFamily="34" charset="0"/>
                        </a:rPr>
                        <a:t>2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/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7,45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10,14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14,35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19,16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4765119"/>
                  </a:ext>
                </a:extLst>
              </a:tr>
              <a:tr h="2512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Индекс вязкост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26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32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41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5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95222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986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E6F6D4E-9E2F-4773-AD01-5C0220B3038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7093"/>
          <a:stretch/>
        </p:blipFill>
        <p:spPr>
          <a:xfrm>
            <a:off x="241850" y="223038"/>
            <a:ext cx="3725870" cy="4366256"/>
          </a:xfrm>
          <a:prstGeom prst="rect">
            <a:avLst/>
          </a:prstGeom>
        </p:spPr>
      </p:pic>
      <p:pic>
        <p:nvPicPr>
          <p:cNvPr id="23" name="Google Shape;91;p16">
            <a:extLst>
              <a:ext uri="{FF2B5EF4-FFF2-40B4-BE49-F238E27FC236}">
                <a16:creationId xmlns:a16="http://schemas.microsoft.com/office/drawing/2014/main" id="{C155C265-EC0D-4CAE-AF05-5D4273FA993D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92;p16">
            <a:extLst>
              <a:ext uri="{FF2B5EF4-FFF2-40B4-BE49-F238E27FC236}">
                <a16:creationId xmlns:a16="http://schemas.microsoft.com/office/drawing/2014/main" id="{577EF62E-7690-4B8C-BB17-43AFEE141727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	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BC2926E2-E62B-42BC-86BA-51BAB219B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8340" y="308163"/>
            <a:ext cx="3026543" cy="1210934"/>
          </a:xfrm>
          <a:solidFill>
            <a:schemeClr val="bg1">
              <a:lumMod val="50000"/>
            </a:schemeClr>
          </a:solidFill>
        </p:spPr>
        <p:txBody>
          <a:bodyPr>
            <a:normAutofit/>
          </a:bodyPr>
          <a:lstStyle/>
          <a:p>
            <a:pPr marL="0" indent="0" algn="r">
              <a:lnSpc>
                <a:spcPct val="107000"/>
              </a:lnSpc>
              <a:spcAft>
                <a:spcPts val="600"/>
              </a:spcAft>
              <a:buNone/>
            </a:pPr>
            <a:r>
              <a:rPr lang="ru-RU" sz="2100" b="1" u="sng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прессорные масл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7A87863-6538-4BE5-80D4-E8FFE9792E0C}"/>
              </a:ext>
            </a:extLst>
          </p:cNvPr>
          <p:cNvSpPr txBox="1"/>
          <p:nvPr/>
        </p:nvSpPr>
        <p:spPr>
          <a:xfrm>
            <a:off x="4183966" y="1818759"/>
            <a:ext cx="4670673" cy="26387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lnSpc>
                <a:spcPct val="107000"/>
              </a:lnSpc>
              <a:spcAft>
                <a:spcPts val="600"/>
              </a:spcAft>
              <a:buClrTx/>
              <a:defRPr/>
            </a:pPr>
            <a:r>
              <a:rPr kumimoji="0" lang="ru-RU" sz="2100" b="1" i="0" u="sng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Преимущества</a:t>
            </a:r>
          </a:p>
          <a:p>
            <a:pPr marR="0" lvl="0" algn="just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ru-RU" sz="1200" kern="1200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интетические компрессорные масла обладают рядом существенных преимуществ по сравнению с нефтяными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Повышенная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термоокислительная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стабильность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200" kern="1200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орошая гидролитическая стабильность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200" kern="1200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сключительные низкотемпературные свойства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200" kern="1200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изкая летучесть и потери на испарение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200" kern="1200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изкое </a:t>
            </a:r>
            <a:r>
              <a:rPr lang="ru-RU" sz="1200" kern="1200" dirty="0" err="1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акообразование</a:t>
            </a:r>
            <a:endParaRPr lang="ru-RU" sz="1200" kern="1200" dirty="0">
              <a:solidFill>
                <a:prstClr val="black"/>
              </a:solidFill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200" kern="1200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 смешивается с аммиаком и углекислым газом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779E9E4-A1F2-465E-A371-849AD7B49FAB}"/>
              </a:ext>
            </a:extLst>
          </p:cNvPr>
          <p:cNvCxnSpPr>
            <a:cxnSpLocks/>
          </p:cNvCxnSpPr>
          <p:nvPr/>
        </p:nvCxnSpPr>
        <p:spPr>
          <a:xfrm>
            <a:off x="4183966" y="1758025"/>
            <a:ext cx="0" cy="2760204"/>
          </a:xfrm>
          <a:prstGeom prst="line">
            <a:avLst/>
          </a:prstGeom>
          <a:ln w="2222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29353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oogle Shape;91;p16">
            <a:extLst>
              <a:ext uri="{FF2B5EF4-FFF2-40B4-BE49-F238E27FC236}">
                <a16:creationId xmlns:a16="http://schemas.microsoft.com/office/drawing/2014/main" id="{274861B6-F485-45D5-8C1C-737B24286FAE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92;p16">
            <a:extLst>
              <a:ext uri="{FF2B5EF4-FFF2-40B4-BE49-F238E27FC236}">
                <a16:creationId xmlns:a16="http://schemas.microsoft.com/office/drawing/2014/main" id="{E06DB1F8-5549-4835-8279-C8EF6774595C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	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A130737-740E-4FA6-8F3F-46ECCF0E9549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9144000" cy="698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5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200"/>
              <a:buFont typeface="Arial"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Компрессорные масла*</a:t>
            </a:r>
          </a:p>
        </p:txBody>
      </p:sp>
      <p:graphicFrame>
        <p:nvGraphicFramePr>
          <p:cNvPr id="8" name="Таблица 4">
            <a:extLst>
              <a:ext uri="{FF2B5EF4-FFF2-40B4-BE49-F238E27FC236}">
                <a16:creationId xmlns:a16="http://schemas.microsoft.com/office/drawing/2014/main" id="{6B2018A3-17EC-4A68-A388-8F874BFE93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4724406"/>
              </p:ext>
            </p:extLst>
          </p:nvPr>
        </p:nvGraphicFramePr>
        <p:xfrm>
          <a:off x="414961" y="805282"/>
          <a:ext cx="8314072" cy="32861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1102">
                  <a:extLst>
                    <a:ext uri="{9D8B030D-6E8A-4147-A177-3AD203B41FA5}">
                      <a16:colId xmlns:a16="http://schemas.microsoft.com/office/drawing/2014/main" val="2842827713"/>
                    </a:ext>
                  </a:extLst>
                </a:gridCol>
                <a:gridCol w="1253406">
                  <a:extLst>
                    <a:ext uri="{9D8B030D-6E8A-4147-A177-3AD203B41FA5}">
                      <a16:colId xmlns:a16="http://schemas.microsoft.com/office/drawing/2014/main" val="3635001367"/>
                    </a:ext>
                  </a:extLst>
                </a:gridCol>
                <a:gridCol w="1253406">
                  <a:extLst>
                    <a:ext uri="{9D8B030D-6E8A-4147-A177-3AD203B41FA5}">
                      <a16:colId xmlns:a16="http://schemas.microsoft.com/office/drawing/2014/main" val="2962166001"/>
                    </a:ext>
                  </a:extLst>
                </a:gridCol>
                <a:gridCol w="1261402">
                  <a:extLst>
                    <a:ext uri="{9D8B030D-6E8A-4147-A177-3AD203B41FA5}">
                      <a16:colId xmlns:a16="http://schemas.microsoft.com/office/drawing/2014/main" val="645232416"/>
                    </a:ext>
                  </a:extLst>
                </a:gridCol>
                <a:gridCol w="1305904">
                  <a:extLst>
                    <a:ext uri="{9D8B030D-6E8A-4147-A177-3AD203B41FA5}">
                      <a16:colId xmlns:a16="http://schemas.microsoft.com/office/drawing/2014/main" val="2393844133"/>
                    </a:ext>
                  </a:extLst>
                </a:gridCol>
                <a:gridCol w="1248852">
                  <a:extLst>
                    <a:ext uri="{9D8B030D-6E8A-4147-A177-3AD203B41FA5}">
                      <a16:colId xmlns:a16="http://schemas.microsoft.com/office/drawing/2014/main" val="3851192311"/>
                    </a:ext>
                  </a:extLst>
                </a:gridCol>
              </a:tblGrid>
              <a:tr h="318213">
                <a:tc>
                  <a:txBody>
                    <a:bodyPr/>
                    <a:lstStyle/>
                    <a:p>
                      <a:pPr algn="l"/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Компонен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SO VG 32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SO VG 46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SO VG 68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SO VG 10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SO VG 15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12100"/>
                  </a:ext>
                </a:extLst>
              </a:tr>
              <a:tr h="318213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Century Gothic" panose="020B0502020202020204" pitchFamily="34" charset="0"/>
                        </a:rPr>
                        <a:t>Эфир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, %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0,0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0,0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0,0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10,0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0,0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0411334"/>
                  </a:ext>
                </a:extLst>
              </a:tr>
              <a:tr h="318213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entury Gothic" panose="020B0502020202020204" pitchFamily="34" charset="0"/>
                        </a:rPr>
                        <a:t>TAIF PAO-6, %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Century Gothic" panose="020B0502020202020204" pitchFamily="34" charset="0"/>
                        </a:rPr>
                        <a:t>90,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51,08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6,24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-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-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5831579"/>
                  </a:ext>
                </a:extLst>
              </a:tr>
              <a:tr h="318213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entury Gothic" panose="020B0502020202020204" pitchFamily="34" charset="0"/>
                        </a:rPr>
                        <a:t>TAIF PAO-12, %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36,24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71,08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51,14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-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3722464"/>
                  </a:ext>
                </a:extLst>
              </a:tr>
              <a:tr h="318213"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entury Gothic" panose="020B0502020202020204" pitchFamily="34" charset="0"/>
                        </a:rPr>
                        <a:t>TAIF PAO-20, %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-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-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36,18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87,32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9971897"/>
                  </a:ext>
                </a:extLst>
              </a:tr>
              <a:tr h="356794">
                <a:tc grid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Характеристики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43667"/>
                  </a:ext>
                </a:extLst>
              </a:tr>
              <a:tr h="510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КВ при 40 °C, мм</a:t>
                      </a:r>
                      <a:r>
                        <a:rPr lang="ru-RU" sz="1200" baseline="30000" dirty="0">
                          <a:latin typeface="Century Gothic" panose="020B0502020202020204" pitchFamily="34" charset="0"/>
                        </a:rPr>
                        <a:t>2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/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Century Gothic" panose="020B0502020202020204" pitchFamily="34" charset="0"/>
                        </a:rPr>
                        <a:t>32,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46,02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68,71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104,22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45,53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40664182"/>
                  </a:ext>
                </a:extLst>
              </a:tr>
              <a:tr h="510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КВ при 100 °C, мм</a:t>
                      </a:r>
                      <a:r>
                        <a:rPr lang="ru-RU" sz="1200" baseline="30000" dirty="0">
                          <a:latin typeface="Century Gothic" panose="020B0502020202020204" pitchFamily="34" charset="0"/>
                        </a:rPr>
                        <a:t>2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/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Century Gothic" panose="020B0502020202020204" pitchFamily="34" charset="0"/>
                        </a:rPr>
                        <a:t>5,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7,45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10,14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entury Gothic" panose="020B0502020202020204" pitchFamily="34" charset="0"/>
                        </a:rPr>
                        <a:t>14,35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9,16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4765119"/>
                  </a:ext>
                </a:extLst>
              </a:tr>
              <a:tr h="3182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Индекс вязкост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Century Gothic" panose="020B0502020202020204" pitchFamily="34" charset="0"/>
                        </a:rPr>
                        <a:t>1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26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32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41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5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9522254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E66461A9-700A-4701-95F1-AA11C1070017}"/>
              </a:ext>
            </a:extLst>
          </p:cNvPr>
          <p:cNvSpPr txBox="1"/>
          <p:nvPr/>
        </p:nvSpPr>
        <p:spPr>
          <a:xfrm>
            <a:off x="414961" y="4302144"/>
            <a:ext cx="4572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* </a:t>
            </a: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Базовая смесь без пакета присадок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40093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192FCE22-C946-42C2-BB36-38837F200970}"/>
              </a:ext>
            </a:extLst>
          </p:cNvPr>
          <p:cNvGrpSpPr>
            <a:grpSpLocks noChangeAspect="1"/>
          </p:cNvGrpSpPr>
          <p:nvPr/>
        </p:nvGrpSpPr>
        <p:grpSpPr>
          <a:xfrm>
            <a:off x="425463" y="529112"/>
            <a:ext cx="7990354" cy="4273669"/>
            <a:chOff x="4971987" y="2762971"/>
            <a:chExt cx="15138464" cy="7844200"/>
          </a:xfrm>
        </p:grpSpPr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9D670612-D620-498E-A585-29BF6BA1F9BA}"/>
                </a:ext>
              </a:extLst>
            </p:cNvPr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 rot="389746">
              <a:off x="6556979" y="6437636"/>
              <a:ext cx="2750610" cy="2494164"/>
            </a:xfrm>
            <a:custGeom>
              <a:avLst/>
              <a:gdLst>
                <a:gd name="T0" fmla="*/ 2147483647 w 1000"/>
                <a:gd name="T1" fmla="*/ 2147483647 h 989"/>
                <a:gd name="T2" fmla="*/ 2147483647 w 1000"/>
                <a:gd name="T3" fmla="*/ 2147483647 h 989"/>
                <a:gd name="T4" fmla="*/ 2147483647 w 1000"/>
                <a:gd name="T5" fmla="*/ 2147483647 h 989"/>
                <a:gd name="T6" fmla="*/ 2147483647 w 1000"/>
                <a:gd name="T7" fmla="*/ 2147483647 h 989"/>
                <a:gd name="T8" fmla="*/ 2147483647 w 1000"/>
                <a:gd name="T9" fmla="*/ 2147483647 h 989"/>
                <a:gd name="T10" fmla="*/ 2147483647 w 1000"/>
                <a:gd name="T11" fmla="*/ 2147483647 h 989"/>
                <a:gd name="T12" fmla="*/ 2147483647 w 1000"/>
                <a:gd name="T13" fmla="*/ 2147483647 h 989"/>
                <a:gd name="T14" fmla="*/ 2147483647 w 1000"/>
                <a:gd name="T15" fmla="*/ 2147483647 h 989"/>
                <a:gd name="T16" fmla="*/ 2147483647 w 1000"/>
                <a:gd name="T17" fmla="*/ 2147483647 h 989"/>
                <a:gd name="T18" fmla="*/ 2147483647 w 1000"/>
                <a:gd name="T19" fmla="*/ 2147483647 h 989"/>
                <a:gd name="T20" fmla="*/ 2147483647 w 1000"/>
                <a:gd name="T21" fmla="*/ 2147483647 h 989"/>
                <a:gd name="T22" fmla="*/ 2147483647 w 1000"/>
                <a:gd name="T23" fmla="*/ 2147483647 h 989"/>
                <a:gd name="T24" fmla="*/ 2147483647 w 1000"/>
                <a:gd name="T25" fmla="*/ 2147483647 h 989"/>
                <a:gd name="T26" fmla="*/ 2147483647 w 1000"/>
                <a:gd name="T27" fmla="*/ 2147483647 h 989"/>
                <a:gd name="T28" fmla="*/ 2147483647 w 1000"/>
                <a:gd name="T29" fmla="*/ 2147483647 h 989"/>
                <a:gd name="T30" fmla="*/ 2147483647 w 1000"/>
                <a:gd name="T31" fmla="*/ 2147483647 h 989"/>
                <a:gd name="T32" fmla="*/ 2147483647 w 1000"/>
                <a:gd name="T33" fmla="*/ 2147483647 h 989"/>
                <a:gd name="T34" fmla="*/ 2147483647 w 1000"/>
                <a:gd name="T35" fmla="*/ 2147483647 h 989"/>
                <a:gd name="T36" fmla="*/ 2147483647 w 1000"/>
                <a:gd name="T37" fmla="*/ 2147483647 h 989"/>
                <a:gd name="T38" fmla="*/ 2147483647 w 1000"/>
                <a:gd name="T39" fmla="*/ 2147483647 h 989"/>
                <a:gd name="T40" fmla="*/ 2147483647 w 1000"/>
                <a:gd name="T41" fmla="*/ 2147483647 h 989"/>
                <a:gd name="T42" fmla="*/ 2147483647 w 1000"/>
                <a:gd name="T43" fmla="*/ 2147483647 h 989"/>
                <a:gd name="T44" fmla="*/ 2147483647 w 1000"/>
                <a:gd name="T45" fmla="*/ 2147483647 h 989"/>
                <a:gd name="T46" fmla="*/ 2147483647 w 1000"/>
                <a:gd name="T47" fmla="*/ 2147483647 h 989"/>
                <a:gd name="T48" fmla="*/ 2147483647 w 1000"/>
                <a:gd name="T49" fmla="*/ 2147483647 h 989"/>
                <a:gd name="T50" fmla="*/ 2147483647 w 1000"/>
                <a:gd name="T51" fmla="*/ 2147483647 h 989"/>
                <a:gd name="T52" fmla="*/ 2147483647 w 1000"/>
                <a:gd name="T53" fmla="*/ 2147483647 h 989"/>
                <a:gd name="T54" fmla="*/ 2147483647 w 1000"/>
                <a:gd name="T55" fmla="*/ 2147483647 h 989"/>
                <a:gd name="T56" fmla="*/ 2147483647 w 1000"/>
                <a:gd name="T57" fmla="*/ 2147483647 h 989"/>
                <a:gd name="T58" fmla="*/ 2147483647 w 1000"/>
                <a:gd name="T59" fmla="*/ 2147483647 h 989"/>
                <a:gd name="T60" fmla="*/ 2147483647 w 1000"/>
                <a:gd name="T61" fmla="*/ 2147483647 h 989"/>
                <a:gd name="T62" fmla="*/ 2147483647 w 1000"/>
                <a:gd name="T63" fmla="*/ 2147483647 h 989"/>
                <a:gd name="T64" fmla="*/ 2147483647 w 1000"/>
                <a:gd name="T65" fmla="*/ 2147483647 h 989"/>
                <a:gd name="T66" fmla="*/ 2147483647 w 1000"/>
                <a:gd name="T67" fmla="*/ 2147483647 h 989"/>
                <a:gd name="T68" fmla="*/ 2147483647 w 1000"/>
                <a:gd name="T69" fmla="*/ 2147483647 h 989"/>
                <a:gd name="T70" fmla="*/ 2147483647 w 1000"/>
                <a:gd name="T71" fmla="*/ 2147483647 h 989"/>
                <a:gd name="T72" fmla="*/ 2147483647 w 1000"/>
                <a:gd name="T73" fmla="*/ 2147483647 h 989"/>
                <a:gd name="T74" fmla="*/ 2147483647 w 1000"/>
                <a:gd name="T75" fmla="*/ 2147483647 h 989"/>
                <a:gd name="T76" fmla="*/ 2147483647 w 1000"/>
                <a:gd name="T77" fmla="*/ 2147483647 h 989"/>
                <a:gd name="T78" fmla="*/ 2147483647 w 1000"/>
                <a:gd name="T79" fmla="*/ 2147483647 h 989"/>
                <a:gd name="T80" fmla="*/ 2147483647 w 1000"/>
                <a:gd name="T81" fmla="*/ 2147483647 h 989"/>
                <a:gd name="T82" fmla="*/ 2147483647 w 1000"/>
                <a:gd name="T83" fmla="*/ 2147483647 h 989"/>
                <a:gd name="T84" fmla="*/ 2147483647 w 1000"/>
                <a:gd name="T85" fmla="*/ 2147483647 h 989"/>
                <a:gd name="T86" fmla="*/ 2147483647 w 1000"/>
                <a:gd name="T87" fmla="*/ 2147483647 h 989"/>
                <a:gd name="T88" fmla="*/ 2147483647 w 1000"/>
                <a:gd name="T89" fmla="*/ 2147483647 h 989"/>
                <a:gd name="T90" fmla="*/ 2147483647 w 1000"/>
                <a:gd name="T91" fmla="*/ 2147483647 h 989"/>
                <a:gd name="T92" fmla="*/ 2147483647 w 1000"/>
                <a:gd name="T93" fmla="*/ 2147483647 h 989"/>
                <a:gd name="T94" fmla="*/ 2147483647 w 1000"/>
                <a:gd name="T95" fmla="*/ 2147483647 h 989"/>
                <a:gd name="T96" fmla="*/ 2147483647 w 1000"/>
                <a:gd name="T97" fmla="*/ 2147483647 h 989"/>
                <a:gd name="T98" fmla="*/ 2147483647 w 1000"/>
                <a:gd name="T99" fmla="*/ 2147483647 h 989"/>
                <a:gd name="T100" fmla="*/ 2147483647 w 1000"/>
                <a:gd name="T101" fmla="*/ 2147483647 h 989"/>
                <a:gd name="T102" fmla="*/ 2147483647 w 1000"/>
                <a:gd name="T103" fmla="*/ 2147483647 h 989"/>
                <a:gd name="T104" fmla="*/ 2147483647 w 1000"/>
                <a:gd name="T105" fmla="*/ 2147483647 h 989"/>
                <a:gd name="T106" fmla="*/ 2147483647 w 1000"/>
                <a:gd name="T107" fmla="*/ 2147483647 h 989"/>
                <a:gd name="T108" fmla="*/ 2147483647 w 1000"/>
                <a:gd name="T109" fmla="*/ 2147483647 h 989"/>
                <a:gd name="T110" fmla="*/ 2147483647 w 1000"/>
                <a:gd name="T111" fmla="*/ 2147483647 h 989"/>
                <a:gd name="T112" fmla="*/ 2147483647 w 1000"/>
                <a:gd name="T113" fmla="*/ 2147483647 h 989"/>
                <a:gd name="T114" fmla="*/ 2147483647 w 1000"/>
                <a:gd name="T115" fmla="*/ 2147483647 h 989"/>
                <a:gd name="T116" fmla="*/ 2147483647 w 1000"/>
                <a:gd name="T117" fmla="*/ 2147483647 h 989"/>
                <a:gd name="T118" fmla="*/ 2147483647 w 1000"/>
                <a:gd name="T119" fmla="*/ 2147483647 h 989"/>
                <a:gd name="T120" fmla="*/ 2147483647 w 1000"/>
                <a:gd name="T121" fmla="*/ 2147483647 h 989"/>
                <a:gd name="T122" fmla="*/ 2147483647 w 1000"/>
                <a:gd name="T123" fmla="*/ 2147483647 h 98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00"/>
                <a:gd name="T187" fmla="*/ 0 h 989"/>
                <a:gd name="T188" fmla="*/ 1000 w 1000"/>
                <a:gd name="T189" fmla="*/ 989 h 98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00" h="989">
                  <a:moveTo>
                    <a:pt x="324" y="692"/>
                  </a:moveTo>
                  <a:lnTo>
                    <a:pt x="327" y="694"/>
                  </a:lnTo>
                  <a:lnTo>
                    <a:pt x="330" y="694"/>
                  </a:lnTo>
                  <a:lnTo>
                    <a:pt x="333" y="697"/>
                  </a:lnTo>
                  <a:lnTo>
                    <a:pt x="335" y="698"/>
                  </a:lnTo>
                  <a:lnTo>
                    <a:pt x="338" y="703"/>
                  </a:lnTo>
                  <a:lnTo>
                    <a:pt x="341" y="709"/>
                  </a:lnTo>
                  <a:lnTo>
                    <a:pt x="343" y="713"/>
                  </a:lnTo>
                  <a:lnTo>
                    <a:pt x="344" y="714"/>
                  </a:lnTo>
                  <a:lnTo>
                    <a:pt x="346" y="716"/>
                  </a:lnTo>
                  <a:lnTo>
                    <a:pt x="347" y="717"/>
                  </a:lnTo>
                  <a:lnTo>
                    <a:pt x="350" y="719"/>
                  </a:lnTo>
                  <a:lnTo>
                    <a:pt x="354" y="722"/>
                  </a:lnTo>
                  <a:lnTo>
                    <a:pt x="357" y="722"/>
                  </a:lnTo>
                  <a:lnTo>
                    <a:pt x="361" y="722"/>
                  </a:lnTo>
                  <a:lnTo>
                    <a:pt x="368" y="722"/>
                  </a:lnTo>
                  <a:lnTo>
                    <a:pt x="374" y="720"/>
                  </a:lnTo>
                  <a:lnTo>
                    <a:pt x="376" y="720"/>
                  </a:lnTo>
                  <a:lnTo>
                    <a:pt x="379" y="720"/>
                  </a:lnTo>
                  <a:lnTo>
                    <a:pt x="380" y="722"/>
                  </a:lnTo>
                  <a:lnTo>
                    <a:pt x="384" y="722"/>
                  </a:lnTo>
                  <a:lnTo>
                    <a:pt x="385" y="724"/>
                  </a:lnTo>
                  <a:lnTo>
                    <a:pt x="387" y="725"/>
                  </a:lnTo>
                  <a:lnTo>
                    <a:pt x="387" y="727"/>
                  </a:lnTo>
                  <a:lnTo>
                    <a:pt x="388" y="727"/>
                  </a:lnTo>
                  <a:lnTo>
                    <a:pt x="388" y="731"/>
                  </a:lnTo>
                  <a:lnTo>
                    <a:pt x="388" y="735"/>
                  </a:lnTo>
                  <a:lnTo>
                    <a:pt x="388" y="739"/>
                  </a:lnTo>
                  <a:lnTo>
                    <a:pt x="388" y="744"/>
                  </a:lnTo>
                  <a:lnTo>
                    <a:pt x="388" y="747"/>
                  </a:lnTo>
                  <a:lnTo>
                    <a:pt x="388" y="750"/>
                  </a:lnTo>
                  <a:lnTo>
                    <a:pt x="388" y="752"/>
                  </a:lnTo>
                  <a:lnTo>
                    <a:pt x="390" y="754"/>
                  </a:lnTo>
                  <a:lnTo>
                    <a:pt x="393" y="755"/>
                  </a:lnTo>
                  <a:lnTo>
                    <a:pt x="395" y="755"/>
                  </a:lnTo>
                  <a:lnTo>
                    <a:pt x="401" y="758"/>
                  </a:lnTo>
                  <a:lnTo>
                    <a:pt x="406" y="760"/>
                  </a:lnTo>
                  <a:lnTo>
                    <a:pt x="409" y="760"/>
                  </a:lnTo>
                  <a:lnTo>
                    <a:pt x="412" y="761"/>
                  </a:lnTo>
                  <a:lnTo>
                    <a:pt x="415" y="763"/>
                  </a:lnTo>
                  <a:lnTo>
                    <a:pt x="417" y="765"/>
                  </a:lnTo>
                  <a:lnTo>
                    <a:pt x="418" y="766"/>
                  </a:lnTo>
                  <a:lnTo>
                    <a:pt x="420" y="768"/>
                  </a:lnTo>
                  <a:lnTo>
                    <a:pt x="422" y="771"/>
                  </a:lnTo>
                  <a:lnTo>
                    <a:pt x="422" y="774"/>
                  </a:lnTo>
                  <a:lnTo>
                    <a:pt x="422" y="780"/>
                  </a:lnTo>
                  <a:lnTo>
                    <a:pt x="423" y="790"/>
                  </a:lnTo>
                  <a:lnTo>
                    <a:pt x="426" y="799"/>
                  </a:lnTo>
                  <a:lnTo>
                    <a:pt x="428" y="809"/>
                  </a:lnTo>
                  <a:lnTo>
                    <a:pt x="429" y="812"/>
                  </a:lnTo>
                  <a:lnTo>
                    <a:pt x="431" y="817"/>
                  </a:lnTo>
                  <a:lnTo>
                    <a:pt x="434" y="821"/>
                  </a:lnTo>
                  <a:lnTo>
                    <a:pt x="436" y="825"/>
                  </a:lnTo>
                  <a:lnTo>
                    <a:pt x="437" y="829"/>
                  </a:lnTo>
                  <a:lnTo>
                    <a:pt x="440" y="832"/>
                  </a:lnTo>
                  <a:lnTo>
                    <a:pt x="444" y="834"/>
                  </a:lnTo>
                  <a:lnTo>
                    <a:pt x="445" y="837"/>
                  </a:lnTo>
                  <a:lnTo>
                    <a:pt x="450" y="837"/>
                  </a:lnTo>
                  <a:lnTo>
                    <a:pt x="455" y="839"/>
                  </a:lnTo>
                  <a:lnTo>
                    <a:pt x="456" y="840"/>
                  </a:lnTo>
                  <a:lnTo>
                    <a:pt x="458" y="840"/>
                  </a:lnTo>
                  <a:lnTo>
                    <a:pt x="458" y="842"/>
                  </a:lnTo>
                  <a:lnTo>
                    <a:pt x="459" y="842"/>
                  </a:lnTo>
                  <a:lnTo>
                    <a:pt x="461" y="845"/>
                  </a:lnTo>
                  <a:lnTo>
                    <a:pt x="463" y="848"/>
                  </a:lnTo>
                  <a:lnTo>
                    <a:pt x="463" y="851"/>
                  </a:lnTo>
                  <a:lnTo>
                    <a:pt x="463" y="855"/>
                  </a:lnTo>
                  <a:lnTo>
                    <a:pt x="463" y="858"/>
                  </a:lnTo>
                  <a:lnTo>
                    <a:pt x="464" y="859"/>
                  </a:lnTo>
                  <a:lnTo>
                    <a:pt x="466" y="862"/>
                  </a:lnTo>
                  <a:lnTo>
                    <a:pt x="466" y="866"/>
                  </a:lnTo>
                  <a:lnTo>
                    <a:pt x="467" y="867"/>
                  </a:lnTo>
                  <a:lnTo>
                    <a:pt x="469" y="870"/>
                  </a:lnTo>
                  <a:lnTo>
                    <a:pt x="470" y="872"/>
                  </a:lnTo>
                  <a:lnTo>
                    <a:pt x="472" y="873"/>
                  </a:lnTo>
                  <a:lnTo>
                    <a:pt x="475" y="875"/>
                  </a:lnTo>
                  <a:lnTo>
                    <a:pt x="477" y="877"/>
                  </a:lnTo>
                  <a:lnTo>
                    <a:pt x="480" y="878"/>
                  </a:lnTo>
                  <a:lnTo>
                    <a:pt x="482" y="880"/>
                  </a:lnTo>
                  <a:lnTo>
                    <a:pt x="485" y="880"/>
                  </a:lnTo>
                  <a:lnTo>
                    <a:pt x="488" y="880"/>
                  </a:lnTo>
                  <a:lnTo>
                    <a:pt x="491" y="880"/>
                  </a:lnTo>
                  <a:lnTo>
                    <a:pt x="493" y="880"/>
                  </a:lnTo>
                  <a:lnTo>
                    <a:pt x="499" y="880"/>
                  </a:lnTo>
                  <a:lnTo>
                    <a:pt x="504" y="880"/>
                  </a:lnTo>
                  <a:lnTo>
                    <a:pt x="508" y="878"/>
                  </a:lnTo>
                  <a:lnTo>
                    <a:pt x="513" y="875"/>
                  </a:lnTo>
                  <a:lnTo>
                    <a:pt x="519" y="873"/>
                  </a:lnTo>
                  <a:lnTo>
                    <a:pt x="524" y="872"/>
                  </a:lnTo>
                  <a:lnTo>
                    <a:pt x="526" y="870"/>
                  </a:lnTo>
                  <a:lnTo>
                    <a:pt x="529" y="870"/>
                  </a:lnTo>
                  <a:lnTo>
                    <a:pt x="532" y="870"/>
                  </a:lnTo>
                  <a:lnTo>
                    <a:pt x="535" y="870"/>
                  </a:lnTo>
                  <a:lnTo>
                    <a:pt x="540" y="870"/>
                  </a:lnTo>
                  <a:lnTo>
                    <a:pt x="545" y="870"/>
                  </a:lnTo>
                  <a:lnTo>
                    <a:pt x="548" y="872"/>
                  </a:lnTo>
                  <a:lnTo>
                    <a:pt x="549" y="873"/>
                  </a:lnTo>
                  <a:lnTo>
                    <a:pt x="553" y="875"/>
                  </a:lnTo>
                  <a:lnTo>
                    <a:pt x="554" y="878"/>
                  </a:lnTo>
                  <a:lnTo>
                    <a:pt x="556" y="880"/>
                  </a:lnTo>
                  <a:lnTo>
                    <a:pt x="557" y="883"/>
                  </a:lnTo>
                  <a:lnTo>
                    <a:pt x="561" y="888"/>
                  </a:lnTo>
                  <a:lnTo>
                    <a:pt x="564" y="894"/>
                  </a:lnTo>
                  <a:lnTo>
                    <a:pt x="565" y="896"/>
                  </a:lnTo>
                  <a:lnTo>
                    <a:pt x="567" y="899"/>
                  </a:lnTo>
                  <a:lnTo>
                    <a:pt x="570" y="900"/>
                  </a:lnTo>
                  <a:lnTo>
                    <a:pt x="573" y="902"/>
                  </a:lnTo>
                  <a:lnTo>
                    <a:pt x="605" y="902"/>
                  </a:lnTo>
                  <a:lnTo>
                    <a:pt x="606" y="903"/>
                  </a:lnTo>
                  <a:lnTo>
                    <a:pt x="608" y="907"/>
                  </a:lnTo>
                  <a:lnTo>
                    <a:pt x="610" y="907"/>
                  </a:lnTo>
                  <a:lnTo>
                    <a:pt x="611" y="910"/>
                  </a:lnTo>
                  <a:lnTo>
                    <a:pt x="614" y="914"/>
                  </a:lnTo>
                  <a:lnTo>
                    <a:pt x="616" y="919"/>
                  </a:lnTo>
                  <a:lnTo>
                    <a:pt x="621" y="930"/>
                  </a:lnTo>
                  <a:lnTo>
                    <a:pt x="624" y="941"/>
                  </a:lnTo>
                  <a:lnTo>
                    <a:pt x="625" y="948"/>
                  </a:lnTo>
                  <a:lnTo>
                    <a:pt x="628" y="952"/>
                  </a:lnTo>
                  <a:lnTo>
                    <a:pt x="632" y="957"/>
                  </a:lnTo>
                  <a:lnTo>
                    <a:pt x="633" y="960"/>
                  </a:lnTo>
                  <a:lnTo>
                    <a:pt x="636" y="962"/>
                  </a:lnTo>
                  <a:lnTo>
                    <a:pt x="636" y="965"/>
                  </a:lnTo>
                  <a:lnTo>
                    <a:pt x="640" y="965"/>
                  </a:lnTo>
                  <a:lnTo>
                    <a:pt x="641" y="967"/>
                  </a:lnTo>
                  <a:lnTo>
                    <a:pt x="644" y="968"/>
                  </a:lnTo>
                  <a:lnTo>
                    <a:pt x="647" y="968"/>
                  </a:lnTo>
                  <a:lnTo>
                    <a:pt x="649" y="968"/>
                  </a:lnTo>
                  <a:lnTo>
                    <a:pt x="654" y="970"/>
                  </a:lnTo>
                  <a:lnTo>
                    <a:pt x="657" y="968"/>
                  </a:lnTo>
                  <a:lnTo>
                    <a:pt x="658" y="968"/>
                  </a:lnTo>
                  <a:lnTo>
                    <a:pt x="662" y="967"/>
                  </a:lnTo>
                  <a:lnTo>
                    <a:pt x="663" y="965"/>
                  </a:lnTo>
                  <a:lnTo>
                    <a:pt x="665" y="963"/>
                  </a:lnTo>
                  <a:lnTo>
                    <a:pt x="668" y="962"/>
                  </a:lnTo>
                  <a:lnTo>
                    <a:pt x="671" y="962"/>
                  </a:lnTo>
                  <a:lnTo>
                    <a:pt x="674" y="962"/>
                  </a:lnTo>
                  <a:lnTo>
                    <a:pt x="677" y="962"/>
                  </a:lnTo>
                  <a:lnTo>
                    <a:pt x="681" y="962"/>
                  </a:lnTo>
                  <a:lnTo>
                    <a:pt x="682" y="965"/>
                  </a:lnTo>
                  <a:lnTo>
                    <a:pt x="684" y="965"/>
                  </a:lnTo>
                  <a:lnTo>
                    <a:pt x="689" y="970"/>
                  </a:lnTo>
                  <a:lnTo>
                    <a:pt x="690" y="974"/>
                  </a:lnTo>
                  <a:lnTo>
                    <a:pt x="695" y="981"/>
                  </a:lnTo>
                  <a:lnTo>
                    <a:pt x="698" y="985"/>
                  </a:lnTo>
                  <a:lnTo>
                    <a:pt x="701" y="987"/>
                  </a:lnTo>
                  <a:lnTo>
                    <a:pt x="703" y="987"/>
                  </a:lnTo>
                  <a:lnTo>
                    <a:pt x="706" y="989"/>
                  </a:lnTo>
                  <a:lnTo>
                    <a:pt x="709" y="989"/>
                  </a:lnTo>
                  <a:lnTo>
                    <a:pt x="715" y="989"/>
                  </a:lnTo>
                  <a:lnTo>
                    <a:pt x="722" y="989"/>
                  </a:lnTo>
                  <a:lnTo>
                    <a:pt x="726" y="987"/>
                  </a:lnTo>
                  <a:lnTo>
                    <a:pt x="730" y="987"/>
                  </a:lnTo>
                  <a:lnTo>
                    <a:pt x="734" y="985"/>
                  </a:lnTo>
                  <a:lnTo>
                    <a:pt x="737" y="985"/>
                  </a:lnTo>
                  <a:lnTo>
                    <a:pt x="742" y="982"/>
                  </a:lnTo>
                  <a:lnTo>
                    <a:pt x="744" y="981"/>
                  </a:lnTo>
                  <a:lnTo>
                    <a:pt x="749" y="979"/>
                  </a:lnTo>
                  <a:lnTo>
                    <a:pt x="750" y="976"/>
                  </a:lnTo>
                  <a:lnTo>
                    <a:pt x="753" y="973"/>
                  </a:lnTo>
                  <a:lnTo>
                    <a:pt x="755" y="970"/>
                  </a:lnTo>
                  <a:lnTo>
                    <a:pt x="756" y="968"/>
                  </a:lnTo>
                  <a:lnTo>
                    <a:pt x="758" y="963"/>
                  </a:lnTo>
                  <a:lnTo>
                    <a:pt x="760" y="960"/>
                  </a:lnTo>
                  <a:lnTo>
                    <a:pt x="763" y="955"/>
                  </a:lnTo>
                  <a:lnTo>
                    <a:pt x="763" y="952"/>
                  </a:lnTo>
                  <a:lnTo>
                    <a:pt x="761" y="949"/>
                  </a:lnTo>
                  <a:lnTo>
                    <a:pt x="760" y="948"/>
                  </a:lnTo>
                  <a:lnTo>
                    <a:pt x="760" y="944"/>
                  </a:lnTo>
                  <a:lnTo>
                    <a:pt x="758" y="943"/>
                  </a:lnTo>
                  <a:lnTo>
                    <a:pt x="756" y="941"/>
                  </a:lnTo>
                  <a:lnTo>
                    <a:pt x="755" y="940"/>
                  </a:lnTo>
                  <a:lnTo>
                    <a:pt x="753" y="940"/>
                  </a:lnTo>
                  <a:lnTo>
                    <a:pt x="749" y="938"/>
                  </a:lnTo>
                  <a:lnTo>
                    <a:pt x="745" y="937"/>
                  </a:lnTo>
                  <a:lnTo>
                    <a:pt x="744" y="935"/>
                  </a:lnTo>
                  <a:lnTo>
                    <a:pt x="742" y="933"/>
                  </a:lnTo>
                  <a:lnTo>
                    <a:pt x="741" y="933"/>
                  </a:lnTo>
                  <a:lnTo>
                    <a:pt x="739" y="932"/>
                  </a:lnTo>
                  <a:lnTo>
                    <a:pt x="739" y="930"/>
                  </a:lnTo>
                  <a:lnTo>
                    <a:pt x="739" y="929"/>
                  </a:lnTo>
                  <a:lnTo>
                    <a:pt x="739" y="927"/>
                  </a:lnTo>
                  <a:lnTo>
                    <a:pt x="739" y="924"/>
                  </a:lnTo>
                  <a:lnTo>
                    <a:pt x="739" y="921"/>
                  </a:lnTo>
                  <a:lnTo>
                    <a:pt x="739" y="919"/>
                  </a:lnTo>
                  <a:lnTo>
                    <a:pt x="737" y="919"/>
                  </a:lnTo>
                  <a:lnTo>
                    <a:pt x="736" y="918"/>
                  </a:lnTo>
                  <a:lnTo>
                    <a:pt x="736" y="916"/>
                  </a:lnTo>
                  <a:lnTo>
                    <a:pt x="734" y="916"/>
                  </a:lnTo>
                  <a:lnTo>
                    <a:pt x="731" y="914"/>
                  </a:lnTo>
                  <a:lnTo>
                    <a:pt x="728" y="913"/>
                  </a:lnTo>
                  <a:lnTo>
                    <a:pt x="726" y="911"/>
                  </a:lnTo>
                  <a:lnTo>
                    <a:pt x="723" y="911"/>
                  </a:lnTo>
                  <a:lnTo>
                    <a:pt x="722" y="910"/>
                  </a:lnTo>
                  <a:lnTo>
                    <a:pt x="722" y="908"/>
                  </a:lnTo>
                  <a:lnTo>
                    <a:pt x="722" y="907"/>
                  </a:lnTo>
                  <a:lnTo>
                    <a:pt x="723" y="902"/>
                  </a:lnTo>
                  <a:lnTo>
                    <a:pt x="726" y="896"/>
                  </a:lnTo>
                  <a:lnTo>
                    <a:pt x="726" y="894"/>
                  </a:lnTo>
                  <a:lnTo>
                    <a:pt x="726" y="892"/>
                  </a:lnTo>
                  <a:lnTo>
                    <a:pt x="726" y="891"/>
                  </a:lnTo>
                  <a:lnTo>
                    <a:pt x="725" y="889"/>
                  </a:lnTo>
                  <a:lnTo>
                    <a:pt x="723" y="888"/>
                  </a:lnTo>
                  <a:lnTo>
                    <a:pt x="722" y="886"/>
                  </a:lnTo>
                  <a:lnTo>
                    <a:pt x="719" y="884"/>
                  </a:lnTo>
                  <a:lnTo>
                    <a:pt x="717" y="883"/>
                  </a:lnTo>
                  <a:lnTo>
                    <a:pt x="715" y="881"/>
                  </a:lnTo>
                  <a:lnTo>
                    <a:pt x="715" y="880"/>
                  </a:lnTo>
                  <a:lnTo>
                    <a:pt x="715" y="878"/>
                  </a:lnTo>
                  <a:lnTo>
                    <a:pt x="717" y="866"/>
                  </a:lnTo>
                  <a:lnTo>
                    <a:pt x="722" y="859"/>
                  </a:lnTo>
                  <a:lnTo>
                    <a:pt x="726" y="855"/>
                  </a:lnTo>
                  <a:lnTo>
                    <a:pt x="731" y="850"/>
                  </a:lnTo>
                  <a:lnTo>
                    <a:pt x="734" y="847"/>
                  </a:lnTo>
                  <a:lnTo>
                    <a:pt x="734" y="845"/>
                  </a:lnTo>
                  <a:lnTo>
                    <a:pt x="733" y="842"/>
                  </a:lnTo>
                  <a:lnTo>
                    <a:pt x="731" y="840"/>
                  </a:lnTo>
                  <a:lnTo>
                    <a:pt x="730" y="839"/>
                  </a:lnTo>
                  <a:lnTo>
                    <a:pt x="728" y="837"/>
                  </a:lnTo>
                  <a:lnTo>
                    <a:pt x="726" y="834"/>
                  </a:lnTo>
                  <a:lnTo>
                    <a:pt x="723" y="834"/>
                  </a:lnTo>
                  <a:lnTo>
                    <a:pt x="722" y="832"/>
                  </a:lnTo>
                  <a:lnTo>
                    <a:pt x="717" y="829"/>
                  </a:lnTo>
                  <a:lnTo>
                    <a:pt x="714" y="829"/>
                  </a:lnTo>
                  <a:lnTo>
                    <a:pt x="707" y="826"/>
                  </a:lnTo>
                  <a:lnTo>
                    <a:pt x="706" y="826"/>
                  </a:lnTo>
                  <a:lnTo>
                    <a:pt x="703" y="826"/>
                  </a:lnTo>
                  <a:lnTo>
                    <a:pt x="698" y="826"/>
                  </a:lnTo>
                  <a:lnTo>
                    <a:pt x="695" y="826"/>
                  </a:lnTo>
                  <a:lnTo>
                    <a:pt x="693" y="826"/>
                  </a:lnTo>
                  <a:lnTo>
                    <a:pt x="689" y="826"/>
                  </a:lnTo>
                  <a:lnTo>
                    <a:pt x="685" y="826"/>
                  </a:lnTo>
                  <a:lnTo>
                    <a:pt x="682" y="821"/>
                  </a:lnTo>
                  <a:lnTo>
                    <a:pt x="682" y="815"/>
                  </a:lnTo>
                  <a:lnTo>
                    <a:pt x="682" y="812"/>
                  </a:lnTo>
                  <a:lnTo>
                    <a:pt x="682" y="809"/>
                  </a:lnTo>
                  <a:lnTo>
                    <a:pt x="682" y="806"/>
                  </a:lnTo>
                  <a:lnTo>
                    <a:pt x="682" y="804"/>
                  </a:lnTo>
                  <a:lnTo>
                    <a:pt x="685" y="799"/>
                  </a:lnTo>
                  <a:lnTo>
                    <a:pt x="689" y="796"/>
                  </a:lnTo>
                  <a:lnTo>
                    <a:pt x="696" y="788"/>
                  </a:lnTo>
                  <a:lnTo>
                    <a:pt x="704" y="779"/>
                  </a:lnTo>
                  <a:lnTo>
                    <a:pt x="706" y="776"/>
                  </a:lnTo>
                  <a:lnTo>
                    <a:pt x="707" y="772"/>
                  </a:lnTo>
                  <a:lnTo>
                    <a:pt x="709" y="769"/>
                  </a:lnTo>
                  <a:lnTo>
                    <a:pt x="711" y="766"/>
                  </a:lnTo>
                  <a:lnTo>
                    <a:pt x="712" y="761"/>
                  </a:lnTo>
                  <a:lnTo>
                    <a:pt x="714" y="755"/>
                  </a:lnTo>
                  <a:lnTo>
                    <a:pt x="714" y="752"/>
                  </a:lnTo>
                  <a:lnTo>
                    <a:pt x="714" y="747"/>
                  </a:lnTo>
                  <a:lnTo>
                    <a:pt x="715" y="744"/>
                  </a:lnTo>
                  <a:lnTo>
                    <a:pt x="717" y="741"/>
                  </a:lnTo>
                  <a:lnTo>
                    <a:pt x="719" y="738"/>
                  </a:lnTo>
                  <a:lnTo>
                    <a:pt x="720" y="735"/>
                  </a:lnTo>
                  <a:lnTo>
                    <a:pt x="726" y="730"/>
                  </a:lnTo>
                  <a:lnTo>
                    <a:pt x="736" y="722"/>
                  </a:lnTo>
                  <a:lnTo>
                    <a:pt x="742" y="719"/>
                  </a:lnTo>
                  <a:lnTo>
                    <a:pt x="749" y="716"/>
                  </a:lnTo>
                  <a:lnTo>
                    <a:pt x="750" y="714"/>
                  </a:lnTo>
                  <a:lnTo>
                    <a:pt x="753" y="714"/>
                  </a:lnTo>
                  <a:lnTo>
                    <a:pt x="755" y="713"/>
                  </a:lnTo>
                  <a:lnTo>
                    <a:pt x="756" y="713"/>
                  </a:lnTo>
                  <a:lnTo>
                    <a:pt x="758" y="713"/>
                  </a:lnTo>
                  <a:lnTo>
                    <a:pt x="760" y="714"/>
                  </a:lnTo>
                  <a:lnTo>
                    <a:pt x="763" y="714"/>
                  </a:lnTo>
                  <a:lnTo>
                    <a:pt x="766" y="716"/>
                  </a:lnTo>
                  <a:lnTo>
                    <a:pt x="768" y="717"/>
                  </a:lnTo>
                  <a:lnTo>
                    <a:pt x="769" y="717"/>
                  </a:lnTo>
                  <a:lnTo>
                    <a:pt x="771" y="717"/>
                  </a:lnTo>
                  <a:lnTo>
                    <a:pt x="772" y="717"/>
                  </a:lnTo>
                  <a:lnTo>
                    <a:pt x="774" y="716"/>
                  </a:lnTo>
                  <a:lnTo>
                    <a:pt x="775" y="714"/>
                  </a:lnTo>
                  <a:lnTo>
                    <a:pt x="777" y="709"/>
                  </a:lnTo>
                  <a:lnTo>
                    <a:pt x="782" y="703"/>
                  </a:lnTo>
                  <a:lnTo>
                    <a:pt x="786" y="694"/>
                  </a:lnTo>
                  <a:lnTo>
                    <a:pt x="790" y="684"/>
                  </a:lnTo>
                  <a:lnTo>
                    <a:pt x="794" y="676"/>
                  </a:lnTo>
                  <a:lnTo>
                    <a:pt x="798" y="668"/>
                  </a:lnTo>
                  <a:lnTo>
                    <a:pt x="798" y="665"/>
                  </a:lnTo>
                  <a:lnTo>
                    <a:pt x="788" y="665"/>
                  </a:lnTo>
                  <a:lnTo>
                    <a:pt x="785" y="667"/>
                  </a:lnTo>
                  <a:lnTo>
                    <a:pt x="782" y="668"/>
                  </a:lnTo>
                  <a:lnTo>
                    <a:pt x="779" y="668"/>
                  </a:lnTo>
                  <a:lnTo>
                    <a:pt x="775" y="672"/>
                  </a:lnTo>
                  <a:lnTo>
                    <a:pt x="769" y="672"/>
                  </a:lnTo>
                  <a:lnTo>
                    <a:pt x="764" y="673"/>
                  </a:lnTo>
                  <a:lnTo>
                    <a:pt x="760" y="673"/>
                  </a:lnTo>
                  <a:lnTo>
                    <a:pt x="755" y="673"/>
                  </a:lnTo>
                  <a:lnTo>
                    <a:pt x="749" y="673"/>
                  </a:lnTo>
                  <a:lnTo>
                    <a:pt x="747" y="672"/>
                  </a:lnTo>
                  <a:lnTo>
                    <a:pt x="742" y="672"/>
                  </a:lnTo>
                  <a:lnTo>
                    <a:pt x="739" y="668"/>
                  </a:lnTo>
                  <a:lnTo>
                    <a:pt x="736" y="668"/>
                  </a:lnTo>
                  <a:lnTo>
                    <a:pt x="734" y="667"/>
                  </a:lnTo>
                  <a:lnTo>
                    <a:pt x="730" y="665"/>
                  </a:lnTo>
                  <a:lnTo>
                    <a:pt x="726" y="665"/>
                  </a:lnTo>
                  <a:lnTo>
                    <a:pt x="722" y="665"/>
                  </a:lnTo>
                  <a:lnTo>
                    <a:pt x="719" y="665"/>
                  </a:lnTo>
                  <a:lnTo>
                    <a:pt x="715" y="664"/>
                  </a:lnTo>
                  <a:lnTo>
                    <a:pt x="712" y="664"/>
                  </a:lnTo>
                  <a:lnTo>
                    <a:pt x="709" y="661"/>
                  </a:lnTo>
                  <a:lnTo>
                    <a:pt x="706" y="659"/>
                  </a:lnTo>
                  <a:lnTo>
                    <a:pt x="704" y="657"/>
                  </a:lnTo>
                  <a:lnTo>
                    <a:pt x="703" y="654"/>
                  </a:lnTo>
                  <a:lnTo>
                    <a:pt x="701" y="651"/>
                  </a:lnTo>
                  <a:lnTo>
                    <a:pt x="700" y="648"/>
                  </a:lnTo>
                  <a:lnTo>
                    <a:pt x="698" y="645"/>
                  </a:lnTo>
                  <a:lnTo>
                    <a:pt x="698" y="640"/>
                  </a:lnTo>
                  <a:lnTo>
                    <a:pt x="696" y="635"/>
                  </a:lnTo>
                  <a:lnTo>
                    <a:pt x="696" y="632"/>
                  </a:lnTo>
                  <a:lnTo>
                    <a:pt x="696" y="626"/>
                  </a:lnTo>
                  <a:lnTo>
                    <a:pt x="696" y="621"/>
                  </a:lnTo>
                  <a:lnTo>
                    <a:pt x="696" y="618"/>
                  </a:lnTo>
                  <a:lnTo>
                    <a:pt x="696" y="615"/>
                  </a:lnTo>
                  <a:lnTo>
                    <a:pt x="696" y="612"/>
                  </a:lnTo>
                  <a:lnTo>
                    <a:pt x="698" y="610"/>
                  </a:lnTo>
                  <a:lnTo>
                    <a:pt x="698" y="608"/>
                  </a:lnTo>
                  <a:lnTo>
                    <a:pt x="700" y="605"/>
                  </a:lnTo>
                  <a:lnTo>
                    <a:pt x="701" y="605"/>
                  </a:lnTo>
                  <a:lnTo>
                    <a:pt x="703" y="602"/>
                  </a:lnTo>
                  <a:lnTo>
                    <a:pt x="704" y="601"/>
                  </a:lnTo>
                  <a:lnTo>
                    <a:pt x="706" y="599"/>
                  </a:lnTo>
                  <a:lnTo>
                    <a:pt x="707" y="599"/>
                  </a:lnTo>
                  <a:lnTo>
                    <a:pt x="709" y="597"/>
                  </a:lnTo>
                  <a:lnTo>
                    <a:pt x="714" y="597"/>
                  </a:lnTo>
                  <a:lnTo>
                    <a:pt x="720" y="597"/>
                  </a:lnTo>
                  <a:lnTo>
                    <a:pt x="723" y="597"/>
                  </a:lnTo>
                  <a:lnTo>
                    <a:pt x="726" y="597"/>
                  </a:lnTo>
                  <a:lnTo>
                    <a:pt x="730" y="597"/>
                  </a:lnTo>
                  <a:lnTo>
                    <a:pt x="733" y="597"/>
                  </a:lnTo>
                  <a:lnTo>
                    <a:pt x="736" y="599"/>
                  </a:lnTo>
                  <a:lnTo>
                    <a:pt x="737" y="601"/>
                  </a:lnTo>
                  <a:lnTo>
                    <a:pt x="739" y="602"/>
                  </a:lnTo>
                  <a:lnTo>
                    <a:pt x="739" y="605"/>
                  </a:lnTo>
                  <a:lnTo>
                    <a:pt x="739" y="610"/>
                  </a:lnTo>
                  <a:lnTo>
                    <a:pt x="739" y="612"/>
                  </a:lnTo>
                  <a:lnTo>
                    <a:pt x="736" y="613"/>
                  </a:lnTo>
                  <a:lnTo>
                    <a:pt x="734" y="615"/>
                  </a:lnTo>
                  <a:lnTo>
                    <a:pt x="733" y="618"/>
                  </a:lnTo>
                  <a:lnTo>
                    <a:pt x="731" y="619"/>
                  </a:lnTo>
                  <a:lnTo>
                    <a:pt x="730" y="623"/>
                  </a:lnTo>
                  <a:lnTo>
                    <a:pt x="728" y="624"/>
                  </a:lnTo>
                  <a:lnTo>
                    <a:pt x="731" y="626"/>
                  </a:lnTo>
                  <a:lnTo>
                    <a:pt x="733" y="626"/>
                  </a:lnTo>
                  <a:lnTo>
                    <a:pt x="734" y="626"/>
                  </a:lnTo>
                  <a:lnTo>
                    <a:pt x="736" y="626"/>
                  </a:lnTo>
                  <a:lnTo>
                    <a:pt x="741" y="626"/>
                  </a:lnTo>
                  <a:lnTo>
                    <a:pt x="744" y="624"/>
                  </a:lnTo>
                  <a:lnTo>
                    <a:pt x="747" y="629"/>
                  </a:lnTo>
                  <a:lnTo>
                    <a:pt x="749" y="634"/>
                  </a:lnTo>
                  <a:lnTo>
                    <a:pt x="750" y="635"/>
                  </a:lnTo>
                  <a:lnTo>
                    <a:pt x="752" y="638"/>
                  </a:lnTo>
                  <a:lnTo>
                    <a:pt x="753" y="638"/>
                  </a:lnTo>
                  <a:lnTo>
                    <a:pt x="755" y="638"/>
                  </a:lnTo>
                  <a:lnTo>
                    <a:pt x="756" y="640"/>
                  </a:lnTo>
                  <a:lnTo>
                    <a:pt x="758" y="640"/>
                  </a:lnTo>
                  <a:lnTo>
                    <a:pt x="761" y="640"/>
                  </a:lnTo>
                  <a:lnTo>
                    <a:pt x="763" y="638"/>
                  </a:lnTo>
                  <a:lnTo>
                    <a:pt x="764" y="637"/>
                  </a:lnTo>
                  <a:lnTo>
                    <a:pt x="766" y="635"/>
                  </a:lnTo>
                  <a:lnTo>
                    <a:pt x="768" y="634"/>
                  </a:lnTo>
                  <a:lnTo>
                    <a:pt x="768" y="631"/>
                  </a:lnTo>
                  <a:lnTo>
                    <a:pt x="769" y="627"/>
                  </a:lnTo>
                  <a:lnTo>
                    <a:pt x="769" y="624"/>
                  </a:lnTo>
                  <a:lnTo>
                    <a:pt x="779" y="626"/>
                  </a:lnTo>
                  <a:lnTo>
                    <a:pt x="790" y="626"/>
                  </a:lnTo>
                  <a:lnTo>
                    <a:pt x="798" y="626"/>
                  </a:lnTo>
                  <a:lnTo>
                    <a:pt x="802" y="623"/>
                  </a:lnTo>
                  <a:lnTo>
                    <a:pt x="804" y="623"/>
                  </a:lnTo>
                  <a:lnTo>
                    <a:pt x="807" y="623"/>
                  </a:lnTo>
                  <a:lnTo>
                    <a:pt x="809" y="621"/>
                  </a:lnTo>
                  <a:lnTo>
                    <a:pt x="810" y="619"/>
                  </a:lnTo>
                  <a:lnTo>
                    <a:pt x="809" y="615"/>
                  </a:lnTo>
                  <a:lnTo>
                    <a:pt x="805" y="610"/>
                  </a:lnTo>
                  <a:lnTo>
                    <a:pt x="805" y="608"/>
                  </a:lnTo>
                  <a:lnTo>
                    <a:pt x="805" y="605"/>
                  </a:lnTo>
                  <a:lnTo>
                    <a:pt x="805" y="602"/>
                  </a:lnTo>
                  <a:lnTo>
                    <a:pt x="805" y="599"/>
                  </a:lnTo>
                  <a:lnTo>
                    <a:pt x="805" y="593"/>
                  </a:lnTo>
                  <a:lnTo>
                    <a:pt x="805" y="588"/>
                  </a:lnTo>
                  <a:lnTo>
                    <a:pt x="809" y="583"/>
                  </a:lnTo>
                  <a:lnTo>
                    <a:pt x="810" y="580"/>
                  </a:lnTo>
                  <a:lnTo>
                    <a:pt x="812" y="575"/>
                  </a:lnTo>
                  <a:lnTo>
                    <a:pt x="813" y="572"/>
                  </a:lnTo>
                  <a:lnTo>
                    <a:pt x="813" y="567"/>
                  </a:lnTo>
                  <a:lnTo>
                    <a:pt x="813" y="561"/>
                  </a:lnTo>
                  <a:lnTo>
                    <a:pt x="816" y="560"/>
                  </a:lnTo>
                  <a:lnTo>
                    <a:pt x="818" y="560"/>
                  </a:lnTo>
                  <a:lnTo>
                    <a:pt x="816" y="560"/>
                  </a:lnTo>
                  <a:lnTo>
                    <a:pt x="813" y="560"/>
                  </a:lnTo>
                  <a:lnTo>
                    <a:pt x="810" y="561"/>
                  </a:lnTo>
                  <a:lnTo>
                    <a:pt x="809" y="561"/>
                  </a:lnTo>
                  <a:lnTo>
                    <a:pt x="805" y="564"/>
                  </a:lnTo>
                  <a:lnTo>
                    <a:pt x="802" y="564"/>
                  </a:lnTo>
                  <a:lnTo>
                    <a:pt x="799" y="564"/>
                  </a:lnTo>
                  <a:lnTo>
                    <a:pt x="796" y="564"/>
                  </a:lnTo>
                  <a:lnTo>
                    <a:pt x="791" y="563"/>
                  </a:lnTo>
                  <a:lnTo>
                    <a:pt x="788" y="561"/>
                  </a:lnTo>
                  <a:lnTo>
                    <a:pt x="782" y="558"/>
                  </a:lnTo>
                  <a:lnTo>
                    <a:pt x="779" y="556"/>
                  </a:lnTo>
                  <a:lnTo>
                    <a:pt x="774" y="553"/>
                  </a:lnTo>
                  <a:lnTo>
                    <a:pt x="769" y="550"/>
                  </a:lnTo>
                  <a:lnTo>
                    <a:pt x="764" y="547"/>
                  </a:lnTo>
                  <a:lnTo>
                    <a:pt x="761" y="544"/>
                  </a:lnTo>
                  <a:lnTo>
                    <a:pt x="758" y="541"/>
                  </a:lnTo>
                  <a:lnTo>
                    <a:pt x="755" y="536"/>
                  </a:lnTo>
                  <a:lnTo>
                    <a:pt x="752" y="533"/>
                  </a:lnTo>
                  <a:lnTo>
                    <a:pt x="750" y="530"/>
                  </a:lnTo>
                  <a:lnTo>
                    <a:pt x="749" y="526"/>
                  </a:lnTo>
                  <a:lnTo>
                    <a:pt x="749" y="523"/>
                  </a:lnTo>
                  <a:lnTo>
                    <a:pt x="747" y="525"/>
                  </a:lnTo>
                  <a:lnTo>
                    <a:pt x="747" y="526"/>
                  </a:lnTo>
                  <a:lnTo>
                    <a:pt x="747" y="523"/>
                  </a:lnTo>
                  <a:lnTo>
                    <a:pt x="747" y="520"/>
                  </a:lnTo>
                  <a:lnTo>
                    <a:pt x="749" y="519"/>
                  </a:lnTo>
                  <a:lnTo>
                    <a:pt x="749" y="515"/>
                  </a:lnTo>
                  <a:lnTo>
                    <a:pt x="749" y="512"/>
                  </a:lnTo>
                  <a:lnTo>
                    <a:pt x="752" y="504"/>
                  </a:lnTo>
                  <a:lnTo>
                    <a:pt x="755" y="498"/>
                  </a:lnTo>
                  <a:lnTo>
                    <a:pt x="758" y="495"/>
                  </a:lnTo>
                  <a:lnTo>
                    <a:pt x="760" y="492"/>
                  </a:lnTo>
                  <a:lnTo>
                    <a:pt x="763" y="490"/>
                  </a:lnTo>
                  <a:lnTo>
                    <a:pt x="764" y="487"/>
                  </a:lnTo>
                  <a:lnTo>
                    <a:pt x="768" y="484"/>
                  </a:lnTo>
                  <a:lnTo>
                    <a:pt x="769" y="482"/>
                  </a:lnTo>
                  <a:lnTo>
                    <a:pt x="772" y="482"/>
                  </a:lnTo>
                  <a:lnTo>
                    <a:pt x="774" y="481"/>
                  </a:lnTo>
                  <a:lnTo>
                    <a:pt x="777" y="479"/>
                  </a:lnTo>
                  <a:lnTo>
                    <a:pt x="780" y="481"/>
                  </a:lnTo>
                  <a:lnTo>
                    <a:pt x="782" y="481"/>
                  </a:lnTo>
                  <a:lnTo>
                    <a:pt x="785" y="482"/>
                  </a:lnTo>
                  <a:lnTo>
                    <a:pt x="788" y="482"/>
                  </a:lnTo>
                  <a:lnTo>
                    <a:pt x="790" y="482"/>
                  </a:lnTo>
                  <a:lnTo>
                    <a:pt x="793" y="481"/>
                  </a:lnTo>
                  <a:lnTo>
                    <a:pt x="794" y="479"/>
                  </a:lnTo>
                  <a:lnTo>
                    <a:pt x="799" y="470"/>
                  </a:lnTo>
                  <a:lnTo>
                    <a:pt x="805" y="460"/>
                  </a:lnTo>
                  <a:lnTo>
                    <a:pt x="805" y="459"/>
                  </a:lnTo>
                  <a:lnTo>
                    <a:pt x="809" y="457"/>
                  </a:lnTo>
                  <a:lnTo>
                    <a:pt x="810" y="454"/>
                  </a:lnTo>
                  <a:lnTo>
                    <a:pt x="812" y="452"/>
                  </a:lnTo>
                  <a:lnTo>
                    <a:pt x="813" y="451"/>
                  </a:lnTo>
                  <a:lnTo>
                    <a:pt x="816" y="449"/>
                  </a:lnTo>
                  <a:lnTo>
                    <a:pt x="820" y="449"/>
                  </a:lnTo>
                  <a:lnTo>
                    <a:pt x="823" y="449"/>
                  </a:lnTo>
                  <a:lnTo>
                    <a:pt x="828" y="449"/>
                  </a:lnTo>
                  <a:lnTo>
                    <a:pt x="832" y="451"/>
                  </a:lnTo>
                  <a:lnTo>
                    <a:pt x="837" y="451"/>
                  </a:lnTo>
                  <a:lnTo>
                    <a:pt x="839" y="452"/>
                  </a:lnTo>
                  <a:lnTo>
                    <a:pt x="842" y="452"/>
                  </a:lnTo>
                  <a:lnTo>
                    <a:pt x="843" y="451"/>
                  </a:lnTo>
                  <a:lnTo>
                    <a:pt x="847" y="449"/>
                  </a:lnTo>
                  <a:lnTo>
                    <a:pt x="847" y="448"/>
                  </a:lnTo>
                  <a:lnTo>
                    <a:pt x="850" y="443"/>
                  </a:lnTo>
                  <a:lnTo>
                    <a:pt x="850" y="438"/>
                  </a:lnTo>
                  <a:lnTo>
                    <a:pt x="850" y="435"/>
                  </a:lnTo>
                  <a:lnTo>
                    <a:pt x="851" y="432"/>
                  </a:lnTo>
                  <a:lnTo>
                    <a:pt x="851" y="429"/>
                  </a:lnTo>
                  <a:lnTo>
                    <a:pt x="853" y="429"/>
                  </a:lnTo>
                  <a:lnTo>
                    <a:pt x="854" y="425"/>
                  </a:lnTo>
                  <a:lnTo>
                    <a:pt x="856" y="424"/>
                  </a:lnTo>
                  <a:lnTo>
                    <a:pt x="859" y="424"/>
                  </a:lnTo>
                  <a:lnTo>
                    <a:pt x="864" y="422"/>
                  </a:lnTo>
                  <a:lnTo>
                    <a:pt x="870" y="422"/>
                  </a:lnTo>
                  <a:lnTo>
                    <a:pt x="875" y="421"/>
                  </a:lnTo>
                  <a:lnTo>
                    <a:pt x="878" y="421"/>
                  </a:lnTo>
                  <a:lnTo>
                    <a:pt x="881" y="419"/>
                  </a:lnTo>
                  <a:lnTo>
                    <a:pt x="884" y="418"/>
                  </a:lnTo>
                  <a:lnTo>
                    <a:pt x="888" y="416"/>
                  </a:lnTo>
                  <a:lnTo>
                    <a:pt x="891" y="414"/>
                  </a:lnTo>
                  <a:lnTo>
                    <a:pt x="892" y="413"/>
                  </a:lnTo>
                  <a:lnTo>
                    <a:pt x="894" y="410"/>
                  </a:lnTo>
                  <a:lnTo>
                    <a:pt x="895" y="408"/>
                  </a:lnTo>
                  <a:lnTo>
                    <a:pt x="897" y="405"/>
                  </a:lnTo>
                  <a:lnTo>
                    <a:pt x="899" y="403"/>
                  </a:lnTo>
                  <a:lnTo>
                    <a:pt x="899" y="400"/>
                  </a:lnTo>
                  <a:lnTo>
                    <a:pt x="899" y="397"/>
                  </a:lnTo>
                  <a:lnTo>
                    <a:pt x="899" y="394"/>
                  </a:lnTo>
                  <a:lnTo>
                    <a:pt x="897" y="392"/>
                  </a:lnTo>
                  <a:lnTo>
                    <a:pt x="897" y="389"/>
                  </a:lnTo>
                  <a:lnTo>
                    <a:pt x="895" y="388"/>
                  </a:lnTo>
                  <a:lnTo>
                    <a:pt x="894" y="386"/>
                  </a:lnTo>
                  <a:lnTo>
                    <a:pt x="892" y="384"/>
                  </a:lnTo>
                  <a:lnTo>
                    <a:pt x="892" y="381"/>
                  </a:lnTo>
                  <a:lnTo>
                    <a:pt x="892" y="380"/>
                  </a:lnTo>
                  <a:lnTo>
                    <a:pt x="892" y="378"/>
                  </a:lnTo>
                  <a:lnTo>
                    <a:pt x="892" y="377"/>
                  </a:lnTo>
                  <a:lnTo>
                    <a:pt x="892" y="375"/>
                  </a:lnTo>
                  <a:lnTo>
                    <a:pt x="894" y="373"/>
                  </a:lnTo>
                  <a:lnTo>
                    <a:pt x="895" y="370"/>
                  </a:lnTo>
                  <a:lnTo>
                    <a:pt x="897" y="369"/>
                  </a:lnTo>
                  <a:lnTo>
                    <a:pt x="900" y="366"/>
                  </a:lnTo>
                  <a:lnTo>
                    <a:pt x="902" y="364"/>
                  </a:lnTo>
                  <a:lnTo>
                    <a:pt x="903" y="362"/>
                  </a:lnTo>
                  <a:lnTo>
                    <a:pt x="903" y="361"/>
                  </a:lnTo>
                  <a:lnTo>
                    <a:pt x="903" y="359"/>
                  </a:lnTo>
                  <a:lnTo>
                    <a:pt x="903" y="356"/>
                  </a:lnTo>
                  <a:lnTo>
                    <a:pt x="903" y="355"/>
                  </a:lnTo>
                  <a:lnTo>
                    <a:pt x="903" y="353"/>
                  </a:lnTo>
                  <a:lnTo>
                    <a:pt x="903" y="351"/>
                  </a:lnTo>
                  <a:lnTo>
                    <a:pt x="902" y="350"/>
                  </a:lnTo>
                  <a:lnTo>
                    <a:pt x="900" y="347"/>
                  </a:lnTo>
                  <a:lnTo>
                    <a:pt x="897" y="343"/>
                  </a:lnTo>
                  <a:lnTo>
                    <a:pt x="895" y="339"/>
                  </a:lnTo>
                  <a:lnTo>
                    <a:pt x="894" y="334"/>
                  </a:lnTo>
                  <a:lnTo>
                    <a:pt x="892" y="332"/>
                  </a:lnTo>
                  <a:lnTo>
                    <a:pt x="892" y="329"/>
                  </a:lnTo>
                  <a:lnTo>
                    <a:pt x="892" y="326"/>
                  </a:lnTo>
                  <a:lnTo>
                    <a:pt x="892" y="323"/>
                  </a:lnTo>
                  <a:lnTo>
                    <a:pt x="892" y="321"/>
                  </a:lnTo>
                  <a:lnTo>
                    <a:pt x="892" y="317"/>
                  </a:lnTo>
                  <a:lnTo>
                    <a:pt x="895" y="315"/>
                  </a:lnTo>
                  <a:lnTo>
                    <a:pt x="897" y="313"/>
                  </a:lnTo>
                  <a:lnTo>
                    <a:pt x="899" y="310"/>
                  </a:lnTo>
                  <a:lnTo>
                    <a:pt x="902" y="310"/>
                  </a:lnTo>
                  <a:lnTo>
                    <a:pt x="905" y="309"/>
                  </a:lnTo>
                  <a:lnTo>
                    <a:pt x="908" y="307"/>
                  </a:lnTo>
                  <a:lnTo>
                    <a:pt x="913" y="306"/>
                  </a:lnTo>
                  <a:lnTo>
                    <a:pt x="921" y="302"/>
                  </a:lnTo>
                  <a:lnTo>
                    <a:pt x="924" y="302"/>
                  </a:lnTo>
                  <a:lnTo>
                    <a:pt x="926" y="302"/>
                  </a:lnTo>
                  <a:lnTo>
                    <a:pt x="929" y="301"/>
                  </a:lnTo>
                  <a:lnTo>
                    <a:pt x="930" y="299"/>
                  </a:lnTo>
                  <a:lnTo>
                    <a:pt x="937" y="296"/>
                  </a:lnTo>
                  <a:lnTo>
                    <a:pt x="941" y="290"/>
                  </a:lnTo>
                  <a:lnTo>
                    <a:pt x="944" y="285"/>
                  </a:lnTo>
                  <a:lnTo>
                    <a:pt x="949" y="280"/>
                  </a:lnTo>
                  <a:lnTo>
                    <a:pt x="956" y="268"/>
                  </a:lnTo>
                  <a:lnTo>
                    <a:pt x="962" y="255"/>
                  </a:lnTo>
                  <a:lnTo>
                    <a:pt x="967" y="247"/>
                  </a:lnTo>
                  <a:lnTo>
                    <a:pt x="971" y="239"/>
                  </a:lnTo>
                  <a:lnTo>
                    <a:pt x="974" y="230"/>
                  </a:lnTo>
                  <a:lnTo>
                    <a:pt x="979" y="222"/>
                  </a:lnTo>
                  <a:lnTo>
                    <a:pt x="984" y="213"/>
                  </a:lnTo>
                  <a:lnTo>
                    <a:pt x="989" y="203"/>
                  </a:lnTo>
                  <a:lnTo>
                    <a:pt x="992" y="195"/>
                  </a:lnTo>
                  <a:lnTo>
                    <a:pt x="997" y="186"/>
                  </a:lnTo>
                  <a:lnTo>
                    <a:pt x="1000" y="181"/>
                  </a:lnTo>
                  <a:lnTo>
                    <a:pt x="995" y="183"/>
                  </a:lnTo>
                  <a:lnTo>
                    <a:pt x="990" y="183"/>
                  </a:lnTo>
                  <a:lnTo>
                    <a:pt x="986" y="184"/>
                  </a:lnTo>
                  <a:lnTo>
                    <a:pt x="981" y="184"/>
                  </a:lnTo>
                  <a:lnTo>
                    <a:pt x="978" y="184"/>
                  </a:lnTo>
                  <a:lnTo>
                    <a:pt x="973" y="184"/>
                  </a:lnTo>
                  <a:lnTo>
                    <a:pt x="970" y="183"/>
                  </a:lnTo>
                  <a:lnTo>
                    <a:pt x="965" y="183"/>
                  </a:lnTo>
                  <a:lnTo>
                    <a:pt x="959" y="181"/>
                  </a:lnTo>
                  <a:lnTo>
                    <a:pt x="952" y="178"/>
                  </a:lnTo>
                  <a:lnTo>
                    <a:pt x="948" y="176"/>
                  </a:lnTo>
                  <a:lnTo>
                    <a:pt x="941" y="173"/>
                  </a:lnTo>
                  <a:lnTo>
                    <a:pt x="930" y="165"/>
                  </a:lnTo>
                  <a:lnTo>
                    <a:pt x="921" y="160"/>
                  </a:lnTo>
                  <a:lnTo>
                    <a:pt x="914" y="157"/>
                  </a:lnTo>
                  <a:lnTo>
                    <a:pt x="908" y="156"/>
                  </a:lnTo>
                  <a:lnTo>
                    <a:pt x="905" y="154"/>
                  </a:lnTo>
                  <a:lnTo>
                    <a:pt x="903" y="154"/>
                  </a:lnTo>
                  <a:lnTo>
                    <a:pt x="899" y="154"/>
                  </a:lnTo>
                  <a:lnTo>
                    <a:pt x="895" y="154"/>
                  </a:lnTo>
                  <a:lnTo>
                    <a:pt x="892" y="154"/>
                  </a:lnTo>
                  <a:lnTo>
                    <a:pt x="891" y="156"/>
                  </a:lnTo>
                  <a:lnTo>
                    <a:pt x="888" y="156"/>
                  </a:lnTo>
                  <a:lnTo>
                    <a:pt x="884" y="157"/>
                  </a:lnTo>
                  <a:lnTo>
                    <a:pt x="883" y="159"/>
                  </a:lnTo>
                  <a:lnTo>
                    <a:pt x="880" y="160"/>
                  </a:lnTo>
                  <a:lnTo>
                    <a:pt x="877" y="160"/>
                  </a:lnTo>
                  <a:lnTo>
                    <a:pt x="873" y="160"/>
                  </a:lnTo>
                  <a:lnTo>
                    <a:pt x="859" y="160"/>
                  </a:lnTo>
                  <a:lnTo>
                    <a:pt x="847" y="160"/>
                  </a:lnTo>
                  <a:lnTo>
                    <a:pt x="834" y="159"/>
                  </a:lnTo>
                  <a:lnTo>
                    <a:pt x="821" y="159"/>
                  </a:lnTo>
                  <a:lnTo>
                    <a:pt x="821" y="160"/>
                  </a:lnTo>
                  <a:lnTo>
                    <a:pt x="818" y="160"/>
                  </a:lnTo>
                  <a:lnTo>
                    <a:pt x="815" y="160"/>
                  </a:lnTo>
                  <a:lnTo>
                    <a:pt x="812" y="159"/>
                  </a:lnTo>
                  <a:lnTo>
                    <a:pt x="810" y="157"/>
                  </a:lnTo>
                  <a:lnTo>
                    <a:pt x="805" y="154"/>
                  </a:lnTo>
                  <a:lnTo>
                    <a:pt x="802" y="149"/>
                  </a:lnTo>
                  <a:lnTo>
                    <a:pt x="801" y="149"/>
                  </a:lnTo>
                  <a:lnTo>
                    <a:pt x="801" y="148"/>
                  </a:lnTo>
                  <a:lnTo>
                    <a:pt x="798" y="145"/>
                  </a:lnTo>
                  <a:lnTo>
                    <a:pt x="798" y="143"/>
                  </a:lnTo>
                  <a:lnTo>
                    <a:pt x="796" y="143"/>
                  </a:lnTo>
                  <a:lnTo>
                    <a:pt x="796" y="142"/>
                  </a:lnTo>
                  <a:lnTo>
                    <a:pt x="793" y="142"/>
                  </a:lnTo>
                  <a:lnTo>
                    <a:pt x="791" y="140"/>
                  </a:lnTo>
                  <a:lnTo>
                    <a:pt x="790" y="140"/>
                  </a:lnTo>
                  <a:lnTo>
                    <a:pt x="788" y="140"/>
                  </a:lnTo>
                  <a:lnTo>
                    <a:pt x="786" y="140"/>
                  </a:lnTo>
                  <a:lnTo>
                    <a:pt x="785" y="140"/>
                  </a:lnTo>
                  <a:lnTo>
                    <a:pt x="782" y="140"/>
                  </a:lnTo>
                  <a:lnTo>
                    <a:pt x="780" y="140"/>
                  </a:lnTo>
                  <a:lnTo>
                    <a:pt x="780" y="138"/>
                  </a:lnTo>
                  <a:lnTo>
                    <a:pt x="779" y="137"/>
                  </a:lnTo>
                  <a:lnTo>
                    <a:pt x="779" y="135"/>
                  </a:lnTo>
                  <a:lnTo>
                    <a:pt x="779" y="131"/>
                  </a:lnTo>
                  <a:lnTo>
                    <a:pt x="779" y="127"/>
                  </a:lnTo>
                  <a:lnTo>
                    <a:pt x="777" y="124"/>
                  </a:lnTo>
                  <a:lnTo>
                    <a:pt x="777" y="119"/>
                  </a:lnTo>
                  <a:lnTo>
                    <a:pt x="775" y="118"/>
                  </a:lnTo>
                  <a:lnTo>
                    <a:pt x="775" y="116"/>
                  </a:lnTo>
                  <a:lnTo>
                    <a:pt x="772" y="115"/>
                  </a:lnTo>
                  <a:lnTo>
                    <a:pt x="769" y="113"/>
                  </a:lnTo>
                  <a:lnTo>
                    <a:pt x="768" y="112"/>
                  </a:lnTo>
                  <a:lnTo>
                    <a:pt x="764" y="112"/>
                  </a:lnTo>
                  <a:lnTo>
                    <a:pt x="753" y="112"/>
                  </a:lnTo>
                  <a:lnTo>
                    <a:pt x="752" y="112"/>
                  </a:lnTo>
                  <a:lnTo>
                    <a:pt x="739" y="112"/>
                  </a:lnTo>
                  <a:lnTo>
                    <a:pt x="737" y="112"/>
                  </a:lnTo>
                  <a:lnTo>
                    <a:pt x="736" y="112"/>
                  </a:lnTo>
                  <a:lnTo>
                    <a:pt x="734" y="112"/>
                  </a:lnTo>
                  <a:lnTo>
                    <a:pt x="731" y="112"/>
                  </a:lnTo>
                  <a:lnTo>
                    <a:pt x="728" y="112"/>
                  </a:lnTo>
                  <a:lnTo>
                    <a:pt x="723" y="112"/>
                  </a:lnTo>
                  <a:lnTo>
                    <a:pt x="722" y="110"/>
                  </a:lnTo>
                  <a:lnTo>
                    <a:pt x="719" y="112"/>
                  </a:lnTo>
                  <a:lnTo>
                    <a:pt x="717" y="112"/>
                  </a:lnTo>
                  <a:lnTo>
                    <a:pt x="717" y="116"/>
                  </a:lnTo>
                  <a:lnTo>
                    <a:pt x="719" y="119"/>
                  </a:lnTo>
                  <a:lnTo>
                    <a:pt x="719" y="123"/>
                  </a:lnTo>
                  <a:lnTo>
                    <a:pt x="719" y="126"/>
                  </a:lnTo>
                  <a:lnTo>
                    <a:pt x="720" y="129"/>
                  </a:lnTo>
                  <a:lnTo>
                    <a:pt x="722" y="132"/>
                  </a:lnTo>
                  <a:lnTo>
                    <a:pt x="722" y="135"/>
                  </a:lnTo>
                  <a:lnTo>
                    <a:pt x="722" y="140"/>
                  </a:lnTo>
                  <a:lnTo>
                    <a:pt x="722" y="143"/>
                  </a:lnTo>
                  <a:lnTo>
                    <a:pt x="720" y="145"/>
                  </a:lnTo>
                  <a:lnTo>
                    <a:pt x="719" y="146"/>
                  </a:lnTo>
                  <a:lnTo>
                    <a:pt x="717" y="148"/>
                  </a:lnTo>
                  <a:lnTo>
                    <a:pt x="715" y="149"/>
                  </a:lnTo>
                  <a:lnTo>
                    <a:pt x="714" y="149"/>
                  </a:lnTo>
                  <a:lnTo>
                    <a:pt x="712" y="149"/>
                  </a:lnTo>
                  <a:lnTo>
                    <a:pt x="711" y="149"/>
                  </a:lnTo>
                  <a:lnTo>
                    <a:pt x="706" y="149"/>
                  </a:lnTo>
                  <a:lnTo>
                    <a:pt x="703" y="149"/>
                  </a:lnTo>
                  <a:lnTo>
                    <a:pt x="701" y="149"/>
                  </a:lnTo>
                  <a:lnTo>
                    <a:pt x="700" y="151"/>
                  </a:lnTo>
                  <a:lnTo>
                    <a:pt x="698" y="153"/>
                  </a:lnTo>
                  <a:lnTo>
                    <a:pt x="695" y="153"/>
                  </a:lnTo>
                  <a:lnTo>
                    <a:pt x="693" y="156"/>
                  </a:lnTo>
                  <a:lnTo>
                    <a:pt x="690" y="157"/>
                  </a:lnTo>
                  <a:lnTo>
                    <a:pt x="687" y="160"/>
                  </a:lnTo>
                  <a:lnTo>
                    <a:pt x="685" y="160"/>
                  </a:lnTo>
                  <a:lnTo>
                    <a:pt x="684" y="160"/>
                  </a:lnTo>
                  <a:lnTo>
                    <a:pt x="682" y="162"/>
                  </a:lnTo>
                  <a:lnTo>
                    <a:pt x="681" y="162"/>
                  </a:lnTo>
                  <a:lnTo>
                    <a:pt x="679" y="162"/>
                  </a:lnTo>
                  <a:lnTo>
                    <a:pt x="677" y="160"/>
                  </a:lnTo>
                  <a:lnTo>
                    <a:pt x="676" y="160"/>
                  </a:lnTo>
                  <a:lnTo>
                    <a:pt x="674" y="157"/>
                  </a:lnTo>
                  <a:lnTo>
                    <a:pt x="673" y="156"/>
                  </a:lnTo>
                  <a:lnTo>
                    <a:pt x="673" y="153"/>
                  </a:lnTo>
                  <a:lnTo>
                    <a:pt x="673" y="149"/>
                  </a:lnTo>
                  <a:lnTo>
                    <a:pt x="671" y="148"/>
                  </a:lnTo>
                  <a:lnTo>
                    <a:pt x="671" y="145"/>
                  </a:lnTo>
                  <a:lnTo>
                    <a:pt x="666" y="146"/>
                  </a:lnTo>
                  <a:lnTo>
                    <a:pt x="662" y="148"/>
                  </a:lnTo>
                  <a:lnTo>
                    <a:pt x="660" y="149"/>
                  </a:lnTo>
                  <a:lnTo>
                    <a:pt x="658" y="149"/>
                  </a:lnTo>
                  <a:lnTo>
                    <a:pt x="657" y="149"/>
                  </a:lnTo>
                  <a:lnTo>
                    <a:pt x="652" y="149"/>
                  </a:lnTo>
                  <a:lnTo>
                    <a:pt x="649" y="149"/>
                  </a:lnTo>
                  <a:lnTo>
                    <a:pt x="646" y="149"/>
                  </a:lnTo>
                  <a:lnTo>
                    <a:pt x="644" y="149"/>
                  </a:lnTo>
                  <a:lnTo>
                    <a:pt x="641" y="148"/>
                  </a:lnTo>
                  <a:lnTo>
                    <a:pt x="636" y="148"/>
                  </a:lnTo>
                  <a:lnTo>
                    <a:pt x="630" y="146"/>
                  </a:lnTo>
                  <a:lnTo>
                    <a:pt x="627" y="146"/>
                  </a:lnTo>
                  <a:lnTo>
                    <a:pt x="624" y="148"/>
                  </a:lnTo>
                  <a:lnTo>
                    <a:pt x="621" y="148"/>
                  </a:lnTo>
                  <a:lnTo>
                    <a:pt x="619" y="149"/>
                  </a:lnTo>
                  <a:lnTo>
                    <a:pt x="614" y="153"/>
                  </a:lnTo>
                  <a:lnTo>
                    <a:pt x="611" y="157"/>
                  </a:lnTo>
                  <a:lnTo>
                    <a:pt x="606" y="162"/>
                  </a:lnTo>
                  <a:lnTo>
                    <a:pt x="603" y="165"/>
                  </a:lnTo>
                  <a:lnTo>
                    <a:pt x="602" y="167"/>
                  </a:lnTo>
                  <a:lnTo>
                    <a:pt x="600" y="168"/>
                  </a:lnTo>
                  <a:lnTo>
                    <a:pt x="598" y="168"/>
                  </a:lnTo>
                  <a:lnTo>
                    <a:pt x="595" y="168"/>
                  </a:lnTo>
                  <a:lnTo>
                    <a:pt x="594" y="168"/>
                  </a:lnTo>
                  <a:lnTo>
                    <a:pt x="592" y="168"/>
                  </a:lnTo>
                  <a:lnTo>
                    <a:pt x="591" y="167"/>
                  </a:lnTo>
                  <a:lnTo>
                    <a:pt x="589" y="165"/>
                  </a:lnTo>
                  <a:lnTo>
                    <a:pt x="587" y="162"/>
                  </a:lnTo>
                  <a:lnTo>
                    <a:pt x="586" y="157"/>
                  </a:lnTo>
                  <a:lnTo>
                    <a:pt x="584" y="153"/>
                  </a:lnTo>
                  <a:lnTo>
                    <a:pt x="583" y="149"/>
                  </a:lnTo>
                  <a:lnTo>
                    <a:pt x="581" y="148"/>
                  </a:lnTo>
                  <a:lnTo>
                    <a:pt x="580" y="145"/>
                  </a:lnTo>
                  <a:lnTo>
                    <a:pt x="578" y="142"/>
                  </a:lnTo>
                  <a:lnTo>
                    <a:pt x="587" y="119"/>
                  </a:lnTo>
                  <a:lnTo>
                    <a:pt x="583" y="119"/>
                  </a:lnTo>
                  <a:lnTo>
                    <a:pt x="580" y="116"/>
                  </a:lnTo>
                  <a:lnTo>
                    <a:pt x="578" y="115"/>
                  </a:lnTo>
                  <a:lnTo>
                    <a:pt x="575" y="115"/>
                  </a:lnTo>
                  <a:lnTo>
                    <a:pt x="575" y="112"/>
                  </a:lnTo>
                  <a:lnTo>
                    <a:pt x="573" y="108"/>
                  </a:lnTo>
                  <a:lnTo>
                    <a:pt x="573" y="107"/>
                  </a:lnTo>
                  <a:lnTo>
                    <a:pt x="575" y="105"/>
                  </a:lnTo>
                  <a:lnTo>
                    <a:pt x="575" y="104"/>
                  </a:lnTo>
                  <a:lnTo>
                    <a:pt x="575" y="102"/>
                  </a:lnTo>
                  <a:lnTo>
                    <a:pt x="578" y="101"/>
                  </a:lnTo>
                  <a:lnTo>
                    <a:pt x="580" y="99"/>
                  </a:lnTo>
                  <a:lnTo>
                    <a:pt x="581" y="96"/>
                  </a:lnTo>
                  <a:lnTo>
                    <a:pt x="583" y="94"/>
                  </a:lnTo>
                  <a:lnTo>
                    <a:pt x="586" y="93"/>
                  </a:lnTo>
                  <a:lnTo>
                    <a:pt x="587" y="90"/>
                  </a:lnTo>
                  <a:lnTo>
                    <a:pt x="589" y="85"/>
                  </a:lnTo>
                  <a:lnTo>
                    <a:pt x="592" y="78"/>
                  </a:lnTo>
                  <a:lnTo>
                    <a:pt x="594" y="71"/>
                  </a:lnTo>
                  <a:lnTo>
                    <a:pt x="595" y="63"/>
                  </a:lnTo>
                  <a:lnTo>
                    <a:pt x="598" y="56"/>
                  </a:lnTo>
                  <a:lnTo>
                    <a:pt x="602" y="49"/>
                  </a:lnTo>
                  <a:lnTo>
                    <a:pt x="603" y="45"/>
                  </a:lnTo>
                  <a:lnTo>
                    <a:pt x="605" y="42"/>
                  </a:lnTo>
                  <a:lnTo>
                    <a:pt x="606" y="39"/>
                  </a:lnTo>
                  <a:lnTo>
                    <a:pt x="610" y="36"/>
                  </a:lnTo>
                  <a:lnTo>
                    <a:pt x="608" y="34"/>
                  </a:lnTo>
                  <a:lnTo>
                    <a:pt x="608" y="33"/>
                  </a:lnTo>
                  <a:lnTo>
                    <a:pt x="608" y="31"/>
                  </a:lnTo>
                  <a:lnTo>
                    <a:pt x="608" y="30"/>
                  </a:lnTo>
                  <a:lnTo>
                    <a:pt x="606" y="26"/>
                  </a:lnTo>
                  <a:lnTo>
                    <a:pt x="606" y="22"/>
                  </a:lnTo>
                  <a:lnTo>
                    <a:pt x="606" y="17"/>
                  </a:lnTo>
                  <a:lnTo>
                    <a:pt x="606" y="12"/>
                  </a:lnTo>
                  <a:lnTo>
                    <a:pt x="606" y="11"/>
                  </a:lnTo>
                  <a:lnTo>
                    <a:pt x="605" y="9"/>
                  </a:lnTo>
                  <a:lnTo>
                    <a:pt x="603" y="6"/>
                  </a:lnTo>
                  <a:lnTo>
                    <a:pt x="602" y="4"/>
                  </a:lnTo>
                  <a:lnTo>
                    <a:pt x="600" y="3"/>
                  </a:lnTo>
                  <a:lnTo>
                    <a:pt x="598" y="1"/>
                  </a:lnTo>
                  <a:lnTo>
                    <a:pt x="595" y="1"/>
                  </a:lnTo>
                  <a:lnTo>
                    <a:pt x="592" y="1"/>
                  </a:lnTo>
                  <a:lnTo>
                    <a:pt x="587" y="1"/>
                  </a:lnTo>
                  <a:lnTo>
                    <a:pt x="583" y="3"/>
                  </a:lnTo>
                  <a:lnTo>
                    <a:pt x="580" y="3"/>
                  </a:lnTo>
                  <a:lnTo>
                    <a:pt x="578" y="3"/>
                  </a:lnTo>
                  <a:lnTo>
                    <a:pt x="575" y="1"/>
                  </a:lnTo>
                  <a:lnTo>
                    <a:pt x="575" y="0"/>
                  </a:lnTo>
                  <a:lnTo>
                    <a:pt x="573" y="0"/>
                  </a:lnTo>
                  <a:lnTo>
                    <a:pt x="568" y="4"/>
                  </a:lnTo>
                  <a:lnTo>
                    <a:pt x="562" y="9"/>
                  </a:lnTo>
                  <a:lnTo>
                    <a:pt x="557" y="14"/>
                  </a:lnTo>
                  <a:lnTo>
                    <a:pt x="553" y="20"/>
                  </a:lnTo>
                  <a:lnTo>
                    <a:pt x="542" y="33"/>
                  </a:lnTo>
                  <a:lnTo>
                    <a:pt x="531" y="47"/>
                  </a:lnTo>
                  <a:lnTo>
                    <a:pt x="529" y="53"/>
                  </a:lnTo>
                  <a:lnTo>
                    <a:pt x="529" y="60"/>
                  </a:lnTo>
                  <a:lnTo>
                    <a:pt x="527" y="64"/>
                  </a:lnTo>
                  <a:lnTo>
                    <a:pt x="526" y="69"/>
                  </a:lnTo>
                  <a:lnTo>
                    <a:pt x="524" y="78"/>
                  </a:lnTo>
                  <a:lnTo>
                    <a:pt x="521" y="88"/>
                  </a:lnTo>
                  <a:lnTo>
                    <a:pt x="518" y="97"/>
                  </a:lnTo>
                  <a:lnTo>
                    <a:pt x="516" y="107"/>
                  </a:lnTo>
                  <a:lnTo>
                    <a:pt x="515" y="112"/>
                  </a:lnTo>
                  <a:lnTo>
                    <a:pt x="513" y="116"/>
                  </a:lnTo>
                  <a:lnTo>
                    <a:pt x="513" y="123"/>
                  </a:lnTo>
                  <a:lnTo>
                    <a:pt x="513" y="129"/>
                  </a:lnTo>
                  <a:lnTo>
                    <a:pt x="513" y="132"/>
                  </a:lnTo>
                  <a:lnTo>
                    <a:pt x="513" y="134"/>
                  </a:lnTo>
                  <a:lnTo>
                    <a:pt x="513" y="135"/>
                  </a:lnTo>
                  <a:lnTo>
                    <a:pt x="512" y="137"/>
                  </a:lnTo>
                  <a:lnTo>
                    <a:pt x="508" y="138"/>
                  </a:lnTo>
                  <a:lnTo>
                    <a:pt x="508" y="140"/>
                  </a:lnTo>
                  <a:lnTo>
                    <a:pt x="505" y="140"/>
                  </a:lnTo>
                  <a:lnTo>
                    <a:pt x="502" y="142"/>
                  </a:lnTo>
                  <a:lnTo>
                    <a:pt x="499" y="142"/>
                  </a:lnTo>
                  <a:lnTo>
                    <a:pt x="493" y="142"/>
                  </a:lnTo>
                  <a:lnTo>
                    <a:pt x="489" y="142"/>
                  </a:lnTo>
                  <a:lnTo>
                    <a:pt x="470" y="142"/>
                  </a:lnTo>
                  <a:lnTo>
                    <a:pt x="455" y="140"/>
                  </a:lnTo>
                  <a:lnTo>
                    <a:pt x="453" y="142"/>
                  </a:lnTo>
                  <a:lnTo>
                    <a:pt x="452" y="143"/>
                  </a:lnTo>
                  <a:lnTo>
                    <a:pt x="450" y="145"/>
                  </a:lnTo>
                  <a:lnTo>
                    <a:pt x="448" y="148"/>
                  </a:lnTo>
                  <a:lnTo>
                    <a:pt x="447" y="149"/>
                  </a:lnTo>
                  <a:lnTo>
                    <a:pt x="445" y="153"/>
                  </a:lnTo>
                  <a:lnTo>
                    <a:pt x="445" y="154"/>
                  </a:lnTo>
                  <a:lnTo>
                    <a:pt x="442" y="156"/>
                  </a:lnTo>
                  <a:lnTo>
                    <a:pt x="439" y="157"/>
                  </a:lnTo>
                  <a:lnTo>
                    <a:pt x="437" y="159"/>
                  </a:lnTo>
                  <a:lnTo>
                    <a:pt x="434" y="162"/>
                  </a:lnTo>
                  <a:lnTo>
                    <a:pt x="433" y="162"/>
                  </a:lnTo>
                  <a:lnTo>
                    <a:pt x="426" y="162"/>
                  </a:lnTo>
                  <a:lnTo>
                    <a:pt x="418" y="160"/>
                  </a:lnTo>
                  <a:lnTo>
                    <a:pt x="414" y="160"/>
                  </a:lnTo>
                  <a:lnTo>
                    <a:pt x="409" y="159"/>
                  </a:lnTo>
                  <a:lnTo>
                    <a:pt x="406" y="157"/>
                  </a:lnTo>
                  <a:lnTo>
                    <a:pt x="404" y="156"/>
                  </a:lnTo>
                  <a:lnTo>
                    <a:pt x="403" y="156"/>
                  </a:lnTo>
                  <a:lnTo>
                    <a:pt x="401" y="154"/>
                  </a:lnTo>
                  <a:lnTo>
                    <a:pt x="401" y="153"/>
                  </a:lnTo>
                  <a:lnTo>
                    <a:pt x="401" y="149"/>
                  </a:lnTo>
                  <a:lnTo>
                    <a:pt x="399" y="148"/>
                  </a:lnTo>
                  <a:lnTo>
                    <a:pt x="398" y="142"/>
                  </a:lnTo>
                  <a:lnTo>
                    <a:pt x="398" y="140"/>
                  </a:lnTo>
                  <a:lnTo>
                    <a:pt x="396" y="138"/>
                  </a:lnTo>
                  <a:lnTo>
                    <a:pt x="396" y="137"/>
                  </a:lnTo>
                  <a:lnTo>
                    <a:pt x="395" y="135"/>
                  </a:lnTo>
                  <a:lnTo>
                    <a:pt x="393" y="134"/>
                  </a:lnTo>
                  <a:lnTo>
                    <a:pt x="391" y="132"/>
                  </a:lnTo>
                  <a:lnTo>
                    <a:pt x="388" y="132"/>
                  </a:lnTo>
                  <a:lnTo>
                    <a:pt x="387" y="132"/>
                  </a:lnTo>
                  <a:lnTo>
                    <a:pt x="385" y="132"/>
                  </a:lnTo>
                  <a:lnTo>
                    <a:pt x="384" y="132"/>
                  </a:lnTo>
                  <a:lnTo>
                    <a:pt x="380" y="134"/>
                  </a:lnTo>
                  <a:lnTo>
                    <a:pt x="379" y="135"/>
                  </a:lnTo>
                  <a:lnTo>
                    <a:pt x="376" y="137"/>
                  </a:lnTo>
                  <a:lnTo>
                    <a:pt x="373" y="140"/>
                  </a:lnTo>
                  <a:lnTo>
                    <a:pt x="368" y="145"/>
                  </a:lnTo>
                  <a:lnTo>
                    <a:pt x="365" y="148"/>
                  </a:lnTo>
                  <a:lnTo>
                    <a:pt x="361" y="148"/>
                  </a:lnTo>
                  <a:lnTo>
                    <a:pt x="360" y="149"/>
                  </a:lnTo>
                  <a:lnTo>
                    <a:pt x="357" y="149"/>
                  </a:lnTo>
                  <a:lnTo>
                    <a:pt x="354" y="149"/>
                  </a:lnTo>
                  <a:lnTo>
                    <a:pt x="346" y="149"/>
                  </a:lnTo>
                  <a:lnTo>
                    <a:pt x="336" y="149"/>
                  </a:lnTo>
                  <a:lnTo>
                    <a:pt x="328" y="148"/>
                  </a:lnTo>
                  <a:lnTo>
                    <a:pt x="322" y="148"/>
                  </a:lnTo>
                  <a:lnTo>
                    <a:pt x="301" y="148"/>
                  </a:lnTo>
                  <a:lnTo>
                    <a:pt x="301" y="153"/>
                  </a:lnTo>
                  <a:lnTo>
                    <a:pt x="298" y="157"/>
                  </a:lnTo>
                  <a:lnTo>
                    <a:pt x="298" y="160"/>
                  </a:lnTo>
                  <a:lnTo>
                    <a:pt x="298" y="162"/>
                  </a:lnTo>
                  <a:lnTo>
                    <a:pt x="297" y="162"/>
                  </a:lnTo>
                  <a:lnTo>
                    <a:pt x="295" y="165"/>
                  </a:lnTo>
                  <a:lnTo>
                    <a:pt x="294" y="167"/>
                  </a:lnTo>
                  <a:lnTo>
                    <a:pt x="292" y="168"/>
                  </a:lnTo>
                  <a:lnTo>
                    <a:pt x="290" y="168"/>
                  </a:lnTo>
                  <a:lnTo>
                    <a:pt x="289" y="170"/>
                  </a:lnTo>
                  <a:lnTo>
                    <a:pt x="282" y="170"/>
                  </a:lnTo>
                  <a:lnTo>
                    <a:pt x="278" y="170"/>
                  </a:lnTo>
                  <a:lnTo>
                    <a:pt x="276" y="170"/>
                  </a:lnTo>
                  <a:lnTo>
                    <a:pt x="275" y="170"/>
                  </a:lnTo>
                  <a:lnTo>
                    <a:pt x="273" y="168"/>
                  </a:lnTo>
                  <a:lnTo>
                    <a:pt x="271" y="167"/>
                  </a:lnTo>
                  <a:lnTo>
                    <a:pt x="270" y="165"/>
                  </a:lnTo>
                  <a:lnTo>
                    <a:pt x="268" y="162"/>
                  </a:lnTo>
                  <a:lnTo>
                    <a:pt x="265" y="160"/>
                  </a:lnTo>
                  <a:lnTo>
                    <a:pt x="265" y="159"/>
                  </a:lnTo>
                  <a:lnTo>
                    <a:pt x="264" y="157"/>
                  </a:lnTo>
                  <a:lnTo>
                    <a:pt x="262" y="157"/>
                  </a:lnTo>
                  <a:lnTo>
                    <a:pt x="260" y="157"/>
                  </a:lnTo>
                  <a:lnTo>
                    <a:pt x="259" y="157"/>
                  </a:lnTo>
                  <a:lnTo>
                    <a:pt x="257" y="159"/>
                  </a:lnTo>
                  <a:lnTo>
                    <a:pt x="256" y="160"/>
                  </a:lnTo>
                  <a:lnTo>
                    <a:pt x="254" y="162"/>
                  </a:lnTo>
                  <a:lnTo>
                    <a:pt x="252" y="165"/>
                  </a:lnTo>
                  <a:lnTo>
                    <a:pt x="249" y="168"/>
                  </a:lnTo>
                  <a:lnTo>
                    <a:pt x="246" y="170"/>
                  </a:lnTo>
                  <a:lnTo>
                    <a:pt x="245" y="172"/>
                  </a:lnTo>
                  <a:lnTo>
                    <a:pt x="243" y="172"/>
                  </a:lnTo>
                  <a:lnTo>
                    <a:pt x="241" y="173"/>
                  </a:lnTo>
                  <a:lnTo>
                    <a:pt x="240" y="173"/>
                  </a:lnTo>
                  <a:lnTo>
                    <a:pt x="238" y="176"/>
                  </a:lnTo>
                  <a:lnTo>
                    <a:pt x="237" y="181"/>
                  </a:lnTo>
                  <a:lnTo>
                    <a:pt x="235" y="184"/>
                  </a:lnTo>
                  <a:lnTo>
                    <a:pt x="233" y="187"/>
                  </a:lnTo>
                  <a:lnTo>
                    <a:pt x="230" y="190"/>
                  </a:lnTo>
                  <a:lnTo>
                    <a:pt x="229" y="194"/>
                  </a:lnTo>
                  <a:lnTo>
                    <a:pt x="226" y="195"/>
                  </a:lnTo>
                  <a:lnTo>
                    <a:pt x="222" y="197"/>
                  </a:lnTo>
                  <a:lnTo>
                    <a:pt x="219" y="198"/>
                  </a:lnTo>
                  <a:lnTo>
                    <a:pt x="215" y="200"/>
                  </a:lnTo>
                  <a:lnTo>
                    <a:pt x="211" y="202"/>
                  </a:lnTo>
                  <a:lnTo>
                    <a:pt x="207" y="203"/>
                  </a:lnTo>
                  <a:lnTo>
                    <a:pt x="199" y="205"/>
                  </a:lnTo>
                  <a:lnTo>
                    <a:pt x="191" y="206"/>
                  </a:lnTo>
                  <a:lnTo>
                    <a:pt x="183" y="208"/>
                  </a:lnTo>
                  <a:lnTo>
                    <a:pt x="175" y="209"/>
                  </a:lnTo>
                  <a:lnTo>
                    <a:pt x="167" y="211"/>
                  </a:lnTo>
                  <a:lnTo>
                    <a:pt x="161" y="214"/>
                  </a:lnTo>
                  <a:lnTo>
                    <a:pt x="158" y="216"/>
                  </a:lnTo>
                  <a:lnTo>
                    <a:pt x="154" y="217"/>
                  </a:lnTo>
                  <a:lnTo>
                    <a:pt x="153" y="219"/>
                  </a:lnTo>
                  <a:lnTo>
                    <a:pt x="151" y="222"/>
                  </a:lnTo>
                  <a:lnTo>
                    <a:pt x="150" y="224"/>
                  </a:lnTo>
                  <a:lnTo>
                    <a:pt x="148" y="227"/>
                  </a:lnTo>
                  <a:lnTo>
                    <a:pt x="148" y="230"/>
                  </a:lnTo>
                  <a:lnTo>
                    <a:pt x="148" y="235"/>
                  </a:lnTo>
                  <a:lnTo>
                    <a:pt x="148" y="239"/>
                  </a:lnTo>
                  <a:lnTo>
                    <a:pt x="148" y="243"/>
                  </a:lnTo>
                  <a:lnTo>
                    <a:pt x="150" y="244"/>
                  </a:lnTo>
                  <a:lnTo>
                    <a:pt x="151" y="247"/>
                  </a:lnTo>
                  <a:lnTo>
                    <a:pt x="153" y="247"/>
                  </a:lnTo>
                  <a:lnTo>
                    <a:pt x="156" y="249"/>
                  </a:lnTo>
                  <a:lnTo>
                    <a:pt x="159" y="250"/>
                  </a:lnTo>
                  <a:lnTo>
                    <a:pt x="162" y="250"/>
                  </a:lnTo>
                  <a:lnTo>
                    <a:pt x="162" y="258"/>
                  </a:lnTo>
                  <a:lnTo>
                    <a:pt x="161" y="261"/>
                  </a:lnTo>
                  <a:lnTo>
                    <a:pt x="159" y="263"/>
                  </a:lnTo>
                  <a:lnTo>
                    <a:pt x="158" y="265"/>
                  </a:lnTo>
                  <a:lnTo>
                    <a:pt x="158" y="266"/>
                  </a:lnTo>
                  <a:lnTo>
                    <a:pt x="158" y="268"/>
                  </a:lnTo>
                  <a:lnTo>
                    <a:pt x="158" y="269"/>
                  </a:lnTo>
                  <a:lnTo>
                    <a:pt x="154" y="276"/>
                  </a:lnTo>
                  <a:lnTo>
                    <a:pt x="153" y="279"/>
                  </a:lnTo>
                  <a:lnTo>
                    <a:pt x="151" y="284"/>
                  </a:lnTo>
                  <a:lnTo>
                    <a:pt x="148" y="287"/>
                  </a:lnTo>
                  <a:lnTo>
                    <a:pt x="145" y="290"/>
                  </a:lnTo>
                  <a:lnTo>
                    <a:pt x="142" y="293"/>
                  </a:lnTo>
                  <a:lnTo>
                    <a:pt x="137" y="296"/>
                  </a:lnTo>
                  <a:lnTo>
                    <a:pt x="134" y="299"/>
                  </a:lnTo>
                  <a:lnTo>
                    <a:pt x="124" y="306"/>
                  </a:lnTo>
                  <a:lnTo>
                    <a:pt x="117" y="310"/>
                  </a:lnTo>
                  <a:lnTo>
                    <a:pt x="107" y="313"/>
                  </a:lnTo>
                  <a:lnTo>
                    <a:pt x="101" y="317"/>
                  </a:lnTo>
                  <a:lnTo>
                    <a:pt x="101" y="318"/>
                  </a:lnTo>
                  <a:lnTo>
                    <a:pt x="99" y="317"/>
                  </a:lnTo>
                  <a:lnTo>
                    <a:pt x="96" y="318"/>
                  </a:lnTo>
                  <a:lnTo>
                    <a:pt x="93" y="320"/>
                  </a:lnTo>
                  <a:lnTo>
                    <a:pt x="91" y="323"/>
                  </a:lnTo>
                  <a:lnTo>
                    <a:pt x="88" y="325"/>
                  </a:lnTo>
                  <a:lnTo>
                    <a:pt x="87" y="328"/>
                  </a:lnTo>
                  <a:lnTo>
                    <a:pt x="87" y="331"/>
                  </a:lnTo>
                  <a:lnTo>
                    <a:pt x="85" y="334"/>
                  </a:lnTo>
                  <a:lnTo>
                    <a:pt x="85" y="337"/>
                  </a:lnTo>
                  <a:lnTo>
                    <a:pt x="85" y="351"/>
                  </a:lnTo>
                  <a:lnTo>
                    <a:pt x="85" y="366"/>
                  </a:lnTo>
                  <a:lnTo>
                    <a:pt x="85" y="380"/>
                  </a:lnTo>
                  <a:lnTo>
                    <a:pt x="85" y="397"/>
                  </a:lnTo>
                  <a:lnTo>
                    <a:pt x="85" y="400"/>
                  </a:lnTo>
                  <a:lnTo>
                    <a:pt x="83" y="403"/>
                  </a:lnTo>
                  <a:lnTo>
                    <a:pt x="83" y="405"/>
                  </a:lnTo>
                  <a:lnTo>
                    <a:pt x="82" y="408"/>
                  </a:lnTo>
                  <a:lnTo>
                    <a:pt x="80" y="410"/>
                  </a:lnTo>
                  <a:lnTo>
                    <a:pt x="79" y="413"/>
                  </a:lnTo>
                  <a:lnTo>
                    <a:pt x="75" y="414"/>
                  </a:lnTo>
                  <a:lnTo>
                    <a:pt x="74" y="416"/>
                  </a:lnTo>
                  <a:lnTo>
                    <a:pt x="69" y="419"/>
                  </a:lnTo>
                  <a:lnTo>
                    <a:pt x="66" y="422"/>
                  </a:lnTo>
                  <a:lnTo>
                    <a:pt x="63" y="424"/>
                  </a:lnTo>
                  <a:lnTo>
                    <a:pt x="61" y="425"/>
                  </a:lnTo>
                  <a:lnTo>
                    <a:pt x="60" y="427"/>
                  </a:lnTo>
                  <a:lnTo>
                    <a:pt x="60" y="429"/>
                  </a:lnTo>
                  <a:lnTo>
                    <a:pt x="57" y="429"/>
                  </a:lnTo>
                  <a:lnTo>
                    <a:pt x="55" y="429"/>
                  </a:lnTo>
                  <a:lnTo>
                    <a:pt x="52" y="430"/>
                  </a:lnTo>
                  <a:lnTo>
                    <a:pt x="50" y="430"/>
                  </a:lnTo>
                  <a:lnTo>
                    <a:pt x="45" y="432"/>
                  </a:lnTo>
                  <a:lnTo>
                    <a:pt x="41" y="433"/>
                  </a:lnTo>
                  <a:lnTo>
                    <a:pt x="6" y="459"/>
                  </a:lnTo>
                  <a:lnTo>
                    <a:pt x="6" y="465"/>
                  </a:lnTo>
                  <a:lnTo>
                    <a:pt x="6" y="470"/>
                  </a:lnTo>
                  <a:lnTo>
                    <a:pt x="6" y="471"/>
                  </a:lnTo>
                  <a:lnTo>
                    <a:pt x="6" y="473"/>
                  </a:lnTo>
                  <a:lnTo>
                    <a:pt x="4" y="476"/>
                  </a:lnTo>
                  <a:lnTo>
                    <a:pt x="4" y="479"/>
                  </a:lnTo>
                  <a:lnTo>
                    <a:pt x="4" y="482"/>
                  </a:lnTo>
                  <a:lnTo>
                    <a:pt x="3" y="485"/>
                  </a:lnTo>
                  <a:lnTo>
                    <a:pt x="1" y="489"/>
                  </a:lnTo>
                  <a:lnTo>
                    <a:pt x="1" y="492"/>
                  </a:lnTo>
                  <a:lnTo>
                    <a:pt x="0" y="495"/>
                  </a:lnTo>
                  <a:lnTo>
                    <a:pt x="0" y="500"/>
                  </a:lnTo>
                  <a:lnTo>
                    <a:pt x="0" y="504"/>
                  </a:lnTo>
                  <a:lnTo>
                    <a:pt x="1" y="508"/>
                  </a:lnTo>
                  <a:lnTo>
                    <a:pt x="1" y="511"/>
                  </a:lnTo>
                  <a:lnTo>
                    <a:pt x="4" y="514"/>
                  </a:lnTo>
                  <a:lnTo>
                    <a:pt x="6" y="515"/>
                  </a:lnTo>
                  <a:lnTo>
                    <a:pt x="9" y="517"/>
                  </a:lnTo>
                  <a:lnTo>
                    <a:pt x="12" y="519"/>
                  </a:lnTo>
                  <a:lnTo>
                    <a:pt x="14" y="519"/>
                  </a:lnTo>
                  <a:lnTo>
                    <a:pt x="20" y="520"/>
                  </a:lnTo>
                  <a:lnTo>
                    <a:pt x="27" y="523"/>
                  </a:lnTo>
                  <a:lnTo>
                    <a:pt x="30" y="523"/>
                  </a:lnTo>
                  <a:lnTo>
                    <a:pt x="31" y="525"/>
                  </a:lnTo>
                  <a:lnTo>
                    <a:pt x="33" y="528"/>
                  </a:lnTo>
                  <a:lnTo>
                    <a:pt x="34" y="530"/>
                  </a:lnTo>
                  <a:lnTo>
                    <a:pt x="38" y="533"/>
                  </a:lnTo>
                  <a:lnTo>
                    <a:pt x="39" y="536"/>
                  </a:lnTo>
                  <a:lnTo>
                    <a:pt x="44" y="537"/>
                  </a:lnTo>
                  <a:lnTo>
                    <a:pt x="47" y="541"/>
                  </a:lnTo>
                  <a:lnTo>
                    <a:pt x="55" y="545"/>
                  </a:lnTo>
                  <a:lnTo>
                    <a:pt x="61" y="550"/>
                  </a:lnTo>
                  <a:lnTo>
                    <a:pt x="66" y="552"/>
                  </a:lnTo>
                  <a:lnTo>
                    <a:pt x="69" y="555"/>
                  </a:lnTo>
                  <a:lnTo>
                    <a:pt x="72" y="558"/>
                  </a:lnTo>
                  <a:lnTo>
                    <a:pt x="74" y="561"/>
                  </a:lnTo>
                  <a:lnTo>
                    <a:pt x="77" y="564"/>
                  </a:lnTo>
                  <a:lnTo>
                    <a:pt x="79" y="569"/>
                  </a:lnTo>
                  <a:lnTo>
                    <a:pt x="79" y="574"/>
                  </a:lnTo>
                  <a:lnTo>
                    <a:pt x="80" y="578"/>
                  </a:lnTo>
                  <a:lnTo>
                    <a:pt x="80" y="580"/>
                  </a:lnTo>
                  <a:lnTo>
                    <a:pt x="79" y="582"/>
                  </a:lnTo>
                  <a:lnTo>
                    <a:pt x="79" y="585"/>
                  </a:lnTo>
                  <a:lnTo>
                    <a:pt x="75" y="588"/>
                  </a:lnTo>
                  <a:lnTo>
                    <a:pt x="72" y="590"/>
                  </a:lnTo>
                  <a:lnTo>
                    <a:pt x="71" y="593"/>
                  </a:lnTo>
                  <a:lnTo>
                    <a:pt x="68" y="594"/>
                  </a:lnTo>
                  <a:lnTo>
                    <a:pt x="66" y="597"/>
                  </a:lnTo>
                  <a:lnTo>
                    <a:pt x="66" y="599"/>
                  </a:lnTo>
                  <a:lnTo>
                    <a:pt x="66" y="601"/>
                  </a:lnTo>
                  <a:lnTo>
                    <a:pt x="66" y="602"/>
                  </a:lnTo>
                  <a:lnTo>
                    <a:pt x="66" y="605"/>
                  </a:lnTo>
                  <a:lnTo>
                    <a:pt x="66" y="607"/>
                  </a:lnTo>
                  <a:lnTo>
                    <a:pt x="68" y="610"/>
                  </a:lnTo>
                  <a:lnTo>
                    <a:pt x="69" y="610"/>
                  </a:lnTo>
                  <a:lnTo>
                    <a:pt x="71" y="612"/>
                  </a:lnTo>
                  <a:lnTo>
                    <a:pt x="74" y="613"/>
                  </a:lnTo>
                  <a:lnTo>
                    <a:pt x="75" y="613"/>
                  </a:lnTo>
                  <a:lnTo>
                    <a:pt x="79" y="613"/>
                  </a:lnTo>
                  <a:lnTo>
                    <a:pt x="83" y="613"/>
                  </a:lnTo>
                  <a:lnTo>
                    <a:pt x="87" y="613"/>
                  </a:lnTo>
                  <a:lnTo>
                    <a:pt x="90" y="613"/>
                  </a:lnTo>
                  <a:lnTo>
                    <a:pt x="91" y="613"/>
                  </a:lnTo>
                  <a:lnTo>
                    <a:pt x="93" y="615"/>
                  </a:lnTo>
                  <a:lnTo>
                    <a:pt x="93" y="616"/>
                  </a:lnTo>
                  <a:lnTo>
                    <a:pt x="94" y="618"/>
                  </a:lnTo>
                  <a:lnTo>
                    <a:pt x="96" y="623"/>
                  </a:lnTo>
                  <a:lnTo>
                    <a:pt x="96" y="627"/>
                  </a:lnTo>
                  <a:lnTo>
                    <a:pt x="96" y="631"/>
                  </a:lnTo>
                  <a:lnTo>
                    <a:pt x="96" y="632"/>
                  </a:lnTo>
                  <a:lnTo>
                    <a:pt x="98" y="635"/>
                  </a:lnTo>
                  <a:lnTo>
                    <a:pt x="99" y="637"/>
                  </a:lnTo>
                  <a:lnTo>
                    <a:pt x="99" y="640"/>
                  </a:lnTo>
                  <a:lnTo>
                    <a:pt x="101" y="640"/>
                  </a:lnTo>
                  <a:lnTo>
                    <a:pt x="104" y="642"/>
                  </a:lnTo>
                  <a:lnTo>
                    <a:pt x="107" y="642"/>
                  </a:lnTo>
                  <a:lnTo>
                    <a:pt x="113" y="642"/>
                  </a:lnTo>
                  <a:lnTo>
                    <a:pt x="118" y="642"/>
                  </a:lnTo>
                  <a:lnTo>
                    <a:pt x="121" y="648"/>
                  </a:lnTo>
                  <a:lnTo>
                    <a:pt x="129" y="661"/>
                  </a:lnTo>
                  <a:lnTo>
                    <a:pt x="137" y="676"/>
                  </a:lnTo>
                  <a:lnTo>
                    <a:pt x="142" y="684"/>
                  </a:lnTo>
                  <a:lnTo>
                    <a:pt x="142" y="686"/>
                  </a:lnTo>
                  <a:lnTo>
                    <a:pt x="143" y="686"/>
                  </a:lnTo>
                  <a:lnTo>
                    <a:pt x="145" y="686"/>
                  </a:lnTo>
                  <a:lnTo>
                    <a:pt x="148" y="686"/>
                  </a:lnTo>
                  <a:lnTo>
                    <a:pt x="147" y="689"/>
                  </a:lnTo>
                  <a:lnTo>
                    <a:pt x="147" y="692"/>
                  </a:lnTo>
                  <a:lnTo>
                    <a:pt x="145" y="694"/>
                  </a:lnTo>
                  <a:lnTo>
                    <a:pt x="145" y="695"/>
                  </a:lnTo>
                  <a:lnTo>
                    <a:pt x="145" y="698"/>
                  </a:lnTo>
                  <a:lnTo>
                    <a:pt x="145" y="705"/>
                  </a:lnTo>
                  <a:lnTo>
                    <a:pt x="147" y="713"/>
                  </a:lnTo>
                  <a:lnTo>
                    <a:pt x="147" y="719"/>
                  </a:lnTo>
                  <a:lnTo>
                    <a:pt x="148" y="728"/>
                  </a:lnTo>
                  <a:lnTo>
                    <a:pt x="148" y="739"/>
                  </a:lnTo>
                  <a:lnTo>
                    <a:pt x="151" y="741"/>
                  </a:lnTo>
                  <a:lnTo>
                    <a:pt x="156" y="744"/>
                  </a:lnTo>
                  <a:lnTo>
                    <a:pt x="159" y="744"/>
                  </a:lnTo>
                  <a:lnTo>
                    <a:pt x="162" y="746"/>
                  </a:lnTo>
                  <a:lnTo>
                    <a:pt x="166" y="746"/>
                  </a:lnTo>
                  <a:lnTo>
                    <a:pt x="169" y="746"/>
                  </a:lnTo>
                  <a:lnTo>
                    <a:pt x="170" y="746"/>
                  </a:lnTo>
                  <a:lnTo>
                    <a:pt x="173" y="746"/>
                  </a:lnTo>
                  <a:lnTo>
                    <a:pt x="175" y="746"/>
                  </a:lnTo>
                  <a:lnTo>
                    <a:pt x="177" y="746"/>
                  </a:lnTo>
                  <a:lnTo>
                    <a:pt x="178" y="744"/>
                  </a:lnTo>
                  <a:lnTo>
                    <a:pt x="180" y="743"/>
                  </a:lnTo>
                  <a:lnTo>
                    <a:pt x="181" y="741"/>
                  </a:lnTo>
                  <a:lnTo>
                    <a:pt x="183" y="739"/>
                  </a:lnTo>
                  <a:lnTo>
                    <a:pt x="185" y="736"/>
                  </a:lnTo>
                  <a:lnTo>
                    <a:pt x="186" y="733"/>
                  </a:lnTo>
                  <a:lnTo>
                    <a:pt x="188" y="730"/>
                  </a:lnTo>
                  <a:lnTo>
                    <a:pt x="189" y="725"/>
                  </a:lnTo>
                  <a:lnTo>
                    <a:pt x="191" y="720"/>
                  </a:lnTo>
                  <a:lnTo>
                    <a:pt x="192" y="717"/>
                  </a:lnTo>
                  <a:lnTo>
                    <a:pt x="194" y="713"/>
                  </a:lnTo>
                  <a:lnTo>
                    <a:pt x="197" y="709"/>
                  </a:lnTo>
                  <a:lnTo>
                    <a:pt x="199" y="709"/>
                  </a:lnTo>
                  <a:lnTo>
                    <a:pt x="200" y="708"/>
                  </a:lnTo>
                  <a:lnTo>
                    <a:pt x="202" y="706"/>
                  </a:lnTo>
                  <a:lnTo>
                    <a:pt x="203" y="705"/>
                  </a:lnTo>
                  <a:lnTo>
                    <a:pt x="207" y="705"/>
                  </a:lnTo>
                  <a:lnTo>
                    <a:pt x="208" y="705"/>
                  </a:lnTo>
                  <a:lnTo>
                    <a:pt x="211" y="703"/>
                  </a:lnTo>
                  <a:lnTo>
                    <a:pt x="215" y="703"/>
                  </a:lnTo>
                  <a:lnTo>
                    <a:pt x="219" y="703"/>
                  </a:lnTo>
                  <a:lnTo>
                    <a:pt x="224" y="702"/>
                  </a:lnTo>
                  <a:lnTo>
                    <a:pt x="229" y="700"/>
                  </a:lnTo>
                  <a:lnTo>
                    <a:pt x="233" y="698"/>
                  </a:lnTo>
                  <a:lnTo>
                    <a:pt x="237" y="697"/>
                  </a:lnTo>
                  <a:lnTo>
                    <a:pt x="241" y="695"/>
                  </a:lnTo>
                  <a:lnTo>
                    <a:pt x="246" y="694"/>
                  </a:lnTo>
                  <a:lnTo>
                    <a:pt x="249" y="694"/>
                  </a:lnTo>
                  <a:lnTo>
                    <a:pt x="252" y="694"/>
                  </a:lnTo>
                  <a:lnTo>
                    <a:pt x="256" y="695"/>
                  </a:lnTo>
                  <a:lnTo>
                    <a:pt x="257" y="697"/>
                  </a:lnTo>
                  <a:lnTo>
                    <a:pt x="259" y="697"/>
                  </a:lnTo>
                  <a:lnTo>
                    <a:pt x="262" y="698"/>
                  </a:lnTo>
                  <a:lnTo>
                    <a:pt x="264" y="698"/>
                  </a:lnTo>
                  <a:lnTo>
                    <a:pt x="267" y="698"/>
                  </a:lnTo>
                  <a:lnTo>
                    <a:pt x="270" y="698"/>
                  </a:lnTo>
                  <a:lnTo>
                    <a:pt x="276" y="698"/>
                  </a:lnTo>
                  <a:lnTo>
                    <a:pt x="282" y="698"/>
                  </a:lnTo>
                  <a:lnTo>
                    <a:pt x="287" y="697"/>
                  </a:lnTo>
                  <a:lnTo>
                    <a:pt x="294" y="695"/>
                  </a:lnTo>
                  <a:lnTo>
                    <a:pt x="298" y="694"/>
                  </a:lnTo>
                  <a:lnTo>
                    <a:pt x="303" y="692"/>
                  </a:lnTo>
                  <a:lnTo>
                    <a:pt x="311" y="690"/>
                  </a:lnTo>
                  <a:lnTo>
                    <a:pt x="317" y="690"/>
                  </a:lnTo>
                  <a:lnTo>
                    <a:pt x="322" y="689"/>
                  </a:lnTo>
                  <a:lnTo>
                    <a:pt x="327" y="689"/>
                  </a:lnTo>
                  <a:lnTo>
                    <a:pt x="327" y="687"/>
                  </a:lnTo>
                  <a:lnTo>
                    <a:pt x="328" y="689"/>
                  </a:lnTo>
                  <a:lnTo>
                    <a:pt x="324" y="692"/>
                  </a:lnTo>
                  <a:close/>
                  <a:moveTo>
                    <a:pt x="327" y="687"/>
                  </a:moveTo>
                  <a:lnTo>
                    <a:pt x="328" y="686"/>
                  </a:lnTo>
                  <a:lnTo>
                    <a:pt x="328" y="687"/>
                  </a:lnTo>
                  <a:lnTo>
                    <a:pt x="328" y="689"/>
                  </a:lnTo>
                  <a:lnTo>
                    <a:pt x="327" y="687"/>
                  </a:lnTo>
                  <a:close/>
                </a:path>
              </a:pathLst>
            </a:custGeom>
            <a:solidFill>
              <a:srgbClr val="0070C0">
                <a:alpha val="10000"/>
              </a:srgbClr>
            </a:solidFill>
            <a:ln w="9525">
              <a:solidFill>
                <a:srgbClr val="FFFFFF">
                  <a:alpha val="0"/>
                </a:srgbClr>
              </a:solidFill>
              <a:round/>
              <a:headEnd/>
              <a:tailEnd/>
            </a:ln>
          </p:spPr>
          <p:txBody>
            <a:bodyPr lIns="91413" tIns="45707" rIns="91413" bIns="45707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372">
                <a:defRPr/>
              </a:pPr>
              <a:endParaRPr lang="ru-RU" sz="1700" dirty="0">
                <a:solidFill>
                  <a:srgbClr val="C7E0FB"/>
                </a:solidFill>
                <a:latin typeface="Arial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6CDEB3E1-0BBC-44B6-9769-FB70BAA2739E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 rot="389746">
              <a:off x="5397161" y="4237696"/>
              <a:ext cx="5984238" cy="2702011"/>
            </a:xfrm>
            <a:custGeom>
              <a:avLst/>
              <a:gdLst>
                <a:gd name="T0" fmla="*/ 2147483647 w 2174"/>
                <a:gd name="T1" fmla="*/ 2147483647 h 1070"/>
                <a:gd name="T2" fmla="*/ 2147483647 w 2174"/>
                <a:gd name="T3" fmla="*/ 2147483647 h 1070"/>
                <a:gd name="T4" fmla="*/ 2147483647 w 2174"/>
                <a:gd name="T5" fmla="*/ 2147483647 h 1070"/>
                <a:gd name="T6" fmla="*/ 2147483647 w 2174"/>
                <a:gd name="T7" fmla="*/ 2147483647 h 1070"/>
                <a:gd name="T8" fmla="*/ 2147483647 w 2174"/>
                <a:gd name="T9" fmla="*/ 2147483647 h 1070"/>
                <a:gd name="T10" fmla="*/ 2147483647 w 2174"/>
                <a:gd name="T11" fmla="*/ 2147483647 h 1070"/>
                <a:gd name="T12" fmla="*/ 2147483647 w 2174"/>
                <a:gd name="T13" fmla="*/ 2147483647 h 1070"/>
                <a:gd name="T14" fmla="*/ 2147483647 w 2174"/>
                <a:gd name="T15" fmla="*/ 2147483647 h 1070"/>
                <a:gd name="T16" fmla="*/ 2147483647 w 2174"/>
                <a:gd name="T17" fmla="*/ 2147483647 h 1070"/>
                <a:gd name="T18" fmla="*/ 2147483647 w 2174"/>
                <a:gd name="T19" fmla="*/ 2147483647 h 1070"/>
                <a:gd name="T20" fmla="*/ 2147483647 w 2174"/>
                <a:gd name="T21" fmla="*/ 2147483647 h 1070"/>
                <a:gd name="T22" fmla="*/ 2147483647 w 2174"/>
                <a:gd name="T23" fmla="*/ 2147483647 h 1070"/>
                <a:gd name="T24" fmla="*/ 2147483647 w 2174"/>
                <a:gd name="T25" fmla="*/ 2147483647 h 1070"/>
                <a:gd name="T26" fmla="*/ 2147483647 w 2174"/>
                <a:gd name="T27" fmla="*/ 2147483647 h 1070"/>
                <a:gd name="T28" fmla="*/ 2147483647 w 2174"/>
                <a:gd name="T29" fmla="*/ 2147483647 h 1070"/>
                <a:gd name="T30" fmla="*/ 2147483647 w 2174"/>
                <a:gd name="T31" fmla="*/ 2147483647 h 1070"/>
                <a:gd name="T32" fmla="*/ 2147483647 w 2174"/>
                <a:gd name="T33" fmla="*/ 2147483647 h 1070"/>
                <a:gd name="T34" fmla="*/ 2147483647 w 2174"/>
                <a:gd name="T35" fmla="*/ 2147483647 h 1070"/>
                <a:gd name="T36" fmla="*/ 2147483647 w 2174"/>
                <a:gd name="T37" fmla="*/ 2147483647 h 1070"/>
                <a:gd name="T38" fmla="*/ 2147483647 w 2174"/>
                <a:gd name="T39" fmla="*/ 2147483647 h 1070"/>
                <a:gd name="T40" fmla="*/ 2147483647 w 2174"/>
                <a:gd name="T41" fmla="*/ 2147483647 h 1070"/>
                <a:gd name="T42" fmla="*/ 2147483647 w 2174"/>
                <a:gd name="T43" fmla="*/ 2147483647 h 1070"/>
                <a:gd name="T44" fmla="*/ 2147483647 w 2174"/>
                <a:gd name="T45" fmla="*/ 2147483647 h 1070"/>
                <a:gd name="T46" fmla="*/ 2147483647 w 2174"/>
                <a:gd name="T47" fmla="*/ 2147483647 h 1070"/>
                <a:gd name="T48" fmla="*/ 2147483647 w 2174"/>
                <a:gd name="T49" fmla="*/ 2147483647 h 1070"/>
                <a:gd name="T50" fmla="*/ 2147483647 w 2174"/>
                <a:gd name="T51" fmla="*/ 2147483647 h 1070"/>
                <a:gd name="T52" fmla="*/ 2147483647 w 2174"/>
                <a:gd name="T53" fmla="*/ 2147483647 h 1070"/>
                <a:gd name="T54" fmla="*/ 2147483647 w 2174"/>
                <a:gd name="T55" fmla="*/ 2147483647 h 1070"/>
                <a:gd name="T56" fmla="*/ 2147483647 w 2174"/>
                <a:gd name="T57" fmla="*/ 2147483647 h 1070"/>
                <a:gd name="T58" fmla="*/ 2147483647 w 2174"/>
                <a:gd name="T59" fmla="*/ 2147483647 h 1070"/>
                <a:gd name="T60" fmla="*/ 2147483647 w 2174"/>
                <a:gd name="T61" fmla="*/ 2147483647 h 1070"/>
                <a:gd name="T62" fmla="*/ 2147483647 w 2174"/>
                <a:gd name="T63" fmla="*/ 2147483647 h 1070"/>
                <a:gd name="T64" fmla="*/ 2147483647 w 2174"/>
                <a:gd name="T65" fmla="*/ 2147483647 h 1070"/>
                <a:gd name="T66" fmla="*/ 2147483647 w 2174"/>
                <a:gd name="T67" fmla="*/ 2147483647 h 1070"/>
                <a:gd name="T68" fmla="*/ 2147483647 w 2174"/>
                <a:gd name="T69" fmla="*/ 2147483647 h 1070"/>
                <a:gd name="T70" fmla="*/ 2147483647 w 2174"/>
                <a:gd name="T71" fmla="*/ 2147483647 h 1070"/>
                <a:gd name="T72" fmla="*/ 2147483647 w 2174"/>
                <a:gd name="T73" fmla="*/ 2147483647 h 1070"/>
                <a:gd name="T74" fmla="*/ 2147483647 w 2174"/>
                <a:gd name="T75" fmla="*/ 2147483647 h 1070"/>
                <a:gd name="T76" fmla="*/ 2147483647 w 2174"/>
                <a:gd name="T77" fmla="*/ 2147483647 h 1070"/>
                <a:gd name="T78" fmla="*/ 2147483647 w 2174"/>
                <a:gd name="T79" fmla="*/ 2147483647 h 1070"/>
                <a:gd name="T80" fmla="*/ 2147483647 w 2174"/>
                <a:gd name="T81" fmla="*/ 2147483647 h 1070"/>
                <a:gd name="T82" fmla="*/ 2147483647 w 2174"/>
                <a:gd name="T83" fmla="*/ 2147483647 h 1070"/>
                <a:gd name="T84" fmla="*/ 2147483647 w 2174"/>
                <a:gd name="T85" fmla="*/ 2147483647 h 1070"/>
                <a:gd name="T86" fmla="*/ 2147483647 w 2174"/>
                <a:gd name="T87" fmla="*/ 2147483647 h 1070"/>
                <a:gd name="T88" fmla="*/ 2147483647 w 2174"/>
                <a:gd name="T89" fmla="*/ 2147483647 h 1070"/>
                <a:gd name="T90" fmla="*/ 2147483647 w 2174"/>
                <a:gd name="T91" fmla="*/ 2147483647 h 1070"/>
                <a:gd name="T92" fmla="*/ 2147483647 w 2174"/>
                <a:gd name="T93" fmla="*/ 2147483647 h 1070"/>
                <a:gd name="T94" fmla="*/ 2147483647 w 2174"/>
                <a:gd name="T95" fmla="*/ 2147483647 h 1070"/>
                <a:gd name="T96" fmla="*/ 2147483647 w 2174"/>
                <a:gd name="T97" fmla="*/ 2147483647 h 1070"/>
                <a:gd name="T98" fmla="*/ 2147483647 w 2174"/>
                <a:gd name="T99" fmla="*/ 2147483647 h 1070"/>
                <a:gd name="T100" fmla="*/ 2147483647 w 2174"/>
                <a:gd name="T101" fmla="*/ 2147483647 h 1070"/>
                <a:gd name="T102" fmla="*/ 2147483647 w 2174"/>
                <a:gd name="T103" fmla="*/ 2147483647 h 1070"/>
                <a:gd name="T104" fmla="*/ 2147483647 w 2174"/>
                <a:gd name="T105" fmla="*/ 2147483647 h 1070"/>
                <a:gd name="T106" fmla="*/ 2147483647 w 2174"/>
                <a:gd name="T107" fmla="*/ 2147483647 h 1070"/>
                <a:gd name="T108" fmla="*/ 2147483647 w 2174"/>
                <a:gd name="T109" fmla="*/ 2147483647 h 1070"/>
                <a:gd name="T110" fmla="*/ 2147483647 w 2174"/>
                <a:gd name="T111" fmla="*/ 2147483647 h 1070"/>
                <a:gd name="T112" fmla="*/ 2147483647 w 2174"/>
                <a:gd name="T113" fmla="*/ 2147483647 h 1070"/>
                <a:gd name="T114" fmla="*/ 2147483647 w 2174"/>
                <a:gd name="T115" fmla="*/ 2147483647 h 1070"/>
                <a:gd name="T116" fmla="*/ 2147483647 w 2174"/>
                <a:gd name="T117" fmla="*/ 2147483647 h 1070"/>
                <a:gd name="T118" fmla="*/ 2147483647 w 2174"/>
                <a:gd name="T119" fmla="*/ 2147483647 h 1070"/>
                <a:gd name="T120" fmla="*/ 2147483647 w 2174"/>
                <a:gd name="T121" fmla="*/ 2147483647 h 1070"/>
                <a:gd name="T122" fmla="*/ 2147483647 w 2174"/>
                <a:gd name="T123" fmla="*/ 2147483647 h 1070"/>
                <a:gd name="T124" fmla="*/ 2147483647 w 2174"/>
                <a:gd name="T125" fmla="*/ 2147483647 h 10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174"/>
                <a:gd name="T190" fmla="*/ 0 h 1070"/>
                <a:gd name="T191" fmla="*/ 2174 w 2174"/>
                <a:gd name="T192" fmla="*/ 1070 h 10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174" h="1070">
                  <a:moveTo>
                    <a:pt x="1768" y="168"/>
                  </a:moveTo>
                  <a:lnTo>
                    <a:pt x="1769" y="169"/>
                  </a:lnTo>
                  <a:lnTo>
                    <a:pt x="1771" y="171"/>
                  </a:lnTo>
                  <a:lnTo>
                    <a:pt x="1774" y="171"/>
                  </a:lnTo>
                  <a:lnTo>
                    <a:pt x="1777" y="172"/>
                  </a:lnTo>
                  <a:lnTo>
                    <a:pt x="1780" y="174"/>
                  </a:lnTo>
                  <a:lnTo>
                    <a:pt x="1783" y="175"/>
                  </a:lnTo>
                  <a:lnTo>
                    <a:pt x="1788" y="175"/>
                  </a:lnTo>
                  <a:lnTo>
                    <a:pt x="1791" y="175"/>
                  </a:lnTo>
                  <a:lnTo>
                    <a:pt x="1794" y="180"/>
                  </a:lnTo>
                  <a:lnTo>
                    <a:pt x="1796" y="186"/>
                  </a:lnTo>
                  <a:lnTo>
                    <a:pt x="1798" y="191"/>
                  </a:lnTo>
                  <a:lnTo>
                    <a:pt x="1801" y="194"/>
                  </a:lnTo>
                  <a:lnTo>
                    <a:pt x="1807" y="201"/>
                  </a:lnTo>
                  <a:lnTo>
                    <a:pt x="1815" y="209"/>
                  </a:lnTo>
                  <a:lnTo>
                    <a:pt x="1812" y="212"/>
                  </a:lnTo>
                  <a:lnTo>
                    <a:pt x="1805" y="213"/>
                  </a:lnTo>
                  <a:lnTo>
                    <a:pt x="1799" y="215"/>
                  </a:lnTo>
                  <a:lnTo>
                    <a:pt x="1794" y="216"/>
                  </a:lnTo>
                  <a:lnTo>
                    <a:pt x="1794" y="218"/>
                  </a:lnTo>
                  <a:lnTo>
                    <a:pt x="1796" y="220"/>
                  </a:lnTo>
                  <a:lnTo>
                    <a:pt x="1798" y="221"/>
                  </a:lnTo>
                  <a:lnTo>
                    <a:pt x="1799" y="221"/>
                  </a:lnTo>
                  <a:lnTo>
                    <a:pt x="1788" y="232"/>
                  </a:lnTo>
                  <a:lnTo>
                    <a:pt x="1779" y="242"/>
                  </a:lnTo>
                  <a:lnTo>
                    <a:pt x="1772" y="246"/>
                  </a:lnTo>
                  <a:lnTo>
                    <a:pt x="1769" y="251"/>
                  </a:lnTo>
                  <a:lnTo>
                    <a:pt x="1763" y="256"/>
                  </a:lnTo>
                  <a:lnTo>
                    <a:pt x="1760" y="261"/>
                  </a:lnTo>
                  <a:lnTo>
                    <a:pt x="1755" y="265"/>
                  </a:lnTo>
                  <a:lnTo>
                    <a:pt x="1752" y="273"/>
                  </a:lnTo>
                  <a:lnTo>
                    <a:pt x="1749" y="278"/>
                  </a:lnTo>
                  <a:lnTo>
                    <a:pt x="1747" y="286"/>
                  </a:lnTo>
                  <a:lnTo>
                    <a:pt x="1745" y="295"/>
                  </a:lnTo>
                  <a:lnTo>
                    <a:pt x="1742" y="305"/>
                  </a:lnTo>
                  <a:lnTo>
                    <a:pt x="1742" y="316"/>
                  </a:lnTo>
                  <a:lnTo>
                    <a:pt x="1742" y="327"/>
                  </a:lnTo>
                  <a:lnTo>
                    <a:pt x="1742" y="338"/>
                  </a:lnTo>
                  <a:lnTo>
                    <a:pt x="1742" y="347"/>
                  </a:lnTo>
                  <a:lnTo>
                    <a:pt x="1744" y="355"/>
                  </a:lnTo>
                  <a:lnTo>
                    <a:pt x="1745" y="363"/>
                  </a:lnTo>
                  <a:lnTo>
                    <a:pt x="1745" y="369"/>
                  </a:lnTo>
                  <a:lnTo>
                    <a:pt x="1749" y="377"/>
                  </a:lnTo>
                  <a:lnTo>
                    <a:pt x="1750" y="385"/>
                  </a:lnTo>
                  <a:lnTo>
                    <a:pt x="1750" y="395"/>
                  </a:lnTo>
                  <a:lnTo>
                    <a:pt x="1741" y="395"/>
                  </a:lnTo>
                  <a:lnTo>
                    <a:pt x="1731" y="390"/>
                  </a:lnTo>
                  <a:lnTo>
                    <a:pt x="1722" y="384"/>
                  </a:lnTo>
                  <a:lnTo>
                    <a:pt x="1709" y="377"/>
                  </a:lnTo>
                  <a:lnTo>
                    <a:pt x="1700" y="373"/>
                  </a:lnTo>
                  <a:lnTo>
                    <a:pt x="1695" y="368"/>
                  </a:lnTo>
                  <a:lnTo>
                    <a:pt x="1690" y="365"/>
                  </a:lnTo>
                  <a:lnTo>
                    <a:pt x="1685" y="360"/>
                  </a:lnTo>
                  <a:lnTo>
                    <a:pt x="1682" y="355"/>
                  </a:lnTo>
                  <a:lnTo>
                    <a:pt x="1679" y="350"/>
                  </a:lnTo>
                  <a:lnTo>
                    <a:pt x="1676" y="346"/>
                  </a:lnTo>
                  <a:lnTo>
                    <a:pt x="1676" y="343"/>
                  </a:lnTo>
                  <a:lnTo>
                    <a:pt x="1676" y="339"/>
                  </a:lnTo>
                  <a:lnTo>
                    <a:pt x="1676" y="338"/>
                  </a:lnTo>
                  <a:lnTo>
                    <a:pt x="1674" y="335"/>
                  </a:lnTo>
                  <a:lnTo>
                    <a:pt x="1676" y="333"/>
                  </a:lnTo>
                  <a:lnTo>
                    <a:pt x="1676" y="332"/>
                  </a:lnTo>
                  <a:lnTo>
                    <a:pt x="1676" y="328"/>
                  </a:lnTo>
                  <a:lnTo>
                    <a:pt x="1679" y="325"/>
                  </a:lnTo>
                  <a:lnTo>
                    <a:pt x="1682" y="324"/>
                  </a:lnTo>
                  <a:lnTo>
                    <a:pt x="1685" y="322"/>
                  </a:lnTo>
                  <a:lnTo>
                    <a:pt x="1687" y="319"/>
                  </a:lnTo>
                  <a:lnTo>
                    <a:pt x="1689" y="317"/>
                  </a:lnTo>
                  <a:lnTo>
                    <a:pt x="1689" y="316"/>
                  </a:lnTo>
                  <a:lnTo>
                    <a:pt x="1689" y="314"/>
                  </a:lnTo>
                  <a:lnTo>
                    <a:pt x="1689" y="311"/>
                  </a:lnTo>
                  <a:lnTo>
                    <a:pt x="1689" y="308"/>
                  </a:lnTo>
                  <a:lnTo>
                    <a:pt x="1689" y="305"/>
                  </a:lnTo>
                  <a:lnTo>
                    <a:pt x="1689" y="303"/>
                  </a:lnTo>
                  <a:lnTo>
                    <a:pt x="1689" y="302"/>
                  </a:lnTo>
                  <a:lnTo>
                    <a:pt x="1689" y="300"/>
                  </a:lnTo>
                  <a:lnTo>
                    <a:pt x="1689" y="298"/>
                  </a:lnTo>
                  <a:lnTo>
                    <a:pt x="1689" y="295"/>
                  </a:lnTo>
                  <a:lnTo>
                    <a:pt x="1689" y="289"/>
                  </a:lnTo>
                  <a:lnTo>
                    <a:pt x="1685" y="287"/>
                  </a:lnTo>
                  <a:lnTo>
                    <a:pt x="1681" y="286"/>
                  </a:lnTo>
                  <a:lnTo>
                    <a:pt x="1674" y="283"/>
                  </a:lnTo>
                  <a:lnTo>
                    <a:pt x="1668" y="279"/>
                  </a:lnTo>
                  <a:lnTo>
                    <a:pt x="1666" y="278"/>
                  </a:lnTo>
                  <a:lnTo>
                    <a:pt x="1663" y="275"/>
                  </a:lnTo>
                  <a:lnTo>
                    <a:pt x="1662" y="273"/>
                  </a:lnTo>
                  <a:lnTo>
                    <a:pt x="1659" y="270"/>
                  </a:lnTo>
                  <a:lnTo>
                    <a:pt x="1657" y="267"/>
                  </a:lnTo>
                  <a:lnTo>
                    <a:pt x="1655" y="262"/>
                  </a:lnTo>
                  <a:lnTo>
                    <a:pt x="1654" y="261"/>
                  </a:lnTo>
                  <a:lnTo>
                    <a:pt x="1654" y="256"/>
                  </a:lnTo>
                  <a:lnTo>
                    <a:pt x="1654" y="250"/>
                  </a:lnTo>
                  <a:lnTo>
                    <a:pt x="1655" y="245"/>
                  </a:lnTo>
                  <a:lnTo>
                    <a:pt x="1657" y="238"/>
                  </a:lnTo>
                  <a:lnTo>
                    <a:pt x="1660" y="234"/>
                  </a:lnTo>
                  <a:lnTo>
                    <a:pt x="1662" y="232"/>
                  </a:lnTo>
                  <a:lnTo>
                    <a:pt x="1663" y="229"/>
                  </a:lnTo>
                  <a:lnTo>
                    <a:pt x="1665" y="227"/>
                  </a:lnTo>
                  <a:lnTo>
                    <a:pt x="1666" y="226"/>
                  </a:lnTo>
                  <a:lnTo>
                    <a:pt x="1668" y="224"/>
                  </a:lnTo>
                  <a:lnTo>
                    <a:pt x="1671" y="223"/>
                  </a:lnTo>
                  <a:lnTo>
                    <a:pt x="1674" y="223"/>
                  </a:lnTo>
                  <a:lnTo>
                    <a:pt x="1676" y="221"/>
                  </a:lnTo>
                  <a:lnTo>
                    <a:pt x="1679" y="223"/>
                  </a:lnTo>
                  <a:lnTo>
                    <a:pt x="1681" y="224"/>
                  </a:lnTo>
                  <a:lnTo>
                    <a:pt x="1682" y="226"/>
                  </a:lnTo>
                  <a:lnTo>
                    <a:pt x="1684" y="227"/>
                  </a:lnTo>
                  <a:lnTo>
                    <a:pt x="1685" y="229"/>
                  </a:lnTo>
                  <a:lnTo>
                    <a:pt x="1687" y="232"/>
                  </a:lnTo>
                  <a:lnTo>
                    <a:pt x="1689" y="232"/>
                  </a:lnTo>
                  <a:lnTo>
                    <a:pt x="1690" y="234"/>
                  </a:lnTo>
                  <a:lnTo>
                    <a:pt x="1692" y="234"/>
                  </a:lnTo>
                  <a:lnTo>
                    <a:pt x="1695" y="234"/>
                  </a:lnTo>
                  <a:lnTo>
                    <a:pt x="1695" y="232"/>
                  </a:lnTo>
                  <a:lnTo>
                    <a:pt x="1696" y="232"/>
                  </a:lnTo>
                  <a:lnTo>
                    <a:pt x="1700" y="229"/>
                  </a:lnTo>
                  <a:lnTo>
                    <a:pt x="1700" y="227"/>
                  </a:lnTo>
                  <a:lnTo>
                    <a:pt x="1701" y="224"/>
                  </a:lnTo>
                  <a:lnTo>
                    <a:pt x="1703" y="221"/>
                  </a:lnTo>
                  <a:lnTo>
                    <a:pt x="1703" y="218"/>
                  </a:lnTo>
                  <a:lnTo>
                    <a:pt x="1704" y="215"/>
                  </a:lnTo>
                  <a:lnTo>
                    <a:pt x="1706" y="213"/>
                  </a:lnTo>
                  <a:lnTo>
                    <a:pt x="1708" y="212"/>
                  </a:lnTo>
                  <a:lnTo>
                    <a:pt x="1709" y="212"/>
                  </a:lnTo>
                  <a:lnTo>
                    <a:pt x="1712" y="210"/>
                  </a:lnTo>
                  <a:lnTo>
                    <a:pt x="1715" y="209"/>
                  </a:lnTo>
                  <a:lnTo>
                    <a:pt x="1722" y="207"/>
                  </a:lnTo>
                  <a:lnTo>
                    <a:pt x="1726" y="207"/>
                  </a:lnTo>
                  <a:lnTo>
                    <a:pt x="1723" y="204"/>
                  </a:lnTo>
                  <a:lnTo>
                    <a:pt x="1720" y="199"/>
                  </a:lnTo>
                  <a:lnTo>
                    <a:pt x="1717" y="196"/>
                  </a:lnTo>
                  <a:lnTo>
                    <a:pt x="1714" y="191"/>
                  </a:lnTo>
                  <a:lnTo>
                    <a:pt x="1714" y="180"/>
                  </a:lnTo>
                  <a:lnTo>
                    <a:pt x="1726" y="180"/>
                  </a:lnTo>
                  <a:lnTo>
                    <a:pt x="1730" y="182"/>
                  </a:lnTo>
                  <a:lnTo>
                    <a:pt x="1731" y="182"/>
                  </a:lnTo>
                  <a:lnTo>
                    <a:pt x="1734" y="183"/>
                  </a:lnTo>
                  <a:lnTo>
                    <a:pt x="1736" y="183"/>
                  </a:lnTo>
                  <a:lnTo>
                    <a:pt x="1741" y="186"/>
                  </a:lnTo>
                  <a:lnTo>
                    <a:pt x="1745" y="188"/>
                  </a:lnTo>
                  <a:lnTo>
                    <a:pt x="1749" y="183"/>
                  </a:lnTo>
                  <a:lnTo>
                    <a:pt x="1750" y="175"/>
                  </a:lnTo>
                  <a:lnTo>
                    <a:pt x="1752" y="171"/>
                  </a:lnTo>
                  <a:lnTo>
                    <a:pt x="1755" y="163"/>
                  </a:lnTo>
                  <a:lnTo>
                    <a:pt x="1758" y="164"/>
                  </a:lnTo>
                  <a:lnTo>
                    <a:pt x="1761" y="166"/>
                  </a:lnTo>
                  <a:lnTo>
                    <a:pt x="1763" y="166"/>
                  </a:lnTo>
                  <a:lnTo>
                    <a:pt x="1768" y="168"/>
                  </a:lnTo>
                  <a:close/>
                  <a:moveTo>
                    <a:pt x="2134" y="2"/>
                  </a:moveTo>
                  <a:lnTo>
                    <a:pt x="2136" y="0"/>
                  </a:lnTo>
                  <a:lnTo>
                    <a:pt x="2137" y="0"/>
                  </a:lnTo>
                  <a:lnTo>
                    <a:pt x="2139" y="0"/>
                  </a:lnTo>
                  <a:lnTo>
                    <a:pt x="2140" y="0"/>
                  </a:lnTo>
                  <a:lnTo>
                    <a:pt x="2144" y="0"/>
                  </a:lnTo>
                  <a:lnTo>
                    <a:pt x="2147" y="0"/>
                  </a:lnTo>
                  <a:lnTo>
                    <a:pt x="2150" y="2"/>
                  </a:lnTo>
                  <a:lnTo>
                    <a:pt x="2153" y="2"/>
                  </a:lnTo>
                  <a:lnTo>
                    <a:pt x="2158" y="3"/>
                  </a:lnTo>
                  <a:lnTo>
                    <a:pt x="2161" y="5"/>
                  </a:lnTo>
                  <a:lnTo>
                    <a:pt x="2164" y="7"/>
                  </a:lnTo>
                  <a:lnTo>
                    <a:pt x="2167" y="10"/>
                  </a:lnTo>
                  <a:lnTo>
                    <a:pt x="2169" y="13"/>
                  </a:lnTo>
                  <a:lnTo>
                    <a:pt x="2170" y="18"/>
                  </a:lnTo>
                  <a:lnTo>
                    <a:pt x="2172" y="19"/>
                  </a:lnTo>
                  <a:lnTo>
                    <a:pt x="2172" y="21"/>
                  </a:lnTo>
                  <a:lnTo>
                    <a:pt x="2174" y="22"/>
                  </a:lnTo>
                  <a:lnTo>
                    <a:pt x="2174" y="26"/>
                  </a:lnTo>
                  <a:lnTo>
                    <a:pt x="2174" y="30"/>
                  </a:lnTo>
                  <a:lnTo>
                    <a:pt x="2172" y="33"/>
                  </a:lnTo>
                  <a:lnTo>
                    <a:pt x="2172" y="35"/>
                  </a:lnTo>
                  <a:lnTo>
                    <a:pt x="2170" y="40"/>
                  </a:lnTo>
                  <a:lnTo>
                    <a:pt x="2169" y="44"/>
                  </a:lnTo>
                  <a:lnTo>
                    <a:pt x="2167" y="49"/>
                  </a:lnTo>
                  <a:lnTo>
                    <a:pt x="2163" y="54"/>
                  </a:lnTo>
                  <a:lnTo>
                    <a:pt x="2161" y="59"/>
                  </a:lnTo>
                  <a:lnTo>
                    <a:pt x="2156" y="62"/>
                  </a:lnTo>
                  <a:lnTo>
                    <a:pt x="2151" y="65"/>
                  </a:lnTo>
                  <a:lnTo>
                    <a:pt x="2147" y="68"/>
                  </a:lnTo>
                  <a:lnTo>
                    <a:pt x="2142" y="71"/>
                  </a:lnTo>
                  <a:lnTo>
                    <a:pt x="2137" y="73"/>
                  </a:lnTo>
                  <a:lnTo>
                    <a:pt x="2133" y="76"/>
                  </a:lnTo>
                  <a:lnTo>
                    <a:pt x="2121" y="79"/>
                  </a:lnTo>
                  <a:lnTo>
                    <a:pt x="2112" y="84"/>
                  </a:lnTo>
                  <a:lnTo>
                    <a:pt x="2049" y="84"/>
                  </a:lnTo>
                  <a:lnTo>
                    <a:pt x="2035" y="87"/>
                  </a:lnTo>
                  <a:lnTo>
                    <a:pt x="2025" y="89"/>
                  </a:lnTo>
                  <a:lnTo>
                    <a:pt x="2014" y="90"/>
                  </a:lnTo>
                  <a:lnTo>
                    <a:pt x="2005" y="92"/>
                  </a:lnTo>
                  <a:lnTo>
                    <a:pt x="1997" y="93"/>
                  </a:lnTo>
                  <a:lnTo>
                    <a:pt x="1987" y="97"/>
                  </a:lnTo>
                  <a:lnTo>
                    <a:pt x="1979" y="100"/>
                  </a:lnTo>
                  <a:lnTo>
                    <a:pt x="1968" y="104"/>
                  </a:lnTo>
                  <a:lnTo>
                    <a:pt x="1967" y="104"/>
                  </a:lnTo>
                  <a:lnTo>
                    <a:pt x="1965" y="106"/>
                  </a:lnTo>
                  <a:lnTo>
                    <a:pt x="1965" y="108"/>
                  </a:lnTo>
                  <a:lnTo>
                    <a:pt x="1963" y="108"/>
                  </a:lnTo>
                  <a:lnTo>
                    <a:pt x="1963" y="109"/>
                  </a:lnTo>
                  <a:lnTo>
                    <a:pt x="1963" y="112"/>
                  </a:lnTo>
                  <a:lnTo>
                    <a:pt x="1962" y="114"/>
                  </a:lnTo>
                  <a:lnTo>
                    <a:pt x="1962" y="115"/>
                  </a:lnTo>
                  <a:lnTo>
                    <a:pt x="1960" y="119"/>
                  </a:lnTo>
                  <a:lnTo>
                    <a:pt x="1959" y="120"/>
                  </a:lnTo>
                  <a:lnTo>
                    <a:pt x="1956" y="120"/>
                  </a:lnTo>
                  <a:lnTo>
                    <a:pt x="1952" y="122"/>
                  </a:lnTo>
                  <a:lnTo>
                    <a:pt x="1948" y="122"/>
                  </a:lnTo>
                  <a:lnTo>
                    <a:pt x="1943" y="123"/>
                  </a:lnTo>
                  <a:lnTo>
                    <a:pt x="1935" y="123"/>
                  </a:lnTo>
                  <a:lnTo>
                    <a:pt x="1930" y="123"/>
                  </a:lnTo>
                  <a:lnTo>
                    <a:pt x="1929" y="125"/>
                  </a:lnTo>
                  <a:lnTo>
                    <a:pt x="1927" y="125"/>
                  </a:lnTo>
                  <a:lnTo>
                    <a:pt x="1927" y="127"/>
                  </a:lnTo>
                  <a:lnTo>
                    <a:pt x="1927" y="128"/>
                  </a:lnTo>
                  <a:lnTo>
                    <a:pt x="1926" y="130"/>
                  </a:lnTo>
                  <a:lnTo>
                    <a:pt x="1926" y="131"/>
                  </a:lnTo>
                  <a:lnTo>
                    <a:pt x="1922" y="133"/>
                  </a:lnTo>
                  <a:lnTo>
                    <a:pt x="1919" y="133"/>
                  </a:lnTo>
                  <a:lnTo>
                    <a:pt x="1918" y="133"/>
                  </a:lnTo>
                  <a:lnTo>
                    <a:pt x="1916" y="131"/>
                  </a:lnTo>
                  <a:lnTo>
                    <a:pt x="1914" y="130"/>
                  </a:lnTo>
                  <a:lnTo>
                    <a:pt x="1913" y="128"/>
                  </a:lnTo>
                  <a:lnTo>
                    <a:pt x="1910" y="125"/>
                  </a:lnTo>
                  <a:lnTo>
                    <a:pt x="1908" y="127"/>
                  </a:lnTo>
                  <a:lnTo>
                    <a:pt x="1905" y="133"/>
                  </a:lnTo>
                  <a:lnTo>
                    <a:pt x="1902" y="136"/>
                  </a:lnTo>
                  <a:lnTo>
                    <a:pt x="1899" y="142"/>
                  </a:lnTo>
                  <a:lnTo>
                    <a:pt x="1897" y="147"/>
                  </a:lnTo>
                  <a:lnTo>
                    <a:pt x="1894" y="152"/>
                  </a:lnTo>
                  <a:lnTo>
                    <a:pt x="1891" y="153"/>
                  </a:lnTo>
                  <a:lnTo>
                    <a:pt x="1889" y="155"/>
                  </a:lnTo>
                  <a:lnTo>
                    <a:pt x="1888" y="155"/>
                  </a:lnTo>
                  <a:lnTo>
                    <a:pt x="1886" y="155"/>
                  </a:lnTo>
                  <a:lnTo>
                    <a:pt x="1884" y="155"/>
                  </a:lnTo>
                  <a:lnTo>
                    <a:pt x="1881" y="152"/>
                  </a:lnTo>
                  <a:lnTo>
                    <a:pt x="1878" y="149"/>
                  </a:lnTo>
                  <a:lnTo>
                    <a:pt x="1877" y="145"/>
                  </a:lnTo>
                  <a:lnTo>
                    <a:pt x="1875" y="147"/>
                  </a:lnTo>
                  <a:lnTo>
                    <a:pt x="1873" y="150"/>
                  </a:lnTo>
                  <a:lnTo>
                    <a:pt x="1873" y="152"/>
                  </a:lnTo>
                  <a:lnTo>
                    <a:pt x="1875" y="153"/>
                  </a:lnTo>
                  <a:lnTo>
                    <a:pt x="1877" y="155"/>
                  </a:lnTo>
                  <a:lnTo>
                    <a:pt x="1877" y="158"/>
                  </a:lnTo>
                  <a:lnTo>
                    <a:pt x="1877" y="161"/>
                  </a:lnTo>
                  <a:lnTo>
                    <a:pt x="1877" y="164"/>
                  </a:lnTo>
                  <a:lnTo>
                    <a:pt x="1877" y="168"/>
                  </a:lnTo>
                  <a:lnTo>
                    <a:pt x="1875" y="169"/>
                  </a:lnTo>
                  <a:lnTo>
                    <a:pt x="1873" y="171"/>
                  </a:lnTo>
                  <a:lnTo>
                    <a:pt x="1872" y="172"/>
                  </a:lnTo>
                  <a:lnTo>
                    <a:pt x="1869" y="172"/>
                  </a:lnTo>
                  <a:lnTo>
                    <a:pt x="1867" y="172"/>
                  </a:lnTo>
                  <a:lnTo>
                    <a:pt x="1866" y="171"/>
                  </a:lnTo>
                  <a:lnTo>
                    <a:pt x="1864" y="169"/>
                  </a:lnTo>
                  <a:lnTo>
                    <a:pt x="1862" y="168"/>
                  </a:lnTo>
                  <a:lnTo>
                    <a:pt x="1858" y="163"/>
                  </a:lnTo>
                  <a:lnTo>
                    <a:pt x="1856" y="160"/>
                  </a:lnTo>
                  <a:lnTo>
                    <a:pt x="1856" y="161"/>
                  </a:lnTo>
                  <a:lnTo>
                    <a:pt x="1856" y="164"/>
                  </a:lnTo>
                  <a:lnTo>
                    <a:pt x="1858" y="166"/>
                  </a:lnTo>
                  <a:lnTo>
                    <a:pt x="1858" y="169"/>
                  </a:lnTo>
                  <a:lnTo>
                    <a:pt x="1858" y="172"/>
                  </a:lnTo>
                  <a:lnTo>
                    <a:pt x="1859" y="175"/>
                  </a:lnTo>
                  <a:lnTo>
                    <a:pt x="1859" y="179"/>
                  </a:lnTo>
                  <a:lnTo>
                    <a:pt x="1859" y="182"/>
                  </a:lnTo>
                  <a:lnTo>
                    <a:pt x="1858" y="182"/>
                  </a:lnTo>
                  <a:lnTo>
                    <a:pt x="1856" y="180"/>
                  </a:lnTo>
                  <a:lnTo>
                    <a:pt x="1853" y="180"/>
                  </a:lnTo>
                  <a:lnTo>
                    <a:pt x="1848" y="179"/>
                  </a:lnTo>
                  <a:lnTo>
                    <a:pt x="1843" y="175"/>
                  </a:lnTo>
                  <a:lnTo>
                    <a:pt x="1843" y="183"/>
                  </a:lnTo>
                  <a:lnTo>
                    <a:pt x="1845" y="193"/>
                  </a:lnTo>
                  <a:lnTo>
                    <a:pt x="1845" y="194"/>
                  </a:lnTo>
                  <a:lnTo>
                    <a:pt x="1843" y="196"/>
                  </a:lnTo>
                  <a:lnTo>
                    <a:pt x="1843" y="199"/>
                  </a:lnTo>
                  <a:lnTo>
                    <a:pt x="1842" y="201"/>
                  </a:lnTo>
                  <a:lnTo>
                    <a:pt x="1840" y="201"/>
                  </a:lnTo>
                  <a:lnTo>
                    <a:pt x="1839" y="202"/>
                  </a:lnTo>
                  <a:lnTo>
                    <a:pt x="1837" y="202"/>
                  </a:lnTo>
                  <a:lnTo>
                    <a:pt x="1832" y="202"/>
                  </a:lnTo>
                  <a:lnTo>
                    <a:pt x="1829" y="201"/>
                  </a:lnTo>
                  <a:lnTo>
                    <a:pt x="1824" y="201"/>
                  </a:lnTo>
                  <a:lnTo>
                    <a:pt x="1820" y="199"/>
                  </a:lnTo>
                  <a:lnTo>
                    <a:pt x="1815" y="197"/>
                  </a:lnTo>
                  <a:lnTo>
                    <a:pt x="1812" y="196"/>
                  </a:lnTo>
                  <a:lnTo>
                    <a:pt x="1810" y="196"/>
                  </a:lnTo>
                  <a:lnTo>
                    <a:pt x="1809" y="194"/>
                  </a:lnTo>
                  <a:lnTo>
                    <a:pt x="1807" y="193"/>
                  </a:lnTo>
                  <a:lnTo>
                    <a:pt x="1807" y="191"/>
                  </a:lnTo>
                  <a:lnTo>
                    <a:pt x="1807" y="186"/>
                  </a:lnTo>
                  <a:lnTo>
                    <a:pt x="1805" y="180"/>
                  </a:lnTo>
                  <a:lnTo>
                    <a:pt x="1804" y="179"/>
                  </a:lnTo>
                  <a:lnTo>
                    <a:pt x="1804" y="175"/>
                  </a:lnTo>
                  <a:lnTo>
                    <a:pt x="1802" y="174"/>
                  </a:lnTo>
                  <a:lnTo>
                    <a:pt x="1799" y="172"/>
                  </a:lnTo>
                  <a:lnTo>
                    <a:pt x="1798" y="171"/>
                  </a:lnTo>
                  <a:lnTo>
                    <a:pt x="1794" y="171"/>
                  </a:lnTo>
                  <a:lnTo>
                    <a:pt x="1793" y="171"/>
                  </a:lnTo>
                  <a:lnTo>
                    <a:pt x="1790" y="169"/>
                  </a:lnTo>
                  <a:lnTo>
                    <a:pt x="1788" y="169"/>
                  </a:lnTo>
                  <a:lnTo>
                    <a:pt x="1787" y="168"/>
                  </a:lnTo>
                  <a:lnTo>
                    <a:pt x="1787" y="166"/>
                  </a:lnTo>
                  <a:lnTo>
                    <a:pt x="1785" y="166"/>
                  </a:lnTo>
                  <a:lnTo>
                    <a:pt x="1785" y="164"/>
                  </a:lnTo>
                  <a:lnTo>
                    <a:pt x="1785" y="163"/>
                  </a:lnTo>
                  <a:lnTo>
                    <a:pt x="1785" y="161"/>
                  </a:lnTo>
                  <a:lnTo>
                    <a:pt x="1785" y="160"/>
                  </a:lnTo>
                  <a:lnTo>
                    <a:pt x="1787" y="158"/>
                  </a:lnTo>
                  <a:lnTo>
                    <a:pt x="1788" y="156"/>
                  </a:lnTo>
                  <a:lnTo>
                    <a:pt x="1790" y="155"/>
                  </a:lnTo>
                  <a:lnTo>
                    <a:pt x="1794" y="155"/>
                  </a:lnTo>
                  <a:lnTo>
                    <a:pt x="1798" y="155"/>
                  </a:lnTo>
                  <a:lnTo>
                    <a:pt x="1799" y="155"/>
                  </a:lnTo>
                  <a:lnTo>
                    <a:pt x="1802" y="155"/>
                  </a:lnTo>
                  <a:lnTo>
                    <a:pt x="1807" y="155"/>
                  </a:lnTo>
                  <a:lnTo>
                    <a:pt x="1810" y="155"/>
                  </a:lnTo>
                  <a:lnTo>
                    <a:pt x="1804" y="150"/>
                  </a:lnTo>
                  <a:lnTo>
                    <a:pt x="1796" y="145"/>
                  </a:lnTo>
                  <a:lnTo>
                    <a:pt x="1791" y="142"/>
                  </a:lnTo>
                  <a:lnTo>
                    <a:pt x="1788" y="139"/>
                  </a:lnTo>
                  <a:lnTo>
                    <a:pt x="1787" y="138"/>
                  </a:lnTo>
                  <a:lnTo>
                    <a:pt x="1787" y="136"/>
                  </a:lnTo>
                  <a:lnTo>
                    <a:pt x="1785" y="134"/>
                  </a:lnTo>
                  <a:lnTo>
                    <a:pt x="1785" y="133"/>
                  </a:lnTo>
                  <a:lnTo>
                    <a:pt x="1787" y="131"/>
                  </a:lnTo>
                  <a:lnTo>
                    <a:pt x="1787" y="130"/>
                  </a:lnTo>
                  <a:lnTo>
                    <a:pt x="1790" y="127"/>
                  </a:lnTo>
                  <a:lnTo>
                    <a:pt x="1793" y="125"/>
                  </a:lnTo>
                  <a:lnTo>
                    <a:pt x="1798" y="122"/>
                  </a:lnTo>
                  <a:lnTo>
                    <a:pt x="1804" y="120"/>
                  </a:lnTo>
                  <a:lnTo>
                    <a:pt x="1810" y="117"/>
                  </a:lnTo>
                  <a:lnTo>
                    <a:pt x="1815" y="117"/>
                  </a:lnTo>
                  <a:lnTo>
                    <a:pt x="1820" y="115"/>
                  </a:lnTo>
                  <a:lnTo>
                    <a:pt x="1823" y="115"/>
                  </a:lnTo>
                  <a:lnTo>
                    <a:pt x="1824" y="117"/>
                  </a:lnTo>
                  <a:lnTo>
                    <a:pt x="1828" y="119"/>
                  </a:lnTo>
                  <a:lnTo>
                    <a:pt x="1829" y="120"/>
                  </a:lnTo>
                  <a:lnTo>
                    <a:pt x="1832" y="123"/>
                  </a:lnTo>
                  <a:lnTo>
                    <a:pt x="1837" y="127"/>
                  </a:lnTo>
                  <a:lnTo>
                    <a:pt x="1839" y="123"/>
                  </a:lnTo>
                  <a:lnTo>
                    <a:pt x="1840" y="120"/>
                  </a:lnTo>
                  <a:lnTo>
                    <a:pt x="1840" y="115"/>
                  </a:lnTo>
                  <a:lnTo>
                    <a:pt x="1840" y="112"/>
                  </a:lnTo>
                  <a:lnTo>
                    <a:pt x="1840" y="108"/>
                  </a:lnTo>
                  <a:lnTo>
                    <a:pt x="1843" y="104"/>
                  </a:lnTo>
                  <a:lnTo>
                    <a:pt x="1845" y="104"/>
                  </a:lnTo>
                  <a:lnTo>
                    <a:pt x="1847" y="103"/>
                  </a:lnTo>
                  <a:lnTo>
                    <a:pt x="1848" y="103"/>
                  </a:lnTo>
                  <a:lnTo>
                    <a:pt x="1850" y="103"/>
                  </a:lnTo>
                  <a:lnTo>
                    <a:pt x="1851" y="104"/>
                  </a:lnTo>
                  <a:lnTo>
                    <a:pt x="1853" y="104"/>
                  </a:lnTo>
                  <a:lnTo>
                    <a:pt x="1854" y="104"/>
                  </a:lnTo>
                  <a:lnTo>
                    <a:pt x="1856" y="103"/>
                  </a:lnTo>
                  <a:lnTo>
                    <a:pt x="1858" y="103"/>
                  </a:lnTo>
                  <a:lnTo>
                    <a:pt x="1858" y="101"/>
                  </a:lnTo>
                  <a:lnTo>
                    <a:pt x="1858" y="100"/>
                  </a:lnTo>
                  <a:lnTo>
                    <a:pt x="1858" y="97"/>
                  </a:lnTo>
                  <a:lnTo>
                    <a:pt x="1858" y="92"/>
                  </a:lnTo>
                  <a:lnTo>
                    <a:pt x="1858" y="87"/>
                  </a:lnTo>
                  <a:lnTo>
                    <a:pt x="1867" y="87"/>
                  </a:lnTo>
                  <a:lnTo>
                    <a:pt x="1869" y="87"/>
                  </a:lnTo>
                  <a:lnTo>
                    <a:pt x="1869" y="89"/>
                  </a:lnTo>
                  <a:lnTo>
                    <a:pt x="1870" y="89"/>
                  </a:lnTo>
                  <a:lnTo>
                    <a:pt x="1872" y="92"/>
                  </a:lnTo>
                  <a:lnTo>
                    <a:pt x="1873" y="92"/>
                  </a:lnTo>
                  <a:lnTo>
                    <a:pt x="1875" y="93"/>
                  </a:lnTo>
                  <a:lnTo>
                    <a:pt x="1878" y="93"/>
                  </a:lnTo>
                  <a:lnTo>
                    <a:pt x="1880" y="93"/>
                  </a:lnTo>
                  <a:lnTo>
                    <a:pt x="1878" y="87"/>
                  </a:lnTo>
                  <a:lnTo>
                    <a:pt x="1875" y="84"/>
                  </a:lnTo>
                  <a:lnTo>
                    <a:pt x="1873" y="81"/>
                  </a:lnTo>
                  <a:lnTo>
                    <a:pt x="1873" y="79"/>
                  </a:lnTo>
                  <a:lnTo>
                    <a:pt x="1872" y="76"/>
                  </a:lnTo>
                  <a:lnTo>
                    <a:pt x="1872" y="73"/>
                  </a:lnTo>
                  <a:lnTo>
                    <a:pt x="1875" y="73"/>
                  </a:lnTo>
                  <a:lnTo>
                    <a:pt x="1880" y="73"/>
                  </a:lnTo>
                  <a:lnTo>
                    <a:pt x="1884" y="73"/>
                  </a:lnTo>
                  <a:lnTo>
                    <a:pt x="1888" y="73"/>
                  </a:lnTo>
                  <a:lnTo>
                    <a:pt x="1886" y="71"/>
                  </a:lnTo>
                  <a:lnTo>
                    <a:pt x="1884" y="68"/>
                  </a:lnTo>
                  <a:lnTo>
                    <a:pt x="1883" y="67"/>
                  </a:lnTo>
                  <a:lnTo>
                    <a:pt x="1880" y="65"/>
                  </a:lnTo>
                  <a:lnTo>
                    <a:pt x="1880" y="52"/>
                  </a:lnTo>
                  <a:lnTo>
                    <a:pt x="1886" y="52"/>
                  </a:lnTo>
                  <a:lnTo>
                    <a:pt x="1889" y="52"/>
                  </a:lnTo>
                  <a:lnTo>
                    <a:pt x="1891" y="54"/>
                  </a:lnTo>
                  <a:lnTo>
                    <a:pt x="1892" y="56"/>
                  </a:lnTo>
                  <a:lnTo>
                    <a:pt x="1894" y="59"/>
                  </a:lnTo>
                  <a:lnTo>
                    <a:pt x="1896" y="57"/>
                  </a:lnTo>
                  <a:lnTo>
                    <a:pt x="1899" y="56"/>
                  </a:lnTo>
                  <a:lnTo>
                    <a:pt x="1900" y="56"/>
                  </a:lnTo>
                  <a:lnTo>
                    <a:pt x="1902" y="54"/>
                  </a:lnTo>
                  <a:lnTo>
                    <a:pt x="1905" y="51"/>
                  </a:lnTo>
                  <a:lnTo>
                    <a:pt x="1910" y="46"/>
                  </a:lnTo>
                  <a:lnTo>
                    <a:pt x="1914" y="51"/>
                  </a:lnTo>
                  <a:lnTo>
                    <a:pt x="1922" y="54"/>
                  </a:lnTo>
                  <a:lnTo>
                    <a:pt x="1924" y="54"/>
                  </a:lnTo>
                  <a:lnTo>
                    <a:pt x="1926" y="52"/>
                  </a:lnTo>
                  <a:lnTo>
                    <a:pt x="1926" y="51"/>
                  </a:lnTo>
                  <a:lnTo>
                    <a:pt x="1927" y="48"/>
                  </a:lnTo>
                  <a:lnTo>
                    <a:pt x="1927" y="46"/>
                  </a:lnTo>
                  <a:lnTo>
                    <a:pt x="1929" y="43"/>
                  </a:lnTo>
                  <a:lnTo>
                    <a:pt x="1930" y="41"/>
                  </a:lnTo>
                  <a:lnTo>
                    <a:pt x="1930" y="40"/>
                  </a:lnTo>
                  <a:lnTo>
                    <a:pt x="1935" y="40"/>
                  </a:lnTo>
                  <a:lnTo>
                    <a:pt x="1938" y="38"/>
                  </a:lnTo>
                  <a:lnTo>
                    <a:pt x="1943" y="35"/>
                  </a:lnTo>
                  <a:lnTo>
                    <a:pt x="1946" y="33"/>
                  </a:lnTo>
                  <a:lnTo>
                    <a:pt x="1952" y="27"/>
                  </a:lnTo>
                  <a:lnTo>
                    <a:pt x="1963" y="24"/>
                  </a:lnTo>
                  <a:lnTo>
                    <a:pt x="2006" y="24"/>
                  </a:lnTo>
                  <a:lnTo>
                    <a:pt x="2006" y="15"/>
                  </a:lnTo>
                  <a:lnTo>
                    <a:pt x="2009" y="15"/>
                  </a:lnTo>
                  <a:lnTo>
                    <a:pt x="2012" y="15"/>
                  </a:lnTo>
                  <a:lnTo>
                    <a:pt x="2017" y="16"/>
                  </a:lnTo>
                  <a:lnTo>
                    <a:pt x="2020" y="18"/>
                  </a:lnTo>
                  <a:lnTo>
                    <a:pt x="2025" y="19"/>
                  </a:lnTo>
                  <a:lnTo>
                    <a:pt x="2031" y="24"/>
                  </a:lnTo>
                  <a:lnTo>
                    <a:pt x="2038" y="27"/>
                  </a:lnTo>
                  <a:lnTo>
                    <a:pt x="2042" y="30"/>
                  </a:lnTo>
                  <a:lnTo>
                    <a:pt x="2046" y="32"/>
                  </a:lnTo>
                  <a:lnTo>
                    <a:pt x="2049" y="33"/>
                  </a:lnTo>
                  <a:lnTo>
                    <a:pt x="2054" y="33"/>
                  </a:lnTo>
                  <a:lnTo>
                    <a:pt x="2057" y="33"/>
                  </a:lnTo>
                  <a:lnTo>
                    <a:pt x="2061" y="33"/>
                  </a:lnTo>
                  <a:lnTo>
                    <a:pt x="2066" y="32"/>
                  </a:lnTo>
                  <a:lnTo>
                    <a:pt x="2071" y="30"/>
                  </a:lnTo>
                  <a:lnTo>
                    <a:pt x="2074" y="29"/>
                  </a:lnTo>
                  <a:lnTo>
                    <a:pt x="2079" y="27"/>
                  </a:lnTo>
                  <a:lnTo>
                    <a:pt x="2084" y="26"/>
                  </a:lnTo>
                  <a:lnTo>
                    <a:pt x="2088" y="24"/>
                  </a:lnTo>
                  <a:lnTo>
                    <a:pt x="2095" y="24"/>
                  </a:lnTo>
                  <a:lnTo>
                    <a:pt x="2098" y="26"/>
                  </a:lnTo>
                  <a:lnTo>
                    <a:pt x="2103" y="26"/>
                  </a:lnTo>
                  <a:lnTo>
                    <a:pt x="2106" y="26"/>
                  </a:lnTo>
                  <a:lnTo>
                    <a:pt x="2107" y="26"/>
                  </a:lnTo>
                  <a:lnTo>
                    <a:pt x="2110" y="26"/>
                  </a:lnTo>
                  <a:lnTo>
                    <a:pt x="2112" y="26"/>
                  </a:lnTo>
                  <a:lnTo>
                    <a:pt x="2114" y="26"/>
                  </a:lnTo>
                  <a:lnTo>
                    <a:pt x="2115" y="26"/>
                  </a:lnTo>
                  <a:lnTo>
                    <a:pt x="2117" y="22"/>
                  </a:lnTo>
                  <a:lnTo>
                    <a:pt x="2120" y="19"/>
                  </a:lnTo>
                  <a:lnTo>
                    <a:pt x="2121" y="15"/>
                  </a:lnTo>
                  <a:lnTo>
                    <a:pt x="2125" y="11"/>
                  </a:lnTo>
                  <a:lnTo>
                    <a:pt x="2128" y="7"/>
                  </a:lnTo>
                  <a:lnTo>
                    <a:pt x="2129" y="5"/>
                  </a:lnTo>
                  <a:lnTo>
                    <a:pt x="2131" y="3"/>
                  </a:lnTo>
                  <a:lnTo>
                    <a:pt x="2133" y="2"/>
                  </a:lnTo>
                  <a:lnTo>
                    <a:pt x="2134" y="2"/>
                  </a:lnTo>
                  <a:close/>
                  <a:moveTo>
                    <a:pt x="1523" y="388"/>
                  </a:moveTo>
                  <a:lnTo>
                    <a:pt x="1524" y="388"/>
                  </a:lnTo>
                  <a:lnTo>
                    <a:pt x="1526" y="390"/>
                  </a:lnTo>
                  <a:lnTo>
                    <a:pt x="1527" y="391"/>
                  </a:lnTo>
                  <a:lnTo>
                    <a:pt x="1529" y="393"/>
                  </a:lnTo>
                  <a:lnTo>
                    <a:pt x="1531" y="395"/>
                  </a:lnTo>
                  <a:lnTo>
                    <a:pt x="1531" y="396"/>
                  </a:lnTo>
                  <a:lnTo>
                    <a:pt x="1532" y="399"/>
                  </a:lnTo>
                  <a:lnTo>
                    <a:pt x="1532" y="401"/>
                  </a:lnTo>
                  <a:lnTo>
                    <a:pt x="1532" y="404"/>
                  </a:lnTo>
                  <a:lnTo>
                    <a:pt x="1531" y="406"/>
                  </a:lnTo>
                  <a:lnTo>
                    <a:pt x="1531" y="407"/>
                  </a:lnTo>
                  <a:lnTo>
                    <a:pt x="1527" y="409"/>
                  </a:lnTo>
                  <a:lnTo>
                    <a:pt x="1526" y="409"/>
                  </a:lnTo>
                  <a:lnTo>
                    <a:pt x="1523" y="409"/>
                  </a:lnTo>
                  <a:lnTo>
                    <a:pt x="1520" y="409"/>
                  </a:lnTo>
                  <a:lnTo>
                    <a:pt x="1515" y="409"/>
                  </a:lnTo>
                  <a:lnTo>
                    <a:pt x="1510" y="409"/>
                  </a:lnTo>
                  <a:lnTo>
                    <a:pt x="1502" y="409"/>
                  </a:lnTo>
                  <a:lnTo>
                    <a:pt x="1501" y="409"/>
                  </a:lnTo>
                  <a:lnTo>
                    <a:pt x="1497" y="410"/>
                  </a:lnTo>
                  <a:lnTo>
                    <a:pt x="1494" y="410"/>
                  </a:lnTo>
                  <a:lnTo>
                    <a:pt x="1493" y="410"/>
                  </a:lnTo>
                  <a:lnTo>
                    <a:pt x="1489" y="412"/>
                  </a:lnTo>
                  <a:lnTo>
                    <a:pt x="1486" y="414"/>
                  </a:lnTo>
                  <a:lnTo>
                    <a:pt x="1482" y="414"/>
                  </a:lnTo>
                  <a:lnTo>
                    <a:pt x="1478" y="415"/>
                  </a:lnTo>
                  <a:lnTo>
                    <a:pt x="1475" y="414"/>
                  </a:lnTo>
                  <a:lnTo>
                    <a:pt x="1474" y="414"/>
                  </a:lnTo>
                  <a:lnTo>
                    <a:pt x="1472" y="412"/>
                  </a:lnTo>
                  <a:lnTo>
                    <a:pt x="1471" y="410"/>
                  </a:lnTo>
                  <a:lnTo>
                    <a:pt x="1469" y="409"/>
                  </a:lnTo>
                  <a:lnTo>
                    <a:pt x="1469" y="406"/>
                  </a:lnTo>
                  <a:lnTo>
                    <a:pt x="1469" y="401"/>
                  </a:lnTo>
                  <a:lnTo>
                    <a:pt x="1469" y="398"/>
                  </a:lnTo>
                  <a:lnTo>
                    <a:pt x="1469" y="393"/>
                  </a:lnTo>
                  <a:lnTo>
                    <a:pt x="1471" y="388"/>
                  </a:lnTo>
                  <a:lnTo>
                    <a:pt x="1472" y="385"/>
                  </a:lnTo>
                  <a:lnTo>
                    <a:pt x="1474" y="382"/>
                  </a:lnTo>
                  <a:lnTo>
                    <a:pt x="1475" y="379"/>
                  </a:lnTo>
                  <a:lnTo>
                    <a:pt x="1477" y="376"/>
                  </a:lnTo>
                  <a:lnTo>
                    <a:pt x="1480" y="373"/>
                  </a:lnTo>
                  <a:lnTo>
                    <a:pt x="1482" y="371"/>
                  </a:lnTo>
                  <a:lnTo>
                    <a:pt x="1485" y="369"/>
                  </a:lnTo>
                  <a:lnTo>
                    <a:pt x="1488" y="368"/>
                  </a:lnTo>
                  <a:lnTo>
                    <a:pt x="1493" y="365"/>
                  </a:lnTo>
                  <a:lnTo>
                    <a:pt x="1494" y="365"/>
                  </a:lnTo>
                  <a:lnTo>
                    <a:pt x="1497" y="363"/>
                  </a:lnTo>
                  <a:lnTo>
                    <a:pt x="1502" y="362"/>
                  </a:lnTo>
                  <a:lnTo>
                    <a:pt x="1505" y="362"/>
                  </a:lnTo>
                  <a:lnTo>
                    <a:pt x="1507" y="360"/>
                  </a:lnTo>
                  <a:lnTo>
                    <a:pt x="1510" y="366"/>
                  </a:lnTo>
                  <a:lnTo>
                    <a:pt x="1515" y="376"/>
                  </a:lnTo>
                  <a:lnTo>
                    <a:pt x="1518" y="380"/>
                  </a:lnTo>
                  <a:lnTo>
                    <a:pt x="1520" y="385"/>
                  </a:lnTo>
                  <a:lnTo>
                    <a:pt x="1520" y="387"/>
                  </a:lnTo>
                  <a:lnTo>
                    <a:pt x="1521" y="388"/>
                  </a:lnTo>
                  <a:lnTo>
                    <a:pt x="1523" y="388"/>
                  </a:lnTo>
                  <a:close/>
                  <a:moveTo>
                    <a:pt x="93" y="489"/>
                  </a:moveTo>
                  <a:lnTo>
                    <a:pt x="91" y="480"/>
                  </a:lnTo>
                  <a:lnTo>
                    <a:pt x="91" y="474"/>
                  </a:lnTo>
                  <a:lnTo>
                    <a:pt x="90" y="467"/>
                  </a:lnTo>
                  <a:lnTo>
                    <a:pt x="88" y="462"/>
                  </a:lnTo>
                  <a:lnTo>
                    <a:pt x="85" y="453"/>
                  </a:lnTo>
                  <a:lnTo>
                    <a:pt x="80" y="444"/>
                  </a:lnTo>
                  <a:lnTo>
                    <a:pt x="75" y="434"/>
                  </a:lnTo>
                  <a:lnTo>
                    <a:pt x="71" y="428"/>
                  </a:lnTo>
                  <a:lnTo>
                    <a:pt x="69" y="423"/>
                  </a:lnTo>
                  <a:lnTo>
                    <a:pt x="68" y="421"/>
                  </a:lnTo>
                  <a:lnTo>
                    <a:pt x="61" y="421"/>
                  </a:lnTo>
                  <a:lnTo>
                    <a:pt x="55" y="421"/>
                  </a:lnTo>
                  <a:lnTo>
                    <a:pt x="50" y="420"/>
                  </a:lnTo>
                  <a:lnTo>
                    <a:pt x="45" y="418"/>
                  </a:lnTo>
                  <a:lnTo>
                    <a:pt x="39" y="415"/>
                  </a:lnTo>
                  <a:lnTo>
                    <a:pt x="34" y="414"/>
                  </a:lnTo>
                  <a:lnTo>
                    <a:pt x="33" y="412"/>
                  </a:lnTo>
                  <a:lnTo>
                    <a:pt x="30" y="412"/>
                  </a:lnTo>
                  <a:lnTo>
                    <a:pt x="28" y="410"/>
                  </a:lnTo>
                  <a:lnTo>
                    <a:pt x="26" y="410"/>
                  </a:lnTo>
                  <a:lnTo>
                    <a:pt x="23" y="410"/>
                  </a:lnTo>
                  <a:lnTo>
                    <a:pt x="22" y="410"/>
                  </a:lnTo>
                  <a:lnTo>
                    <a:pt x="19" y="412"/>
                  </a:lnTo>
                  <a:lnTo>
                    <a:pt x="15" y="414"/>
                  </a:lnTo>
                  <a:lnTo>
                    <a:pt x="7" y="417"/>
                  </a:lnTo>
                  <a:lnTo>
                    <a:pt x="3" y="421"/>
                  </a:lnTo>
                  <a:lnTo>
                    <a:pt x="1" y="421"/>
                  </a:lnTo>
                  <a:lnTo>
                    <a:pt x="0" y="423"/>
                  </a:lnTo>
                  <a:lnTo>
                    <a:pt x="0" y="426"/>
                  </a:lnTo>
                  <a:lnTo>
                    <a:pt x="0" y="428"/>
                  </a:lnTo>
                  <a:lnTo>
                    <a:pt x="0" y="431"/>
                  </a:lnTo>
                  <a:lnTo>
                    <a:pt x="1" y="434"/>
                  </a:lnTo>
                  <a:lnTo>
                    <a:pt x="1" y="436"/>
                  </a:lnTo>
                  <a:lnTo>
                    <a:pt x="4" y="442"/>
                  </a:lnTo>
                  <a:lnTo>
                    <a:pt x="7" y="448"/>
                  </a:lnTo>
                  <a:lnTo>
                    <a:pt x="11" y="455"/>
                  </a:lnTo>
                  <a:lnTo>
                    <a:pt x="14" y="459"/>
                  </a:lnTo>
                  <a:lnTo>
                    <a:pt x="22" y="472"/>
                  </a:lnTo>
                  <a:lnTo>
                    <a:pt x="28" y="483"/>
                  </a:lnTo>
                  <a:lnTo>
                    <a:pt x="36" y="492"/>
                  </a:lnTo>
                  <a:lnTo>
                    <a:pt x="42" y="503"/>
                  </a:lnTo>
                  <a:lnTo>
                    <a:pt x="50" y="513"/>
                  </a:lnTo>
                  <a:lnTo>
                    <a:pt x="55" y="522"/>
                  </a:lnTo>
                  <a:lnTo>
                    <a:pt x="60" y="518"/>
                  </a:lnTo>
                  <a:lnTo>
                    <a:pt x="61" y="518"/>
                  </a:lnTo>
                  <a:lnTo>
                    <a:pt x="63" y="516"/>
                  </a:lnTo>
                  <a:lnTo>
                    <a:pt x="66" y="513"/>
                  </a:lnTo>
                  <a:lnTo>
                    <a:pt x="69" y="513"/>
                  </a:lnTo>
                  <a:lnTo>
                    <a:pt x="74" y="510"/>
                  </a:lnTo>
                  <a:lnTo>
                    <a:pt x="80" y="508"/>
                  </a:lnTo>
                  <a:lnTo>
                    <a:pt x="83" y="505"/>
                  </a:lnTo>
                  <a:lnTo>
                    <a:pt x="85" y="503"/>
                  </a:lnTo>
                  <a:lnTo>
                    <a:pt x="86" y="502"/>
                  </a:lnTo>
                  <a:lnTo>
                    <a:pt x="90" y="499"/>
                  </a:lnTo>
                  <a:lnTo>
                    <a:pt x="91" y="496"/>
                  </a:lnTo>
                  <a:lnTo>
                    <a:pt x="91" y="492"/>
                  </a:lnTo>
                  <a:lnTo>
                    <a:pt x="93" y="489"/>
                  </a:lnTo>
                  <a:close/>
                  <a:moveTo>
                    <a:pt x="1787" y="462"/>
                  </a:moveTo>
                  <a:lnTo>
                    <a:pt x="1788" y="462"/>
                  </a:lnTo>
                  <a:lnTo>
                    <a:pt x="1790" y="462"/>
                  </a:lnTo>
                  <a:lnTo>
                    <a:pt x="1791" y="464"/>
                  </a:lnTo>
                  <a:lnTo>
                    <a:pt x="1794" y="467"/>
                  </a:lnTo>
                  <a:lnTo>
                    <a:pt x="1796" y="469"/>
                  </a:lnTo>
                  <a:lnTo>
                    <a:pt x="1798" y="472"/>
                  </a:lnTo>
                  <a:lnTo>
                    <a:pt x="1799" y="475"/>
                  </a:lnTo>
                  <a:lnTo>
                    <a:pt x="1799" y="478"/>
                  </a:lnTo>
                  <a:lnTo>
                    <a:pt x="1799" y="480"/>
                  </a:lnTo>
                  <a:lnTo>
                    <a:pt x="1799" y="483"/>
                  </a:lnTo>
                  <a:lnTo>
                    <a:pt x="1799" y="488"/>
                  </a:lnTo>
                  <a:lnTo>
                    <a:pt x="1798" y="489"/>
                  </a:lnTo>
                  <a:lnTo>
                    <a:pt x="1794" y="492"/>
                  </a:lnTo>
                  <a:lnTo>
                    <a:pt x="1793" y="496"/>
                  </a:lnTo>
                  <a:lnTo>
                    <a:pt x="1790" y="497"/>
                  </a:lnTo>
                  <a:lnTo>
                    <a:pt x="1787" y="499"/>
                  </a:lnTo>
                  <a:lnTo>
                    <a:pt x="1783" y="499"/>
                  </a:lnTo>
                  <a:lnTo>
                    <a:pt x="1782" y="497"/>
                  </a:lnTo>
                  <a:lnTo>
                    <a:pt x="1779" y="492"/>
                  </a:lnTo>
                  <a:lnTo>
                    <a:pt x="1774" y="488"/>
                  </a:lnTo>
                  <a:lnTo>
                    <a:pt x="1769" y="480"/>
                  </a:lnTo>
                  <a:lnTo>
                    <a:pt x="1763" y="472"/>
                  </a:lnTo>
                  <a:lnTo>
                    <a:pt x="1758" y="466"/>
                  </a:lnTo>
                  <a:lnTo>
                    <a:pt x="1756" y="459"/>
                  </a:lnTo>
                  <a:lnTo>
                    <a:pt x="1753" y="458"/>
                  </a:lnTo>
                  <a:lnTo>
                    <a:pt x="1753" y="456"/>
                  </a:lnTo>
                  <a:lnTo>
                    <a:pt x="1755" y="455"/>
                  </a:lnTo>
                  <a:lnTo>
                    <a:pt x="1756" y="453"/>
                  </a:lnTo>
                  <a:lnTo>
                    <a:pt x="1756" y="451"/>
                  </a:lnTo>
                  <a:lnTo>
                    <a:pt x="1760" y="448"/>
                  </a:lnTo>
                  <a:lnTo>
                    <a:pt x="1763" y="447"/>
                  </a:lnTo>
                  <a:lnTo>
                    <a:pt x="1766" y="444"/>
                  </a:lnTo>
                  <a:lnTo>
                    <a:pt x="1769" y="440"/>
                  </a:lnTo>
                  <a:lnTo>
                    <a:pt x="1771" y="439"/>
                  </a:lnTo>
                  <a:lnTo>
                    <a:pt x="1771" y="437"/>
                  </a:lnTo>
                  <a:lnTo>
                    <a:pt x="1772" y="436"/>
                  </a:lnTo>
                  <a:lnTo>
                    <a:pt x="1772" y="434"/>
                  </a:lnTo>
                  <a:lnTo>
                    <a:pt x="1777" y="437"/>
                  </a:lnTo>
                  <a:lnTo>
                    <a:pt x="1782" y="442"/>
                  </a:lnTo>
                  <a:lnTo>
                    <a:pt x="1783" y="442"/>
                  </a:lnTo>
                  <a:lnTo>
                    <a:pt x="1785" y="444"/>
                  </a:lnTo>
                  <a:lnTo>
                    <a:pt x="1787" y="447"/>
                  </a:lnTo>
                  <a:lnTo>
                    <a:pt x="1787" y="448"/>
                  </a:lnTo>
                  <a:lnTo>
                    <a:pt x="1787" y="450"/>
                  </a:lnTo>
                  <a:lnTo>
                    <a:pt x="1787" y="455"/>
                  </a:lnTo>
                  <a:lnTo>
                    <a:pt x="1785" y="458"/>
                  </a:lnTo>
                  <a:lnTo>
                    <a:pt x="1785" y="459"/>
                  </a:lnTo>
                  <a:lnTo>
                    <a:pt x="1787" y="459"/>
                  </a:lnTo>
                  <a:lnTo>
                    <a:pt x="1787" y="461"/>
                  </a:lnTo>
                  <a:lnTo>
                    <a:pt x="1787" y="462"/>
                  </a:lnTo>
                  <a:close/>
                  <a:moveTo>
                    <a:pt x="1651" y="291"/>
                  </a:moveTo>
                  <a:lnTo>
                    <a:pt x="1651" y="294"/>
                  </a:lnTo>
                  <a:lnTo>
                    <a:pt x="1652" y="298"/>
                  </a:lnTo>
                  <a:lnTo>
                    <a:pt x="1654" y="300"/>
                  </a:lnTo>
                  <a:lnTo>
                    <a:pt x="1654" y="303"/>
                  </a:lnTo>
                  <a:lnTo>
                    <a:pt x="1655" y="306"/>
                  </a:lnTo>
                  <a:lnTo>
                    <a:pt x="1657" y="308"/>
                  </a:lnTo>
                  <a:lnTo>
                    <a:pt x="1659" y="311"/>
                  </a:lnTo>
                  <a:lnTo>
                    <a:pt x="1659" y="314"/>
                  </a:lnTo>
                  <a:lnTo>
                    <a:pt x="1657" y="317"/>
                  </a:lnTo>
                  <a:lnTo>
                    <a:pt x="1657" y="319"/>
                  </a:lnTo>
                  <a:lnTo>
                    <a:pt x="1657" y="322"/>
                  </a:lnTo>
                  <a:lnTo>
                    <a:pt x="1659" y="322"/>
                  </a:lnTo>
                  <a:lnTo>
                    <a:pt x="1660" y="322"/>
                  </a:lnTo>
                  <a:lnTo>
                    <a:pt x="1662" y="322"/>
                  </a:lnTo>
                  <a:lnTo>
                    <a:pt x="1663" y="322"/>
                  </a:lnTo>
                  <a:lnTo>
                    <a:pt x="1666" y="322"/>
                  </a:lnTo>
                  <a:lnTo>
                    <a:pt x="1668" y="322"/>
                  </a:lnTo>
                  <a:lnTo>
                    <a:pt x="1670" y="319"/>
                  </a:lnTo>
                  <a:lnTo>
                    <a:pt x="1670" y="314"/>
                  </a:lnTo>
                  <a:lnTo>
                    <a:pt x="1670" y="309"/>
                  </a:lnTo>
                  <a:lnTo>
                    <a:pt x="1670" y="306"/>
                  </a:lnTo>
                  <a:lnTo>
                    <a:pt x="1670" y="300"/>
                  </a:lnTo>
                  <a:lnTo>
                    <a:pt x="1670" y="297"/>
                  </a:lnTo>
                  <a:lnTo>
                    <a:pt x="1670" y="294"/>
                  </a:lnTo>
                  <a:lnTo>
                    <a:pt x="1668" y="291"/>
                  </a:lnTo>
                  <a:lnTo>
                    <a:pt x="1668" y="287"/>
                  </a:lnTo>
                  <a:lnTo>
                    <a:pt x="1666" y="286"/>
                  </a:lnTo>
                  <a:lnTo>
                    <a:pt x="1663" y="286"/>
                  </a:lnTo>
                  <a:lnTo>
                    <a:pt x="1662" y="284"/>
                  </a:lnTo>
                  <a:lnTo>
                    <a:pt x="1659" y="283"/>
                  </a:lnTo>
                  <a:lnTo>
                    <a:pt x="1655" y="283"/>
                  </a:lnTo>
                  <a:lnTo>
                    <a:pt x="1654" y="284"/>
                  </a:lnTo>
                  <a:lnTo>
                    <a:pt x="1652" y="284"/>
                  </a:lnTo>
                  <a:lnTo>
                    <a:pt x="1651" y="286"/>
                  </a:lnTo>
                  <a:lnTo>
                    <a:pt x="1651" y="287"/>
                  </a:lnTo>
                  <a:lnTo>
                    <a:pt x="1651" y="289"/>
                  </a:lnTo>
                  <a:lnTo>
                    <a:pt x="1651" y="291"/>
                  </a:lnTo>
                  <a:close/>
                  <a:moveTo>
                    <a:pt x="1125" y="920"/>
                  </a:moveTo>
                  <a:lnTo>
                    <a:pt x="1125" y="920"/>
                  </a:lnTo>
                  <a:close/>
                  <a:moveTo>
                    <a:pt x="564" y="513"/>
                  </a:moveTo>
                  <a:lnTo>
                    <a:pt x="562" y="510"/>
                  </a:lnTo>
                  <a:lnTo>
                    <a:pt x="560" y="507"/>
                  </a:lnTo>
                  <a:lnTo>
                    <a:pt x="559" y="499"/>
                  </a:lnTo>
                  <a:lnTo>
                    <a:pt x="557" y="489"/>
                  </a:lnTo>
                  <a:lnTo>
                    <a:pt x="556" y="486"/>
                  </a:lnTo>
                  <a:lnTo>
                    <a:pt x="556" y="483"/>
                  </a:lnTo>
                  <a:lnTo>
                    <a:pt x="554" y="478"/>
                  </a:lnTo>
                  <a:lnTo>
                    <a:pt x="553" y="477"/>
                  </a:lnTo>
                  <a:lnTo>
                    <a:pt x="548" y="474"/>
                  </a:lnTo>
                  <a:lnTo>
                    <a:pt x="542" y="472"/>
                  </a:lnTo>
                  <a:lnTo>
                    <a:pt x="537" y="470"/>
                  </a:lnTo>
                  <a:lnTo>
                    <a:pt x="532" y="469"/>
                  </a:lnTo>
                  <a:lnTo>
                    <a:pt x="529" y="467"/>
                  </a:lnTo>
                  <a:lnTo>
                    <a:pt x="526" y="467"/>
                  </a:lnTo>
                  <a:lnTo>
                    <a:pt x="524" y="466"/>
                  </a:lnTo>
                  <a:lnTo>
                    <a:pt x="521" y="464"/>
                  </a:lnTo>
                  <a:lnTo>
                    <a:pt x="516" y="462"/>
                  </a:lnTo>
                  <a:lnTo>
                    <a:pt x="515" y="459"/>
                  </a:lnTo>
                  <a:lnTo>
                    <a:pt x="512" y="459"/>
                  </a:lnTo>
                  <a:lnTo>
                    <a:pt x="508" y="458"/>
                  </a:lnTo>
                  <a:lnTo>
                    <a:pt x="507" y="456"/>
                  </a:lnTo>
                  <a:lnTo>
                    <a:pt x="504" y="458"/>
                  </a:lnTo>
                  <a:lnTo>
                    <a:pt x="502" y="459"/>
                  </a:lnTo>
                  <a:lnTo>
                    <a:pt x="500" y="459"/>
                  </a:lnTo>
                  <a:lnTo>
                    <a:pt x="499" y="462"/>
                  </a:lnTo>
                  <a:lnTo>
                    <a:pt x="496" y="464"/>
                  </a:lnTo>
                  <a:lnTo>
                    <a:pt x="494" y="464"/>
                  </a:lnTo>
                  <a:lnTo>
                    <a:pt x="493" y="466"/>
                  </a:lnTo>
                  <a:lnTo>
                    <a:pt x="491" y="464"/>
                  </a:lnTo>
                  <a:lnTo>
                    <a:pt x="491" y="481"/>
                  </a:lnTo>
                  <a:lnTo>
                    <a:pt x="485" y="481"/>
                  </a:lnTo>
                  <a:lnTo>
                    <a:pt x="480" y="481"/>
                  </a:lnTo>
                  <a:lnTo>
                    <a:pt x="475" y="483"/>
                  </a:lnTo>
                  <a:lnTo>
                    <a:pt x="472" y="483"/>
                  </a:lnTo>
                  <a:lnTo>
                    <a:pt x="470" y="485"/>
                  </a:lnTo>
                  <a:lnTo>
                    <a:pt x="469" y="486"/>
                  </a:lnTo>
                  <a:lnTo>
                    <a:pt x="470" y="485"/>
                  </a:lnTo>
                  <a:lnTo>
                    <a:pt x="467" y="485"/>
                  </a:lnTo>
                  <a:lnTo>
                    <a:pt x="436" y="485"/>
                  </a:lnTo>
                  <a:lnTo>
                    <a:pt x="434" y="488"/>
                  </a:lnTo>
                  <a:lnTo>
                    <a:pt x="433" y="491"/>
                  </a:lnTo>
                  <a:lnTo>
                    <a:pt x="431" y="494"/>
                  </a:lnTo>
                  <a:lnTo>
                    <a:pt x="429" y="496"/>
                  </a:lnTo>
                  <a:lnTo>
                    <a:pt x="425" y="500"/>
                  </a:lnTo>
                  <a:lnTo>
                    <a:pt x="420" y="503"/>
                  </a:lnTo>
                  <a:lnTo>
                    <a:pt x="417" y="507"/>
                  </a:lnTo>
                  <a:lnTo>
                    <a:pt x="412" y="510"/>
                  </a:lnTo>
                  <a:lnTo>
                    <a:pt x="407" y="513"/>
                  </a:lnTo>
                  <a:lnTo>
                    <a:pt x="404" y="518"/>
                  </a:lnTo>
                  <a:lnTo>
                    <a:pt x="402" y="521"/>
                  </a:lnTo>
                  <a:lnTo>
                    <a:pt x="401" y="524"/>
                  </a:lnTo>
                  <a:lnTo>
                    <a:pt x="399" y="527"/>
                  </a:lnTo>
                  <a:lnTo>
                    <a:pt x="399" y="530"/>
                  </a:lnTo>
                  <a:lnTo>
                    <a:pt x="396" y="533"/>
                  </a:lnTo>
                  <a:lnTo>
                    <a:pt x="396" y="537"/>
                  </a:lnTo>
                  <a:lnTo>
                    <a:pt x="393" y="540"/>
                  </a:lnTo>
                  <a:lnTo>
                    <a:pt x="391" y="543"/>
                  </a:lnTo>
                  <a:lnTo>
                    <a:pt x="388" y="543"/>
                  </a:lnTo>
                  <a:lnTo>
                    <a:pt x="385" y="544"/>
                  </a:lnTo>
                  <a:lnTo>
                    <a:pt x="382" y="544"/>
                  </a:lnTo>
                  <a:lnTo>
                    <a:pt x="379" y="543"/>
                  </a:lnTo>
                  <a:lnTo>
                    <a:pt x="374" y="543"/>
                  </a:lnTo>
                  <a:lnTo>
                    <a:pt x="369" y="544"/>
                  </a:lnTo>
                  <a:lnTo>
                    <a:pt x="368" y="544"/>
                  </a:lnTo>
                  <a:lnTo>
                    <a:pt x="366" y="544"/>
                  </a:lnTo>
                  <a:lnTo>
                    <a:pt x="365" y="546"/>
                  </a:lnTo>
                  <a:lnTo>
                    <a:pt x="363" y="546"/>
                  </a:lnTo>
                  <a:lnTo>
                    <a:pt x="361" y="549"/>
                  </a:lnTo>
                  <a:lnTo>
                    <a:pt x="360" y="549"/>
                  </a:lnTo>
                  <a:lnTo>
                    <a:pt x="360" y="551"/>
                  </a:lnTo>
                  <a:lnTo>
                    <a:pt x="360" y="554"/>
                  </a:lnTo>
                  <a:lnTo>
                    <a:pt x="360" y="557"/>
                  </a:lnTo>
                  <a:lnTo>
                    <a:pt x="360" y="560"/>
                  </a:lnTo>
                  <a:lnTo>
                    <a:pt x="361" y="563"/>
                  </a:lnTo>
                  <a:lnTo>
                    <a:pt x="363" y="568"/>
                  </a:lnTo>
                  <a:lnTo>
                    <a:pt x="363" y="570"/>
                  </a:lnTo>
                  <a:lnTo>
                    <a:pt x="363" y="573"/>
                  </a:lnTo>
                  <a:lnTo>
                    <a:pt x="363" y="574"/>
                  </a:lnTo>
                  <a:lnTo>
                    <a:pt x="363" y="576"/>
                  </a:lnTo>
                  <a:lnTo>
                    <a:pt x="358" y="579"/>
                  </a:lnTo>
                  <a:lnTo>
                    <a:pt x="350" y="582"/>
                  </a:lnTo>
                  <a:lnTo>
                    <a:pt x="344" y="584"/>
                  </a:lnTo>
                  <a:lnTo>
                    <a:pt x="341" y="585"/>
                  </a:lnTo>
                  <a:lnTo>
                    <a:pt x="338" y="589"/>
                  </a:lnTo>
                  <a:lnTo>
                    <a:pt x="336" y="590"/>
                  </a:lnTo>
                  <a:lnTo>
                    <a:pt x="335" y="593"/>
                  </a:lnTo>
                  <a:lnTo>
                    <a:pt x="333" y="597"/>
                  </a:lnTo>
                  <a:lnTo>
                    <a:pt x="330" y="603"/>
                  </a:lnTo>
                  <a:lnTo>
                    <a:pt x="328" y="609"/>
                  </a:lnTo>
                  <a:lnTo>
                    <a:pt x="327" y="617"/>
                  </a:lnTo>
                  <a:lnTo>
                    <a:pt x="325" y="623"/>
                  </a:lnTo>
                  <a:lnTo>
                    <a:pt x="322" y="630"/>
                  </a:lnTo>
                  <a:lnTo>
                    <a:pt x="320" y="634"/>
                  </a:lnTo>
                  <a:lnTo>
                    <a:pt x="319" y="638"/>
                  </a:lnTo>
                  <a:lnTo>
                    <a:pt x="317" y="639"/>
                  </a:lnTo>
                  <a:lnTo>
                    <a:pt x="314" y="641"/>
                  </a:lnTo>
                  <a:lnTo>
                    <a:pt x="311" y="642"/>
                  </a:lnTo>
                  <a:lnTo>
                    <a:pt x="309" y="645"/>
                  </a:lnTo>
                  <a:lnTo>
                    <a:pt x="308" y="647"/>
                  </a:lnTo>
                  <a:lnTo>
                    <a:pt x="308" y="649"/>
                  </a:lnTo>
                  <a:lnTo>
                    <a:pt x="308" y="650"/>
                  </a:lnTo>
                  <a:lnTo>
                    <a:pt x="306" y="650"/>
                  </a:lnTo>
                  <a:lnTo>
                    <a:pt x="306" y="653"/>
                  </a:lnTo>
                  <a:lnTo>
                    <a:pt x="306" y="656"/>
                  </a:lnTo>
                  <a:lnTo>
                    <a:pt x="308" y="660"/>
                  </a:lnTo>
                  <a:lnTo>
                    <a:pt x="308" y="663"/>
                  </a:lnTo>
                  <a:lnTo>
                    <a:pt x="309" y="664"/>
                  </a:lnTo>
                  <a:lnTo>
                    <a:pt x="311" y="669"/>
                  </a:lnTo>
                  <a:lnTo>
                    <a:pt x="316" y="672"/>
                  </a:lnTo>
                  <a:lnTo>
                    <a:pt x="319" y="675"/>
                  </a:lnTo>
                  <a:lnTo>
                    <a:pt x="322" y="679"/>
                  </a:lnTo>
                  <a:lnTo>
                    <a:pt x="322" y="682"/>
                  </a:lnTo>
                  <a:lnTo>
                    <a:pt x="322" y="683"/>
                  </a:lnTo>
                  <a:lnTo>
                    <a:pt x="323" y="685"/>
                  </a:lnTo>
                  <a:lnTo>
                    <a:pt x="323" y="686"/>
                  </a:lnTo>
                  <a:lnTo>
                    <a:pt x="323" y="690"/>
                  </a:lnTo>
                  <a:lnTo>
                    <a:pt x="322" y="691"/>
                  </a:lnTo>
                  <a:lnTo>
                    <a:pt x="322" y="693"/>
                  </a:lnTo>
                  <a:lnTo>
                    <a:pt x="319" y="696"/>
                  </a:lnTo>
                  <a:lnTo>
                    <a:pt x="317" y="697"/>
                  </a:lnTo>
                  <a:lnTo>
                    <a:pt x="314" y="699"/>
                  </a:lnTo>
                  <a:lnTo>
                    <a:pt x="312" y="702"/>
                  </a:lnTo>
                  <a:lnTo>
                    <a:pt x="311" y="704"/>
                  </a:lnTo>
                  <a:lnTo>
                    <a:pt x="311" y="705"/>
                  </a:lnTo>
                  <a:lnTo>
                    <a:pt x="311" y="707"/>
                  </a:lnTo>
                  <a:lnTo>
                    <a:pt x="311" y="709"/>
                  </a:lnTo>
                  <a:lnTo>
                    <a:pt x="311" y="710"/>
                  </a:lnTo>
                  <a:lnTo>
                    <a:pt x="314" y="710"/>
                  </a:lnTo>
                  <a:lnTo>
                    <a:pt x="314" y="712"/>
                  </a:lnTo>
                  <a:lnTo>
                    <a:pt x="319" y="715"/>
                  </a:lnTo>
                  <a:lnTo>
                    <a:pt x="325" y="718"/>
                  </a:lnTo>
                  <a:lnTo>
                    <a:pt x="330" y="720"/>
                  </a:lnTo>
                  <a:lnTo>
                    <a:pt x="335" y="723"/>
                  </a:lnTo>
                  <a:lnTo>
                    <a:pt x="338" y="724"/>
                  </a:lnTo>
                  <a:lnTo>
                    <a:pt x="339" y="726"/>
                  </a:lnTo>
                  <a:lnTo>
                    <a:pt x="339" y="727"/>
                  </a:lnTo>
                  <a:lnTo>
                    <a:pt x="341" y="727"/>
                  </a:lnTo>
                  <a:lnTo>
                    <a:pt x="342" y="737"/>
                  </a:lnTo>
                  <a:lnTo>
                    <a:pt x="344" y="748"/>
                  </a:lnTo>
                  <a:lnTo>
                    <a:pt x="344" y="750"/>
                  </a:lnTo>
                  <a:lnTo>
                    <a:pt x="344" y="751"/>
                  </a:lnTo>
                  <a:lnTo>
                    <a:pt x="346" y="753"/>
                  </a:lnTo>
                  <a:lnTo>
                    <a:pt x="346" y="756"/>
                  </a:lnTo>
                  <a:lnTo>
                    <a:pt x="347" y="756"/>
                  </a:lnTo>
                  <a:lnTo>
                    <a:pt x="347" y="757"/>
                  </a:lnTo>
                  <a:lnTo>
                    <a:pt x="350" y="757"/>
                  </a:lnTo>
                  <a:lnTo>
                    <a:pt x="352" y="757"/>
                  </a:lnTo>
                  <a:lnTo>
                    <a:pt x="357" y="756"/>
                  </a:lnTo>
                  <a:lnTo>
                    <a:pt x="361" y="753"/>
                  </a:lnTo>
                  <a:lnTo>
                    <a:pt x="363" y="753"/>
                  </a:lnTo>
                  <a:lnTo>
                    <a:pt x="363" y="754"/>
                  </a:lnTo>
                  <a:lnTo>
                    <a:pt x="366" y="756"/>
                  </a:lnTo>
                  <a:lnTo>
                    <a:pt x="366" y="757"/>
                  </a:lnTo>
                  <a:lnTo>
                    <a:pt x="368" y="759"/>
                  </a:lnTo>
                  <a:lnTo>
                    <a:pt x="369" y="761"/>
                  </a:lnTo>
                  <a:lnTo>
                    <a:pt x="371" y="762"/>
                  </a:lnTo>
                  <a:lnTo>
                    <a:pt x="372" y="762"/>
                  </a:lnTo>
                  <a:lnTo>
                    <a:pt x="374" y="762"/>
                  </a:lnTo>
                  <a:lnTo>
                    <a:pt x="376" y="761"/>
                  </a:lnTo>
                  <a:lnTo>
                    <a:pt x="379" y="761"/>
                  </a:lnTo>
                  <a:lnTo>
                    <a:pt x="382" y="757"/>
                  </a:lnTo>
                  <a:lnTo>
                    <a:pt x="388" y="756"/>
                  </a:lnTo>
                  <a:lnTo>
                    <a:pt x="393" y="751"/>
                  </a:lnTo>
                  <a:lnTo>
                    <a:pt x="399" y="745"/>
                  </a:lnTo>
                  <a:lnTo>
                    <a:pt x="404" y="740"/>
                  </a:lnTo>
                  <a:lnTo>
                    <a:pt x="406" y="738"/>
                  </a:lnTo>
                  <a:lnTo>
                    <a:pt x="407" y="735"/>
                  </a:lnTo>
                  <a:lnTo>
                    <a:pt x="407" y="734"/>
                  </a:lnTo>
                  <a:lnTo>
                    <a:pt x="409" y="732"/>
                  </a:lnTo>
                  <a:lnTo>
                    <a:pt x="409" y="727"/>
                  </a:lnTo>
                  <a:lnTo>
                    <a:pt x="409" y="726"/>
                  </a:lnTo>
                  <a:lnTo>
                    <a:pt x="409" y="723"/>
                  </a:lnTo>
                  <a:lnTo>
                    <a:pt x="409" y="720"/>
                  </a:lnTo>
                  <a:lnTo>
                    <a:pt x="409" y="713"/>
                  </a:lnTo>
                  <a:lnTo>
                    <a:pt x="410" y="707"/>
                  </a:lnTo>
                  <a:lnTo>
                    <a:pt x="412" y="699"/>
                  </a:lnTo>
                  <a:lnTo>
                    <a:pt x="414" y="691"/>
                  </a:lnTo>
                  <a:lnTo>
                    <a:pt x="417" y="691"/>
                  </a:lnTo>
                  <a:lnTo>
                    <a:pt x="420" y="690"/>
                  </a:lnTo>
                  <a:lnTo>
                    <a:pt x="421" y="690"/>
                  </a:lnTo>
                  <a:lnTo>
                    <a:pt x="423" y="690"/>
                  </a:lnTo>
                  <a:lnTo>
                    <a:pt x="425" y="691"/>
                  </a:lnTo>
                  <a:lnTo>
                    <a:pt x="425" y="690"/>
                  </a:lnTo>
                  <a:lnTo>
                    <a:pt x="426" y="690"/>
                  </a:lnTo>
                  <a:lnTo>
                    <a:pt x="429" y="691"/>
                  </a:lnTo>
                  <a:lnTo>
                    <a:pt x="431" y="691"/>
                  </a:lnTo>
                  <a:lnTo>
                    <a:pt x="434" y="696"/>
                  </a:lnTo>
                  <a:lnTo>
                    <a:pt x="434" y="699"/>
                  </a:lnTo>
                  <a:lnTo>
                    <a:pt x="436" y="702"/>
                  </a:lnTo>
                  <a:lnTo>
                    <a:pt x="437" y="704"/>
                  </a:lnTo>
                  <a:lnTo>
                    <a:pt x="439" y="705"/>
                  </a:lnTo>
                  <a:lnTo>
                    <a:pt x="440" y="707"/>
                  </a:lnTo>
                  <a:lnTo>
                    <a:pt x="442" y="707"/>
                  </a:lnTo>
                  <a:lnTo>
                    <a:pt x="453" y="710"/>
                  </a:lnTo>
                  <a:lnTo>
                    <a:pt x="461" y="712"/>
                  </a:lnTo>
                  <a:lnTo>
                    <a:pt x="467" y="713"/>
                  </a:lnTo>
                  <a:lnTo>
                    <a:pt x="475" y="713"/>
                  </a:lnTo>
                  <a:lnTo>
                    <a:pt x="481" y="715"/>
                  </a:lnTo>
                  <a:lnTo>
                    <a:pt x="488" y="715"/>
                  </a:lnTo>
                  <a:lnTo>
                    <a:pt x="491" y="715"/>
                  </a:lnTo>
                  <a:lnTo>
                    <a:pt x="496" y="716"/>
                  </a:lnTo>
                  <a:lnTo>
                    <a:pt x="499" y="718"/>
                  </a:lnTo>
                  <a:lnTo>
                    <a:pt x="504" y="720"/>
                  </a:lnTo>
                  <a:lnTo>
                    <a:pt x="507" y="720"/>
                  </a:lnTo>
                  <a:lnTo>
                    <a:pt x="508" y="723"/>
                  </a:lnTo>
                  <a:lnTo>
                    <a:pt x="512" y="724"/>
                  </a:lnTo>
                  <a:lnTo>
                    <a:pt x="512" y="727"/>
                  </a:lnTo>
                  <a:lnTo>
                    <a:pt x="515" y="729"/>
                  </a:lnTo>
                  <a:lnTo>
                    <a:pt x="516" y="731"/>
                  </a:lnTo>
                  <a:lnTo>
                    <a:pt x="518" y="732"/>
                  </a:lnTo>
                  <a:lnTo>
                    <a:pt x="521" y="732"/>
                  </a:lnTo>
                  <a:lnTo>
                    <a:pt x="524" y="732"/>
                  </a:lnTo>
                  <a:lnTo>
                    <a:pt x="529" y="732"/>
                  </a:lnTo>
                  <a:lnTo>
                    <a:pt x="532" y="731"/>
                  </a:lnTo>
                  <a:lnTo>
                    <a:pt x="534" y="729"/>
                  </a:lnTo>
                  <a:lnTo>
                    <a:pt x="542" y="726"/>
                  </a:lnTo>
                  <a:lnTo>
                    <a:pt x="548" y="723"/>
                  </a:lnTo>
                  <a:lnTo>
                    <a:pt x="553" y="720"/>
                  </a:lnTo>
                  <a:lnTo>
                    <a:pt x="559" y="716"/>
                  </a:lnTo>
                  <a:lnTo>
                    <a:pt x="562" y="715"/>
                  </a:lnTo>
                  <a:lnTo>
                    <a:pt x="565" y="715"/>
                  </a:lnTo>
                  <a:lnTo>
                    <a:pt x="567" y="713"/>
                  </a:lnTo>
                  <a:lnTo>
                    <a:pt x="570" y="713"/>
                  </a:lnTo>
                  <a:lnTo>
                    <a:pt x="573" y="713"/>
                  </a:lnTo>
                  <a:lnTo>
                    <a:pt x="576" y="715"/>
                  </a:lnTo>
                  <a:lnTo>
                    <a:pt x="579" y="716"/>
                  </a:lnTo>
                  <a:lnTo>
                    <a:pt x="581" y="718"/>
                  </a:lnTo>
                  <a:lnTo>
                    <a:pt x="583" y="720"/>
                  </a:lnTo>
                  <a:lnTo>
                    <a:pt x="584" y="723"/>
                  </a:lnTo>
                  <a:lnTo>
                    <a:pt x="586" y="724"/>
                  </a:lnTo>
                  <a:lnTo>
                    <a:pt x="586" y="727"/>
                  </a:lnTo>
                  <a:lnTo>
                    <a:pt x="589" y="732"/>
                  </a:lnTo>
                  <a:lnTo>
                    <a:pt x="590" y="737"/>
                  </a:lnTo>
                  <a:lnTo>
                    <a:pt x="590" y="738"/>
                  </a:lnTo>
                  <a:lnTo>
                    <a:pt x="592" y="740"/>
                  </a:lnTo>
                  <a:lnTo>
                    <a:pt x="594" y="742"/>
                  </a:lnTo>
                  <a:lnTo>
                    <a:pt x="595" y="742"/>
                  </a:lnTo>
                  <a:lnTo>
                    <a:pt x="597" y="742"/>
                  </a:lnTo>
                  <a:lnTo>
                    <a:pt x="598" y="740"/>
                  </a:lnTo>
                  <a:lnTo>
                    <a:pt x="600" y="740"/>
                  </a:lnTo>
                  <a:lnTo>
                    <a:pt x="602" y="738"/>
                  </a:lnTo>
                  <a:lnTo>
                    <a:pt x="606" y="737"/>
                  </a:lnTo>
                  <a:lnTo>
                    <a:pt x="608" y="735"/>
                  </a:lnTo>
                  <a:lnTo>
                    <a:pt x="609" y="738"/>
                  </a:lnTo>
                  <a:lnTo>
                    <a:pt x="611" y="740"/>
                  </a:lnTo>
                  <a:lnTo>
                    <a:pt x="611" y="743"/>
                  </a:lnTo>
                  <a:lnTo>
                    <a:pt x="613" y="745"/>
                  </a:lnTo>
                  <a:lnTo>
                    <a:pt x="614" y="746"/>
                  </a:lnTo>
                  <a:lnTo>
                    <a:pt x="616" y="748"/>
                  </a:lnTo>
                  <a:lnTo>
                    <a:pt x="617" y="748"/>
                  </a:lnTo>
                  <a:lnTo>
                    <a:pt x="619" y="748"/>
                  </a:lnTo>
                  <a:lnTo>
                    <a:pt x="624" y="746"/>
                  </a:lnTo>
                  <a:lnTo>
                    <a:pt x="628" y="743"/>
                  </a:lnTo>
                  <a:lnTo>
                    <a:pt x="632" y="743"/>
                  </a:lnTo>
                  <a:lnTo>
                    <a:pt x="633" y="743"/>
                  </a:lnTo>
                  <a:lnTo>
                    <a:pt x="635" y="745"/>
                  </a:lnTo>
                  <a:lnTo>
                    <a:pt x="636" y="745"/>
                  </a:lnTo>
                  <a:lnTo>
                    <a:pt x="639" y="748"/>
                  </a:lnTo>
                  <a:lnTo>
                    <a:pt x="643" y="751"/>
                  </a:lnTo>
                  <a:lnTo>
                    <a:pt x="647" y="753"/>
                  </a:lnTo>
                  <a:lnTo>
                    <a:pt x="651" y="756"/>
                  </a:lnTo>
                  <a:lnTo>
                    <a:pt x="654" y="757"/>
                  </a:lnTo>
                  <a:lnTo>
                    <a:pt x="655" y="757"/>
                  </a:lnTo>
                  <a:lnTo>
                    <a:pt x="658" y="757"/>
                  </a:lnTo>
                  <a:lnTo>
                    <a:pt x="660" y="757"/>
                  </a:lnTo>
                  <a:lnTo>
                    <a:pt x="663" y="762"/>
                  </a:lnTo>
                  <a:lnTo>
                    <a:pt x="663" y="764"/>
                  </a:lnTo>
                  <a:lnTo>
                    <a:pt x="663" y="765"/>
                  </a:lnTo>
                  <a:lnTo>
                    <a:pt x="663" y="767"/>
                  </a:lnTo>
                  <a:lnTo>
                    <a:pt x="663" y="768"/>
                  </a:lnTo>
                  <a:lnTo>
                    <a:pt x="665" y="768"/>
                  </a:lnTo>
                  <a:lnTo>
                    <a:pt x="666" y="770"/>
                  </a:lnTo>
                  <a:lnTo>
                    <a:pt x="666" y="772"/>
                  </a:lnTo>
                  <a:lnTo>
                    <a:pt x="668" y="772"/>
                  </a:lnTo>
                  <a:lnTo>
                    <a:pt x="671" y="772"/>
                  </a:lnTo>
                  <a:lnTo>
                    <a:pt x="674" y="768"/>
                  </a:lnTo>
                  <a:lnTo>
                    <a:pt x="676" y="768"/>
                  </a:lnTo>
                  <a:lnTo>
                    <a:pt x="679" y="765"/>
                  </a:lnTo>
                  <a:lnTo>
                    <a:pt x="681" y="764"/>
                  </a:lnTo>
                  <a:lnTo>
                    <a:pt x="684" y="764"/>
                  </a:lnTo>
                  <a:lnTo>
                    <a:pt x="685" y="762"/>
                  </a:lnTo>
                  <a:lnTo>
                    <a:pt x="688" y="761"/>
                  </a:lnTo>
                  <a:lnTo>
                    <a:pt x="690" y="762"/>
                  </a:lnTo>
                  <a:lnTo>
                    <a:pt x="693" y="762"/>
                  </a:lnTo>
                  <a:lnTo>
                    <a:pt x="695" y="764"/>
                  </a:lnTo>
                  <a:lnTo>
                    <a:pt x="695" y="765"/>
                  </a:lnTo>
                  <a:lnTo>
                    <a:pt x="696" y="767"/>
                  </a:lnTo>
                  <a:lnTo>
                    <a:pt x="696" y="768"/>
                  </a:lnTo>
                  <a:lnTo>
                    <a:pt x="698" y="772"/>
                  </a:lnTo>
                  <a:lnTo>
                    <a:pt x="698" y="773"/>
                  </a:lnTo>
                  <a:lnTo>
                    <a:pt x="698" y="784"/>
                  </a:lnTo>
                  <a:lnTo>
                    <a:pt x="698" y="791"/>
                  </a:lnTo>
                  <a:lnTo>
                    <a:pt x="698" y="794"/>
                  </a:lnTo>
                  <a:lnTo>
                    <a:pt x="698" y="795"/>
                  </a:lnTo>
                  <a:lnTo>
                    <a:pt x="698" y="797"/>
                  </a:lnTo>
                  <a:lnTo>
                    <a:pt x="700" y="798"/>
                  </a:lnTo>
                  <a:lnTo>
                    <a:pt x="701" y="798"/>
                  </a:lnTo>
                  <a:lnTo>
                    <a:pt x="703" y="800"/>
                  </a:lnTo>
                  <a:lnTo>
                    <a:pt x="709" y="798"/>
                  </a:lnTo>
                  <a:lnTo>
                    <a:pt x="714" y="798"/>
                  </a:lnTo>
                  <a:lnTo>
                    <a:pt x="717" y="798"/>
                  </a:lnTo>
                  <a:lnTo>
                    <a:pt x="720" y="800"/>
                  </a:lnTo>
                  <a:lnTo>
                    <a:pt x="722" y="802"/>
                  </a:lnTo>
                  <a:lnTo>
                    <a:pt x="723" y="802"/>
                  </a:lnTo>
                  <a:lnTo>
                    <a:pt x="726" y="806"/>
                  </a:lnTo>
                  <a:lnTo>
                    <a:pt x="731" y="809"/>
                  </a:lnTo>
                  <a:lnTo>
                    <a:pt x="734" y="813"/>
                  </a:lnTo>
                  <a:lnTo>
                    <a:pt x="737" y="817"/>
                  </a:lnTo>
                  <a:lnTo>
                    <a:pt x="739" y="817"/>
                  </a:lnTo>
                  <a:lnTo>
                    <a:pt x="742" y="819"/>
                  </a:lnTo>
                  <a:lnTo>
                    <a:pt x="744" y="819"/>
                  </a:lnTo>
                  <a:lnTo>
                    <a:pt x="747" y="819"/>
                  </a:lnTo>
                  <a:lnTo>
                    <a:pt x="748" y="819"/>
                  </a:lnTo>
                  <a:lnTo>
                    <a:pt x="750" y="816"/>
                  </a:lnTo>
                  <a:lnTo>
                    <a:pt x="750" y="814"/>
                  </a:lnTo>
                  <a:lnTo>
                    <a:pt x="752" y="814"/>
                  </a:lnTo>
                  <a:lnTo>
                    <a:pt x="752" y="813"/>
                  </a:lnTo>
                  <a:lnTo>
                    <a:pt x="755" y="813"/>
                  </a:lnTo>
                  <a:lnTo>
                    <a:pt x="758" y="813"/>
                  </a:lnTo>
                  <a:lnTo>
                    <a:pt x="760" y="813"/>
                  </a:lnTo>
                  <a:lnTo>
                    <a:pt x="763" y="814"/>
                  </a:lnTo>
                  <a:lnTo>
                    <a:pt x="764" y="814"/>
                  </a:lnTo>
                  <a:lnTo>
                    <a:pt x="766" y="817"/>
                  </a:lnTo>
                  <a:lnTo>
                    <a:pt x="767" y="819"/>
                  </a:lnTo>
                  <a:lnTo>
                    <a:pt x="769" y="822"/>
                  </a:lnTo>
                  <a:lnTo>
                    <a:pt x="771" y="824"/>
                  </a:lnTo>
                  <a:lnTo>
                    <a:pt x="772" y="830"/>
                  </a:lnTo>
                  <a:lnTo>
                    <a:pt x="775" y="835"/>
                  </a:lnTo>
                  <a:lnTo>
                    <a:pt x="775" y="841"/>
                  </a:lnTo>
                  <a:lnTo>
                    <a:pt x="777" y="847"/>
                  </a:lnTo>
                  <a:lnTo>
                    <a:pt x="779" y="855"/>
                  </a:lnTo>
                  <a:lnTo>
                    <a:pt x="780" y="860"/>
                  </a:lnTo>
                  <a:lnTo>
                    <a:pt x="783" y="868"/>
                  </a:lnTo>
                  <a:lnTo>
                    <a:pt x="785" y="873"/>
                  </a:lnTo>
                  <a:lnTo>
                    <a:pt x="786" y="876"/>
                  </a:lnTo>
                  <a:lnTo>
                    <a:pt x="788" y="877"/>
                  </a:lnTo>
                  <a:lnTo>
                    <a:pt x="791" y="879"/>
                  </a:lnTo>
                  <a:lnTo>
                    <a:pt x="793" y="880"/>
                  </a:lnTo>
                  <a:lnTo>
                    <a:pt x="794" y="882"/>
                  </a:lnTo>
                  <a:lnTo>
                    <a:pt x="797" y="884"/>
                  </a:lnTo>
                  <a:lnTo>
                    <a:pt x="799" y="884"/>
                  </a:lnTo>
                  <a:lnTo>
                    <a:pt x="804" y="884"/>
                  </a:lnTo>
                  <a:lnTo>
                    <a:pt x="805" y="884"/>
                  </a:lnTo>
                  <a:lnTo>
                    <a:pt x="809" y="884"/>
                  </a:lnTo>
                  <a:lnTo>
                    <a:pt x="810" y="884"/>
                  </a:lnTo>
                  <a:lnTo>
                    <a:pt x="812" y="882"/>
                  </a:lnTo>
                  <a:lnTo>
                    <a:pt x="815" y="880"/>
                  </a:lnTo>
                  <a:lnTo>
                    <a:pt x="818" y="879"/>
                  </a:lnTo>
                  <a:lnTo>
                    <a:pt x="821" y="876"/>
                  </a:lnTo>
                  <a:lnTo>
                    <a:pt x="824" y="874"/>
                  </a:lnTo>
                  <a:lnTo>
                    <a:pt x="826" y="873"/>
                  </a:lnTo>
                  <a:lnTo>
                    <a:pt x="827" y="873"/>
                  </a:lnTo>
                  <a:lnTo>
                    <a:pt x="831" y="873"/>
                  </a:lnTo>
                  <a:lnTo>
                    <a:pt x="832" y="873"/>
                  </a:lnTo>
                  <a:lnTo>
                    <a:pt x="835" y="873"/>
                  </a:lnTo>
                  <a:lnTo>
                    <a:pt x="839" y="874"/>
                  </a:lnTo>
                  <a:lnTo>
                    <a:pt x="842" y="876"/>
                  </a:lnTo>
                  <a:lnTo>
                    <a:pt x="845" y="877"/>
                  </a:lnTo>
                  <a:lnTo>
                    <a:pt x="850" y="879"/>
                  </a:lnTo>
                  <a:lnTo>
                    <a:pt x="851" y="880"/>
                  </a:lnTo>
                  <a:lnTo>
                    <a:pt x="854" y="880"/>
                  </a:lnTo>
                  <a:lnTo>
                    <a:pt x="859" y="882"/>
                  </a:lnTo>
                  <a:lnTo>
                    <a:pt x="861" y="880"/>
                  </a:lnTo>
                  <a:lnTo>
                    <a:pt x="862" y="880"/>
                  </a:lnTo>
                  <a:lnTo>
                    <a:pt x="865" y="879"/>
                  </a:lnTo>
                  <a:lnTo>
                    <a:pt x="865" y="876"/>
                  </a:lnTo>
                  <a:lnTo>
                    <a:pt x="867" y="873"/>
                  </a:lnTo>
                  <a:lnTo>
                    <a:pt x="869" y="871"/>
                  </a:lnTo>
                  <a:lnTo>
                    <a:pt x="870" y="868"/>
                  </a:lnTo>
                  <a:lnTo>
                    <a:pt x="872" y="866"/>
                  </a:lnTo>
                  <a:lnTo>
                    <a:pt x="875" y="869"/>
                  </a:lnTo>
                  <a:lnTo>
                    <a:pt x="875" y="873"/>
                  </a:lnTo>
                  <a:lnTo>
                    <a:pt x="876" y="876"/>
                  </a:lnTo>
                  <a:lnTo>
                    <a:pt x="878" y="879"/>
                  </a:lnTo>
                  <a:lnTo>
                    <a:pt x="878" y="880"/>
                  </a:lnTo>
                  <a:lnTo>
                    <a:pt x="878" y="884"/>
                  </a:lnTo>
                  <a:lnTo>
                    <a:pt x="880" y="887"/>
                  </a:lnTo>
                  <a:lnTo>
                    <a:pt x="881" y="888"/>
                  </a:lnTo>
                  <a:lnTo>
                    <a:pt x="886" y="893"/>
                  </a:lnTo>
                  <a:lnTo>
                    <a:pt x="888" y="898"/>
                  </a:lnTo>
                  <a:lnTo>
                    <a:pt x="891" y="901"/>
                  </a:lnTo>
                  <a:lnTo>
                    <a:pt x="895" y="904"/>
                  </a:lnTo>
                  <a:lnTo>
                    <a:pt x="903" y="912"/>
                  </a:lnTo>
                  <a:lnTo>
                    <a:pt x="911" y="917"/>
                  </a:lnTo>
                  <a:lnTo>
                    <a:pt x="918" y="921"/>
                  </a:lnTo>
                  <a:lnTo>
                    <a:pt x="925" y="926"/>
                  </a:lnTo>
                  <a:lnTo>
                    <a:pt x="933" y="933"/>
                  </a:lnTo>
                  <a:lnTo>
                    <a:pt x="941" y="939"/>
                  </a:lnTo>
                  <a:lnTo>
                    <a:pt x="943" y="944"/>
                  </a:lnTo>
                  <a:lnTo>
                    <a:pt x="944" y="947"/>
                  </a:lnTo>
                  <a:lnTo>
                    <a:pt x="948" y="950"/>
                  </a:lnTo>
                  <a:lnTo>
                    <a:pt x="951" y="953"/>
                  </a:lnTo>
                  <a:lnTo>
                    <a:pt x="954" y="955"/>
                  </a:lnTo>
                  <a:lnTo>
                    <a:pt x="957" y="958"/>
                  </a:lnTo>
                  <a:lnTo>
                    <a:pt x="962" y="959"/>
                  </a:lnTo>
                  <a:lnTo>
                    <a:pt x="965" y="962"/>
                  </a:lnTo>
                  <a:lnTo>
                    <a:pt x="970" y="964"/>
                  </a:lnTo>
                  <a:lnTo>
                    <a:pt x="974" y="966"/>
                  </a:lnTo>
                  <a:lnTo>
                    <a:pt x="978" y="967"/>
                  </a:lnTo>
                  <a:lnTo>
                    <a:pt x="982" y="969"/>
                  </a:lnTo>
                  <a:lnTo>
                    <a:pt x="987" y="969"/>
                  </a:lnTo>
                  <a:lnTo>
                    <a:pt x="992" y="969"/>
                  </a:lnTo>
                  <a:lnTo>
                    <a:pt x="997" y="969"/>
                  </a:lnTo>
                  <a:lnTo>
                    <a:pt x="1000" y="967"/>
                  </a:lnTo>
                  <a:lnTo>
                    <a:pt x="1004" y="967"/>
                  </a:lnTo>
                  <a:lnTo>
                    <a:pt x="1008" y="966"/>
                  </a:lnTo>
                  <a:lnTo>
                    <a:pt x="1011" y="964"/>
                  </a:lnTo>
                  <a:lnTo>
                    <a:pt x="1014" y="962"/>
                  </a:lnTo>
                  <a:lnTo>
                    <a:pt x="1020" y="959"/>
                  </a:lnTo>
                  <a:lnTo>
                    <a:pt x="1027" y="955"/>
                  </a:lnTo>
                  <a:lnTo>
                    <a:pt x="1031" y="950"/>
                  </a:lnTo>
                  <a:lnTo>
                    <a:pt x="1038" y="944"/>
                  </a:lnTo>
                  <a:lnTo>
                    <a:pt x="1044" y="937"/>
                  </a:lnTo>
                  <a:lnTo>
                    <a:pt x="1049" y="931"/>
                  </a:lnTo>
                  <a:lnTo>
                    <a:pt x="1058" y="918"/>
                  </a:lnTo>
                  <a:lnTo>
                    <a:pt x="1068" y="906"/>
                  </a:lnTo>
                  <a:lnTo>
                    <a:pt x="1072" y="899"/>
                  </a:lnTo>
                  <a:lnTo>
                    <a:pt x="1077" y="893"/>
                  </a:lnTo>
                  <a:lnTo>
                    <a:pt x="1083" y="888"/>
                  </a:lnTo>
                  <a:lnTo>
                    <a:pt x="1088" y="884"/>
                  </a:lnTo>
                  <a:lnTo>
                    <a:pt x="1088" y="882"/>
                  </a:lnTo>
                  <a:lnTo>
                    <a:pt x="1087" y="880"/>
                  </a:lnTo>
                  <a:lnTo>
                    <a:pt x="1085" y="879"/>
                  </a:lnTo>
                  <a:lnTo>
                    <a:pt x="1088" y="880"/>
                  </a:lnTo>
                  <a:lnTo>
                    <a:pt x="1090" y="884"/>
                  </a:lnTo>
                  <a:lnTo>
                    <a:pt x="1090" y="885"/>
                  </a:lnTo>
                  <a:lnTo>
                    <a:pt x="1091" y="885"/>
                  </a:lnTo>
                  <a:lnTo>
                    <a:pt x="1093" y="887"/>
                  </a:lnTo>
                  <a:lnTo>
                    <a:pt x="1095" y="887"/>
                  </a:lnTo>
                  <a:lnTo>
                    <a:pt x="1098" y="887"/>
                  </a:lnTo>
                  <a:lnTo>
                    <a:pt x="1102" y="887"/>
                  </a:lnTo>
                  <a:lnTo>
                    <a:pt x="1107" y="885"/>
                  </a:lnTo>
                  <a:lnTo>
                    <a:pt x="1110" y="885"/>
                  </a:lnTo>
                  <a:lnTo>
                    <a:pt x="1113" y="885"/>
                  </a:lnTo>
                  <a:lnTo>
                    <a:pt x="1115" y="885"/>
                  </a:lnTo>
                  <a:lnTo>
                    <a:pt x="1115" y="887"/>
                  </a:lnTo>
                  <a:lnTo>
                    <a:pt x="1117" y="888"/>
                  </a:lnTo>
                  <a:lnTo>
                    <a:pt x="1118" y="891"/>
                  </a:lnTo>
                  <a:lnTo>
                    <a:pt x="1121" y="893"/>
                  </a:lnTo>
                  <a:lnTo>
                    <a:pt x="1121" y="895"/>
                  </a:lnTo>
                  <a:lnTo>
                    <a:pt x="1121" y="898"/>
                  </a:lnTo>
                  <a:lnTo>
                    <a:pt x="1123" y="901"/>
                  </a:lnTo>
                  <a:lnTo>
                    <a:pt x="1123" y="906"/>
                  </a:lnTo>
                  <a:lnTo>
                    <a:pt x="1123" y="912"/>
                  </a:lnTo>
                  <a:lnTo>
                    <a:pt x="1123" y="915"/>
                  </a:lnTo>
                  <a:lnTo>
                    <a:pt x="1123" y="917"/>
                  </a:lnTo>
                  <a:lnTo>
                    <a:pt x="1123" y="918"/>
                  </a:lnTo>
                  <a:lnTo>
                    <a:pt x="1123" y="921"/>
                  </a:lnTo>
                  <a:lnTo>
                    <a:pt x="1125" y="921"/>
                  </a:lnTo>
                  <a:lnTo>
                    <a:pt x="1123" y="923"/>
                  </a:lnTo>
                  <a:lnTo>
                    <a:pt x="1118" y="926"/>
                  </a:lnTo>
                  <a:lnTo>
                    <a:pt x="1117" y="933"/>
                  </a:lnTo>
                  <a:lnTo>
                    <a:pt x="1115" y="937"/>
                  </a:lnTo>
                  <a:lnTo>
                    <a:pt x="1110" y="947"/>
                  </a:lnTo>
                  <a:lnTo>
                    <a:pt x="1109" y="958"/>
                  </a:lnTo>
                  <a:lnTo>
                    <a:pt x="1107" y="962"/>
                  </a:lnTo>
                  <a:lnTo>
                    <a:pt x="1106" y="967"/>
                  </a:lnTo>
                  <a:lnTo>
                    <a:pt x="1102" y="972"/>
                  </a:lnTo>
                  <a:lnTo>
                    <a:pt x="1102" y="975"/>
                  </a:lnTo>
                  <a:lnTo>
                    <a:pt x="1101" y="978"/>
                  </a:lnTo>
                  <a:lnTo>
                    <a:pt x="1098" y="980"/>
                  </a:lnTo>
                  <a:lnTo>
                    <a:pt x="1096" y="981"/>
                  </a:lnTo>
                  <a:lnTo>
                    <a:pt x="1095" y="983"/>
                  </a:lnTo>
                  <a:lnTo>
                    <a:pt x="1091" y="986"/>
                  </a:lnTo>
                  <a:lnTo>
                    <a:pt x="1090" y="988"/>
                  </a:lnTo>
                  <a:lnTo>
                    <a:pt x="1090" y="989"/>
                  </a:lnTo>
                  <a:lnTo>
                    <a:pt x="1090" y="991"/>
                  </a:lnTo>
                  <a:lnTo>
                    <a:pt x="1088" y="992"/>
                  </a:lnTo>
                  <a:lnTo>
                    <a:pt x="1088" y="994"/>
                  </a:lnTo>
                  <a:lnTo>
                    <a:pt x="1090" y="996"/>
                  </a:lnTo>
                  <a:lnTo>
                    <a:pt x="1090" y="999"/>
                  </a:lnTo>
                  <a:lnTo>
                    <a:pt x="1091" y="1000"/>
                  </a:lnTo>
                  <a:lnTo>
                    <a:pt x="1095" y="1002"/>
                  </a:lnTo>
                  <a:lnTo>
                    <a:pt x="1098" y="1003"/>
                  </a:lnTo>
                  <a:lnTo>
                    <a:pt x="1102" y="1005"/>
                  </a:lnTo>
                  <a:lnTo>
                    <a:pt x="1093" y="1029"/>
                  </a:lnTo>
                  <a:lnTo>
                    <a:pt x="1095" y="1029"/>
                  </a:lnTo>
                  <a:lnTo>
                    <a:pt x="1095" y="1030"/>
                  </a:lnTo>
                  <a:lnTo>
                    <a:pt x="1096" y="1032"/>
                  </a:lnTo>
                  <a:lnTo>
                    <a:pt x="1098" y="1033"/>
                  </a:lnTo>
                  <a:lnTo>
                    <a:pt x="1099" y="1040"/>
                  </a:lnTo>
                  <a:lnTo>
                    <a:pt x="1101" y="1043"/>
                  </a:lnTo>
                  <a:lnTo>
                    <a:pt x="1102" y="1046"/>
                  </a:lnTo>
                  <a:lnTo>
                    <a:pt x="1104" y="1051"/>
                  </a:lnTo>
                  <a:lnTo>
                    <a:pt x="1106" y="1052"/>
                  </a:lnTo>
                  <a:lnTo>
                    <a:pt x="1107" y="1054"/>
                  </a:lnTo>
                  <a:lnTo>
                    <a:pt x="1109" y="1054"/>
                  </a:lnTo>
                  <a:lnTo>
                    <a:pt x="1110" y="1054"/>
                  </a:lnTo>
                  <a:lnTo>
                    <a:pt x="1113" y="1054"/>
                  </a:lnTo>
                  <a:lnTo>
                    <a:pt x="1115" y="1054"/>
                  </a:lnTo>
                  <a:lnTo>
                    <a:pt x="1117" y="1052"/>
                  </a:lnTo>
                  <a:lnTo>
                    <a:pt x="1118" y="1051"/>
                  </a:lnTo>
                  <a:lnTo>
                    <a:pt x="1121" y="1046"/>
                  </a:lnTo>
                  <a:lnTo>
                    <a:pt x="1125" y="1043"/>
                  </a:lnTo>
                  <a:lnTo>
                    <a:pt x="1129" y="1040"/>
                  </a:lnTo>
                  <a:lnTo>
                    <a:pt x="1134" y="1035"/>
                  </a:lnTo>
                  <a:lnTo>
                    <a:pt x="1136" y="1033"/>
                  </a:lnTo>
                  <a:lnTo>
                    <a:pt x="1139" y="1032"/>
                  </a:lnTo>
                  <a:lnTo>
                    <a:pt x="1142" y="1032"/>
                  </a:lnTo>
                  <a:lnTo>
                    <a:pt x="1145" y="1032"/>
                  </a:lnTo>
                  <a:lnTo>
                    <a:pt x="1150" y="1032"/>
                  </a:lnTo>
                  <a:lnTo>
                    <a:pt x="1155" y="1033"/>
                  </a:lnTo>
                  <a:lnTo>
                    <a:pt x="1159" y="1033"/>
                  </a:lnTo>
                  <a:lnTo>
                    <a:pt x="1161" y="1033"/>
                  </a:lnTo>
                  <a:lnTo>
                    <a:pt x="1164" y="1035"/>
                  </a:lnTo>
                  <a:lnTo>
                    <a:pt x="1167" y="1035"/>
                  </a:lnTo>
                  <a:lnTo>
                    <a:pt x="1170" y="1035"/>
                  </a:lnTo>
                  <a:lnTo>
                    <a:pt x="1173" y="1033"/>
                  </a:lnTo>
                  <a:lnTo>
                    <a:pt x="1175" y="1033"/>
                  </a:lnTo>
                  <a:lnTo>
                    <a:pt x="1177" y="1033"/>
                  </a:lnTo>
                  <a:lnTo>
                    <a:pt x="1181" y="1032"/>
                  </a:lnTo>
                  <a:lnTo>
                    <a:pt x="1186" y="1029"/>
                  </a:lnTo>
                  <a:lnTo>
                    <a:pt x="1186" y="1032"/>
                  </a:lnTo>
                  <a:lnTo>
                    <a:pt x="1186" y="1035"/>
                  </a:lnTo>
                  <a:lnTo>
                    <a:pt x="1188" y="1038"/>
                  </a:lnTo>
                  <a:lnTo>
                    <a:pt x="1188" y="1041"/>
                  </a:lnTo>
                  <a:lnTo>
                    <a:pt x="1189" y="1043"/>
                  </a:lnTo>
                  <a:lnTo>
                    <a:pt x="1191" y="1044"/>
                  </a:lnTo>
                  <a:lnTo>
                    <a:pt x="1192" y="1046"/>
                  </a:lnTo>
                  <a:lnTo>
                    <a:pt x="1194" y="1046"/>
                  </a:lnTo>
                  <a:lnTo>
                    <a:pt x="1196" y="1046"/>
                  </a:lnTo>
                  <a:lnTo>
                    <a:pt x="1197" y="1046"/>
                  </a:lnTo>
                  <a:lnTo>
                    <a:pt x="1199" y="1046"/>
                  </a:lnTo>
                  <a:lnTo>
                    <a:pt x="1200" y="1046"/>
                  </a:lnTo>
                  <a:lnTo>
                    <a:pt x="1202" y="1044"/>
                  </a:lnTo>
                  <a:lnTo>
                    <a:pt x="1205" y="1043"/>
                  </a:lnTo>
                  <a:lnTo>
                    <a:pt x="1207" y="1041"/>
                  </a:lnTo>
                  <a:lnTo>
                    <a:pt x="1210" y="1040"/>
                  </a:lnTo>
                  <a:lnTo>
                    <a:pt x="1213" y="1037"/>
                  </a:lnTo>
                  <a:lnTo>
                    <a:pt x="1215" y="1037"/>
                  </a:lnTo>
                  <a:lnTo>
                    <a:pt x="1216" y="1037"/>
                  </a:lnTo>
                  <a:lnTo>
                    <a:pt x="1218" y="1035"/>
                  </a:lnTo>
                  <a:lnTo>
                    <a:pt x="1219" y="1035"/>
                  </a:lnTo>
                  <a:lnTo>
                    <a:pt x="1222" y="1035"/>
                  </a:lnTo>
                  <a:lnTo>
                    <a:pt x="1226" y="1035"/>
                  </a:lnTo>
                  <a:lnTo>
                    <a:pt x="1227" y="1035"/>
                  </a:lnTo>
                  <a:lnTo>
                    <a:pt x="1229" y="1035"/>
                  </a:lnTo>
                  <a:lnTo>
                    <a:pt x="1230" y="1033"/>
                  </a:lnTo>
                  <a:lnTo>
                    <a:pt x="1232" y="1033"/>
                  </a:lnTo>
                  <a:lnTo>
                    <a:pt x="1234" y="1032"/>
                  </a:lnTo>
                  <a:lnTo>
                    <a:pt x="1237" y="1030"/>
                  </a:lnTo>
                  <a:lnTo>
                    <a:pt x="1237" y="1029"/>
                  </a:lnTo>
                  <a:lnTo>
                    <a:pt x="1237" y="1026"/>
                  </a:lnTo>
                  <a:lnTo>
                    <a:pt x="1237" y="1021"/>
                  </a:lnTo>
                  <a:lnTo>
                    <a:pt x="1237" y="1018"/>
                  </a:lnTo>
                  <a:lnTo>
                    <a:pt x="1237" y="1015"/>
                  </a:lnTo>
                  <a:lnTo>
                    <a:pt x="1235" y="1011"/>
                  </a:lnTo>
                  <a:lnTo>
                    <a:pt x="1234" y="1008"/>
                  </a:lnTo>
                  <a:lnTo>
                    <a:pt x="1234" y="1005"/>
                  </a:lnTo>
                  <a:lnTo>
                    <a:pt x="1234" y="1002"/>
                  </a:lnTo>
                  <a:lnTo>
                    <a:pt x="1234" y="999"/>
                  </a:lnTo>
                  <a:lnTo>
                    <a:pt x="1234" y="997"/>
                  </a:lnTo>
                  <a:lnTo>
                    <a:pt x="1234" y="996"/>
                  </a:lnTo>
                  <a:lnTo>
                    <a:pt x="1235" y="996"/>
                  </a:lnTo>
                  <a:lnTo>
                    <a:pt x="1237" y="996"/>
                  </a:lnTo>
                  <a:lnTo>
                    <a:pt x="1238" y="996"/>
                  </a:lnTo>
                  <a:lnTo>
                    <a:pt x="1243" y="997"/>
                  </a:lnTo>
                  <a:lnTo>
                    <a:pt x="1246" y="999"/>
                  </a:lnTo>
                  <a:lnTo>
                    <a:pt x="1249" y="999"/>
                  </a:lnTo>
                  <a:lnTo>
                    <a:pt x="1251" y="999"/>
                  </a:lnTo>
                  <a:lnTo>
                    <a:pt x="1252" y="999"/>
                  </a:lnTo>
                  <a:lnTo>
                    <a:pt x="1256" y="999"/>
                  </a:lnTo>
                  <a:lnTo>
                    <a:pt x="1267" y="997"/>
                  </a:lnTo>
                  <a:lnTo>
                    <a:pt x="1279" y="997"/>
                  </a:lnTo>
                  <a:lnTo>
                    <a:pt x="1283" y="997"/>
                  </a:lnTo>
                  <a:lnTo>
                    <a:pt x="1284" y="999"/>
                  </a:lnTo>
                  <a:lnTo>
                    <a:pt x="1287" y="999"/>
                  </a:lnTo>
                  <a:lnTo>
                    <a:pt x="1290" y="1000"/>
                  </a:lnTo>
                  <a:lnTo>
                    <a:pt x="1290" y="1003"/>
                  </a:lnTo>
                  <a:lnTo>
                    <a:pt x="1292" y="1007"/>
                  </a:lnTo>
                  <a:lnTo>
                    <a:pt x="1292" y="1008"/>
                  </a:lnTo>
                  <a:lnTo>
                    <a:pt x="1292" y="1013"/>
                  </a:lnTo>
                  <a:lnTo>
                    <a:pt x="1292" y="1016"/>
                  </a:lnTo>
                  <a:lnTo>
                    <a:pt x="1294" y="1021"/>
                  </a:lnTo>
                  <a:lnTo>
                    <a:pt x="1294" y="1024"/>
                  </a:lnTo>
                  <a:lnTo>
                    <a:pt x="1295" y="1024"/>
                  </a:lnTo>
                  <a:lnTo>
                    <a:pt x="1295" y="1026"/>
                  </a:lnTo>
                  <a:lnTo>
                    <a:pt x="1297" y="1026"/>
                  </a:lnTo>
                  <a:lnTo>
                    <a:pt x="1300" y="1026"/>
                  </a:lnTo>
                  <a:lnTo>
                    <a:pt x="1301" y="1026"/>
                  </a:lnTo>
                  <a:lnTo>
                    <a:pt x="1305" y="1026"/>
                  </a:lnTo>
                  <a:lnTo>
                    <a:pt x="1306" y="1026"/>
                  </a:lnTo>
                  <a:lnTo>
                    <a:pt x="1308" y="1026"/>
                  </a:lnTo>
                  <a:lnTo>
                    <a:pt x="1311" y="1029"/>
                  </a:lnTo>
                  <a:lnTo>
                    <a:pt x="1313" y="1029"/>
                  </a:lnTo>
                  <a:lnTo>
                    <a:pt x="1316" y="1032"/>
                  </a:lnTo>
                  <a:lnTo>
                    <a:pt x="1319" y="1037"/>
                  </a:lnTo>
                  <a:lnTo>
                    <a:pt x="1322" y="1040"/>
                  </a:lnTo>
                  <a:lnTo>
                    <a:pt x="1327" y="1043"/>
                  </a:lnTo>
                  <a:lnTo>
                    <a:pt x="1328" y="1044"/>
                  </a:lnTo>
                  <a:lnTo>
                    <a:pt x="1331" y="1046"/>
                  </a:lnTo>
                  <a:lnTo>
                    <a:pt x="1335" y="1046"/>
                  </a:lnTo>
                  <a:lnTo>
                    <a:pt x="1338" y="1046"/>
                  </a:lnTo>
                  <a:lnTo>
                    <a:pt x="1350" y="1046"/>
                  </a:lnTo>
                  <a:lnTo>
                    <a:pt x="1362" y="1046"/>
                  </a:lnTo>
                  <a:lnTo>
                    <a:pt x="1374" y="1046"/>
                  </a:lnTo>
                  <a:lnTo>
                    <a:pt x="1388" y="1046"/>
                  </a:lnTo>
                  <a:lnTo>
                    <a:pt x="1392" y="1046"/>
                  </a:lnTo>
                  <a:lnTo>
                    <a:pt x="1395" y="1046"/>
                  </a:lnTo>
                  <a:lnTo>
                    <a:pt x="1398" y="1044"/>
                  </a:lnTo>
                  <a:lnTo>
                    <a:pt x="1399" y="1043"/>
                  </a:lnTo>
                  <a:lnTo>
                    <a:pt x="1403" y="1041"/>
                  </a:lnTo>
                  <a:lnTo>
                    <a:pt x="1406" y="1041"/>
                  </a:lnTo>
                  <a:lnTo>
                    <a:pt x="1407" y="1040"/>
                  </a:lnTo>
                  <a:lnTo>
                    <a:pt x="1410" y="1040"/>
                  </a:lnTo>
                  <a:lnTo>
                    <a:pt x="1414" y="1040"/>
                  </a:lnTo>
                  <a:lnTo>
                    <a:pt x="1418" y="1040"/>
                  </a:lnTo>
                  <a:lnTo>
                    <a:pt x="1420" y="1040"/>
                  </a:lnTo>
                  <a:lnTo>
                    <a:pt x="1425" y="1041"/>
                  </a:lnTo>
                  <a:lnTo>
                    <a:pt x="1431" y="1043"/>
                  </a:lnTo>
                  <a:lnTo>
                    <a:pt x="1436" y="1046"/>
                  </a:lnTo>
                  <a:lnTo>
                    <a:pt x="1445" y="1052"/>
                  </a:lnTo>
                  <a:lnTo>
                    <a:pt x="1456" y="1059"/>
                  </a:lnTo>
                  <a:lnTo>
                    <a:pt x="1463" y="1062"/>
                  </a:lnTo>
                  <a:lnTo>
                    <a:pt x="1467" y="1065"/>
                  </a:lnTo>
                  <a:lnTo>
                    <a:pt x="1474" y="1067"/>
                  </a:lnTo>
                  <a:lnTo>
                    <a:pt x="1482" y="1068"/>
                  </a:lnTo>
                  <a:lnTo>
                    <a:pt x="1485" y="1070"/>
                  </a:lnTo>
                  <a:lnTo>
                    <a:pt x="1488" y="1070"/>
                  </a:lnTo>
                  <a:lnTo>
                    <a:pt x="1493" y="1070"/>
                  </a:lnTo>
                  <a:lnTo>
                    <a:pt x="1496" y="1070"/>
                  </a:lnTo>
                  <a:lnTo>
                    <a:pt x="1501" y="1070"/>
                  </a:lnTo>
                  <a:lnTo>
                    <a:pt x="1505" y="1070"/>
                  </a:lnTo>
                  <a:lnTo>
                    <a:pt x="1510" y="1068"/>
                  </a:lnTo>
                  <a:lnTo>
                    <a:pt x="1515" y="1067"/>
                  </a:lnTo>
                  <a:lnTo>
                    <a:pt x="1523" y="1044"/>
                  </a:lnTo>
                  <a:lnTo>
                    <a:pt x="1523" y="1041"/>
                  </a:lnTo>
                  <a:lnTo>
                    <a:pt x="1524" y="1041"/>
                  </a:lnTo>
                  <a:lnTo>
                    <a:pt x="1524" y="1040"/>
                  </a:lnTo>
                  <a:lnTo>
                    <a:pt x="1526" y="1037"/>
                  </a:lnTo>
                  <a:lnTo>
                    <a:pt x="1527" y="1032"/>
                  </a:lnTo>
                  <a:lnTo>
                    <a:pt x="1531" y="1029"/>
                  </a:lnTo>
                  <a:lnTo>
                    <a:pt x="1534" y="1026"/>
                  </a:lnTo>
                  <a:lnTo>
                    <a:pt x="1535" y="1021"/>
                  </a:lnTo>
                  <a:lnTo>
                    <a:pt x="1538" y="1019"/>
                  </a:lnTo>
                  <a:lnTo>
                    <a:pt x="1540" y="1015"/>
                  </a:lnTo>
                  <a:lnTo>
                    <a:pt x="1543" y="1003"/>
                  </a:lnTo>
                  <a:lnTo>
                    <a:pt x="1546" y="992"/>
                  </a:lnTo>
                  <a:lnTo>
                    <a:pt x="1548" y="983"/>
                  </a:lnTo>
                  <a:lnTo>
                    <a:pt x="1551" y="972"/>
                  </a:lnTo>
                  <a:lnTo>
                    <a:pt x="1554" y="962"/>
                  </a:lnTo>
                  <a:lnTo>
                    <a:pt x="1557" y="955"/>
                  </a:lnTo>
                  <a:lnTo>
                    <a:pt x="1559" y="950"/>
                  </a:lnTo>
                  <a:lnTo>
                    <a:pt x="1562" y="945"/>
                  </a:lnTo>
                  <a:lnTo>
                    <a:pt x="1565" y="940"/>
                  </a:lnTo>
                  <a:lnTo>
                    <a:pt x="1568" y="936"/>
                  </a:lnTo>
                  <a:lnTo>
                    <a:pt x="1575" y="929"/>
                  </a:lnTo>
                  <a:lnTo>
                    <a:pt x="1584" y="918"/>
                  </a:lnTo>
                  <a:lnTo>
                    <a:pt x="1589" y="914"/>
                  </a:lnTo>
                  <a:lnTo>
                    <a:pt x="1592" y="910"/>
                  </a:lnTo>
                  <a:lnTo>
                    <a:pt x="1594" y="907"/>
                  </a:lnTo>
                  <a:lnTo>
                    <a:pt x="1595" y="906"/>
                  </a:lnTo>
                  <a:lnTo>
                    <a:pt x="1597" y="904"/>
                  </a:lnTo>
                  <a:lnTo>
                    <a:pt x="1597" y="903"/>
                  </a:lnTo>
                  <a:lnTo>
                    <a:pt x="1599" y="893"/>
                  </a:lnTo>
                  <a:lnTo>
                    <a:pt x="1602" y="882"/>
                  </a:lnTo>
                  <a:lnTo>
                    <a:pt x="1602" y="876"/>
                  </a:lnTo>
                  <a:lnTo>
                    <a:pt x="1605" y="871"/>
                  </a:lnTo>
                  <a:lnTo>
                    <a:pt x="1606" y="868"/>
                  </a:lnTo>
                  <a:lnTo>
                    <a:pt x="1608" y="863"/>
                  </a:lnTo>
                  <a:lnTo>
                    <a:pt x="1611" y="858"/>
                  </a:lnTo>
                  <a:lnTo>
                    <a:pt x="1614" y="854"/>
                  </a:lnTo>
                  <a:lnTo>
                    <a:pt x="1617" y="850"/>
                  </a:lnTo>
                  <a:lnTo>
                    <a:pt x="1621" y="847"/>
                  </a:lnTo>
                  <a:lnTo>
                    <a:pt x="1624" y="846"/>
                  </a:lnTo>
                  <a:lnTo>
                    <a:pt x="1629" y="844"/>
                  </a:lnTo>
                  <a:lnTo>
                    <a:pt x="1633" y="843"/>
                  </a:lnTo>
                  <a:lnTo>
                    <a:pt x="1638" y="843"/>
                  </a:lnTo>
                  <a:lnTo>
                    <a:pt x="1640" y="843"/>
                  </a:lnTo>
                  <a:lnTo>
                    <a:pt x="1641" y="843"/>
                  </a:lnTo>
                  <a:lnTo>
                    <a:pt x="1643" y="843"/>
                  </a:lnTo>
                  <a:lnTo>
                    <a:pt x="1647" y="843"/>
                  </a:lnTo>
                  <a:lnTo>
                    <a:pt x="1647" y="844"/>
                  </a:lnTo>
                  <a:lnTo>
                    <a:pt x="1649" y="847"/>
                  </a:lnTo>
                  <a:lnTo>
                    <a:pt x="1649" y="849"/>
                  </a:lnTo>
                  <a:lnTo>
                    <a:pt x="1649" y="850"/>
                  </a:lnTo>
                  <a:lnTo>
                    <a:pt x="1651" y="852"/>
                  </a:lnTo>
                  <a:lnTo>
                    <a:pt x="1655" y="852"/>
                  </a:lnTo>
                  <a:lnTo>
                    <a:pt x="1662" y="850"/>
                  </a:lnTo>
                  <a:lnTo>
                    <a:pt x="1665" y="849"/>
                  </a:lnTo>
                  <a:lnTo>
                    <a:pt x="1668" y="847"/>
                  </a:lnTo>
                  <a:lnTo>
                    <a:pt x="1673" y="844"/>
                  </a:lnTo>
                  <a:lnTo>
                    <a:pt x="1676" y="843"/>
                  </a:lnTo>
                  <a:lnTo>
                    <a:pt x="1679" y="839"/>
                  </a:lnTo>
                  <a:lnTo>
                    <a:pt x="1684" y="838"/>
                  </a:lnTo>
                  <a:lnTo>
                    <a:pt x="1692" y="830"/>
                  </a:lnTo>
                  <a:lnTo>
                    <a:pt x="1698" y="825"/>
                  </a:lnTo>
                  <a:lnTo>
                    <a:pt x="1703" y="822"/>
                  </a:lnTo>
                  <a:lnTo>
                    <a:pt x="1708" y="819"/>
                  </a:lnTo>
                  <a:lnTo>
                    <a:pt x="1711" y="817"/>
                  </a:lnTo>
                  <a:lnTo>
                    <a:pt x="1717" y="817"/>
                  </a:lnTo>
                  <a:lnTo>
                    <a:pt x="1723" y="814"/>
                  </a:lnTo>
                  <a:lnTo>
                    <a:pt x="1728" y="811"/>
                  </a:lnTo>
                  <a:lnTo>
                    <a:pt x="1734" y="808"/>
                  </a:lnTo>
                  <a:lnTo>
                    <a:pt x="1739" y="805"/>
                  </a:lnTo>
                  <a:lnTo>
                    <a:pt x="1750" y="798"/>
                  </a:lnTo>
                  <a:lnTo>
                    <a:pt x="1760" y="794"/>
                  </a:lnTo>
                  <a:lnTo>
                    <a:pt x="1771" y="786"/>
                  </a:lnTo>
                  <a:lnTo>
                    <a:pt x="1782" y="781"/>
                  </a:lnTo>
                  <a:lnTo>
                    <a:pt x="1788" y="778"/>
                  </a:lnTo>
                  <a:lnTo>
                    <a:pt x="1794" y="775"/>
                  </a:lnTo>
                  <a:lnTo>
                    <a:pt x="1801" y="772"/>
                  </a:lnTo>
                  <a:lnTo>
                    <a:pt x="1809" y="768"/>
                  </a:lnTo>
                  <a:lnTo>
                    <a:pt x="1818" y="765"/>
                  </a:lnTo>
                  <a:lnTo>
                    <a:pt x="1831" y="761"/>
                  </a:lnTo>
                  <a:lnTo>
                    <a:pt x="1835" y="759"/>
                  </a:lnTo>
                  <a:lnTo>
                    <a:pt x="1842" y="756"/>
                  </a:lnTo>
                  <a:lnTo>
                    <a:pt x="1848" y="753"/>
                  </a:lnTo>
                  <a:lnTo>
                    <a:pt x="1856" y="750"/>
                  </a:lnTo>
                  <a:lnTo>
                    <a:pt x="1861" y="745"/>
                  </a:lnTo>
                  <a:lnTo>
                    <a:pt x="1867" y="742"/>
                  </a:lnTo>
                  <a:lnTo>
                    <a:pt x="1872" y="737"/>
                  </a:lnTo>
                  <a:lnTo>
                    <a:pt x="1877" y="732"/>
                  </a:lnTo>
                  <a:lnTo>
                    <a:pt x="1878" y="731"/>
                  </a:lnTo>
                  <a:lnTo>
                    <a:pt x="1880" y="727"/>
                  </a:lnTo>
                  <a:lnTo>
                    <a:pt x="1881" y="724"/>
                  </a:lnTo>
                  <a:lnTo>
                    <a:pt x="1883" y="721"/>
                  </a:lnTo>
                  <a:lnTo>
                    <a:pt x="1884" y="720"/>
                  </a:lnTo>
                  <a:lnTo>
                    <a:pt x="1884" y="715"/>
                  </a:lnTo>
                  <a:lnTo>
                    <a:pt x="1884" y="712"/>
                  </a:lnTo>
                  <a:lnTo>
                    <a:pt x="1884" y="710"/>
                  </a:lnTo>
                  <a:lnTo>
                    <a:pt x="1884" y="707"/>
                  </a:lnTo>
                  <a:lnTo>
                    <a:pt x="1884" y="705"/>
                  </a:lnTo>
                  <a:lnTo>
                    <a:pt x="1884" y="704"/>
                  </a:lnTo>
                  <a:lnTo>
                    <a:pt x="1883" y="702"/>
                  </a:lnTo>
                  <a:lnTo>
                    <a:pt x="1881" y="699"/>
                  </a:lnTo>
                  <a:lnTo>
                    <a:pt x="1878" y="696"/>
                  </a:lnTo>
                  <a:lnTo>
                    <a:pt x="1877" y="693"/>
                  </a:lnTo>
                  <a:lnTo>
                    <a:pt x="1873" y="691"/>
                  </a:lnTo>
                  <a:lnTo>
                    <a:pt x="1873" y="690"/>
                  </a:lnTo>
                  <a:lnTo>
                    <a:pt x="1873" y="688"/>
                  </a:lnTo>
                  <a:lnTo>
                    <a:pt x="1872" y="686"/>
                  </a:lnTo>
                  <a:lnTo>
                    <a:pt x="1872" y="685"/>
                  </a:lnTo>
                  <a:lnTo>
                    <a:pt x="1872" y="682"/>
                  </a:lnTo>
                  <a:lnTo>
                    <a:pt x="1873" y="680"/>
                  </a:lnTo>
                  <a:lnTo>
                    <a:pt x="1873" y="679"/>
                  </a:lnTo>
                  <a:lnTo>
                    <a:pt x="1873" y="677"/>
                  </a:lnTo>
                  <a:lnTo>
                    <a:pt x="1877" y="674"/>
                  </a:lnTo>
                  <a:lnTo>
                    <a:pt x="1878" y="669"/>
                  </a:lnTo>
                  <a:lnTo>
                    <a:pt x="1881" y="666"/>
                  </a:lnTo>
                  <a:lnTo>
                    <a:pt x="1884" y="664"/>
                  </a:lnTo>
                  <a:lnTo>
                    <a:pt x="1886" y="663"/>
                  </a:lnTo>
                  <a:lnTo>
                    <a:pt x="1886" y="661"/>
                  </a:lnTo>
                  <a:lnTo>
                    <a:pt x="1888" y="658"/>
                  </a:lnTo>
                  <a:lnTo>
                    <a:pt x="1889" y="656"/>
                  </a:lnTo>
                  <a:lnTo>
                    <a:pt x="1891" y="653"/>
                  </a:lnTo>
                  <a:lnTo>
                    <a:pt x="1891" y="650"/>
                  </a:lnTo>
                  <a:lnTo>
                    <a:pt x="1892" y="649"/>
                  </a:lnTo>
                  <a:lnTo>
                    <a:pt x="1892" y="644"/>
                  </a:lnTo>
                  <a:lnTo>
                    <a:pt x="1892" y="641"/>
                  </a:lnTo>
                  <a:lnTo>
                    <a:pt x="1891" y="638"/>
                  </a:lnTo>
                  <a:lnTo>
                    <a:pt x="1891" y="636"/>
                  </a:lnTo>
                  <a:lnTo>
                    <a:pt x="1889" y="633"/>
                  </a:lnTo>
                  <a:lnTo>
                    <a:pt x="1888" y="628"/>
                  </a:lnTo>
                  <a:lnTo>
                    <a:pt x="1884" y="623"/>
                  </a:lnTo>
                  <a:lnTo>
                    <a:pt x="1881" y="620"/>
                  </a:lnTo>
                  <a:lnTo>
                    <a:pt x="1880" y="615"/>
                  </a:lnTo>
                  <a:lnTo>
                    <a:pt x="1878" y="612"/>
                  </a:lnTo>
                  <a:lnTo>
                    <a:pt x="1878" y="611"/>
                  </a:lnTo>
                  <a:lnTo>
                    <a:pt x="1878" y="609"/>
                  </a:lnTo>
                  <a:lnTo>
                    <a:pt x="1877" y="606"/>
                  </a:lnTo>
                  <a:lnTo>
                    <a:pt x="1878" y="604"/>
                  </a:lnTo>
                  <a:lnTo>
                    <a:pt x="1878" y="603"/>
                  </a:lnTo>
                  <a:lnTo>
                    <a:pt x="1878" y="600"/>
                  </a:lnTo>
                  <a:lnTo>
                    <a:pt x="1880" y="598"/>
                  </a:lnTo>
                  <a:lnTo>
                    <a:pt x="1881" y="595"/>
                  </a:lnTo>
                  <a:lnTo>
                    <a:pt x="1886" y="592"/>
                  </a:lnTo>
                  <a:lnTo>
                    <a:pt x="1889" y="587"/>
                  </a:lnTo>
                  <a:lnTo>
                    <a:pt x="1892" y="584"/>
                  </a:lnTo>
                  <a:lnTo>
                    <a:pt x="1896" y="581"/>
                  </a:lnTo>
                  <a:lnTo>
                    <a:pt x="1897" y="576"/>
                  </a:lnTo>
                  <a:lnTo>
                    <a:pt x="1897" y="573"/>
                  </a:lnTo>
                  <a:lnTo>
                    <a:pt x="1894" y="570"/>
                  </a:lnTo>
                  <a:lnTo>
                    <a:pt x="1892" y="565"/>
                  </a:lnTo>
                  <a:lnTo>
                    <a:pt x="1891" y="562"/>
                  </a:lnTo>
                  <a:lnTo>
                    <a:pt x="1886" y="557"/>
                  </a:lnTo>
                  <a:lnTo>
                    <a:pt x="1883" y="552"/>
                  </a:lnTo>
                  <a:lnTo>
                    <a:pt x="1878" y="549"/>
                  </a:lnTo>
                  <a:lnTo>
                    <a:pt x="1873" y="544"/>
                  </a:lnTo>
                  <a:lnTo>
                    <a:pt x="1861" y="537"/>
                  </a:lnTo>
                  <a:lnTo>
                    <a:pt x="1850" y="530"/>
                  </a:lnTo>
                  <a:lnTo>
                    <a:pt x="1837" y="522"/>
                  </a:lnTo>
                  <a:lnTo>
                    <a:pt x="1826" y="516"/>
                  </a:lnTo>
                  <a:lnTo>
                    <a:pt x="1820" y="513"/>
                  </a:lnTo>
                  <a:lnTo>
                    <a:pt x="1815" y="508"/>
                  </a:lnTo>
                  <a:lnTo>
                    <a:pt x="1810" y="503"/>
                  </a:lnTo>
                  <a:lnTo>
                    <a:pt x="1805" y="497"/>
                  </a:lnTo>
                  <a:lnTo>
                    <a:pt x="1804" y="497"/>
                  </a:lnTo>
                  <a:lnTo>
                    <a:pt x="1799" y="497"/>
                  </a:lnTo>
                  <a:lnTo>
                    <a:pt x="1798" y="499"/>
                  </a:lnTo>
                  <a:lnTo>
                    <a:pt x="1793" y="500"/>
                  </a:lnTo>
                  <a:lnTo>
                    <a:pt x="1788" y="502"/>
                  </a:lnTo>
                  <a:lnTo>
                    <a:pt x="1782" y="503"/>
                  </a:lnTo>
                  <a:lnTo>
                    <a:pt x="1779" y="505"/>
                  </a:lnTo>
                  <a:lnTo>
                    <a:pt x="1779" y="507"/>
                  </a:lnTo>
                  <a:lnTo>
                    <a:pt x="1777" y="508"/>
                  </a:lnTo>
                  <a:lnTo>
                    <a:pt x="1777" y="510"/>
                  </a:lnTo>
                  <a:lnTo>
                    <a:pt x="1777" y="515"/>
                  </a:lnTo>
                  <a:lnTo>
                    <a:pt x="1779" y="519"/>
                  </a:lnTo>
                  <a:lnTo>
                    <a:pt x="1779" y="526"/>
                  </a:lnTo>
                  <a:lnTo>
                    <a:pt x="1782" y="530"/>
                  </a:lnTo>
                  <a:lnTo>
                    <a:pt x="1782" y="532"/>
                  </a:lnTo>
                  <a:lnTo>
                    <a:pt x="1782" y="533"/>
                  </a:lnTo>
                  <a:lnTo>
                    <a:pt x="1782" y="535"/>
                  </a:lnTo>
                  <a:lnTo>
                    <a:pt x="1780" y="537"/>
                  </a:lnTo>
                  <a:lnTo>
                    <a:pt x="1779" y="538"/>
                  </a:lnTo>
                  <a:lnTo>
                    <a:pt x="1782" y="549"/>
                  </a:lnTo>
                  <a:lnTo>
                    <a:pt x="1782" y="557"/>
                  </a:lnTo>
                  <a:lnTo>
                    <a:pt x="1782" y="560"/>
                  </a:lnTo>
                  <a:lnTo>
                    <a:pt x="1782" y="563"/>
                  </a:lnTo>
                  <a:lnTo>
                    <a:pt x="1782" y="565"/>
                  </a:lnTo>
                  <a:lnTo>
                    <a:pt x="1780" y="567"/>
                  </a:lnTo>
                  <a:lnTo>
                    <a:pt x="1779" y="568"/>
                  </a:lnTo>
                  <a:lnTo>
                    <a:pt x="1779" y="570"/>
                  </a:lnTo>
                  <a:lnTo>
                    <a:pt x="1777" y="570"/>
                  </a:lnTo>
                  <a:lnTo>
                    <a:pt x="1775" y="571"/>
                  </a:lnTo>
                  <a:lnTo>
                    <a:pt x="1772" y="571"/>
                  </a:lnTo>
                  <a:lnTo>
                    <a:pt x="1769" y="571"/>
                  </a:lnTo>
                  <a:lnTo>
                    <a:pt x="1761" y="570"/>
                  </a:lnTo>
                  <a:lnTo>
                    <a:pt x="1753" y="567"/>
                  </a:lnTo>
                  <a:lnTo>
                    <a:pt x="1750" y="567"/>
                  </a:lnTo>
                  <a:lnTo>
                    <a:pt x="1747" y="567"/>
                  </a:lnTo>
                  <a:lnTo>
                    <a:pt x="1745" y="567"/>
                  </a:lnTo>
                  <a:lnTo>
                    <a:pt x="1744" y="567"/>
                  </a:lnTo>
                  <a:lnTo>
                    <a:pt x="1742" y="568"/>
                  </a:lnTo>
                  <a:lnTo>
                    <a:pt x="1742" y="570"/>
                  </a:lnTo>
                  <a:lnTo>
                    <a:pt x="1742" y="571"/>
                  </a:lnTo>
                  <a:lnTo>
                    <a:pt x="1742" y="574"/>
                  </a:lnTo>
                  <a:lnTo>
                    <a:pt x="1742" y="576"/>
                  </a:lnTo>
                  <a:lnTo>
                    <a:pt x="1742" y="579"/>
                  </a:lnTo>
                  <a:lnTo>
                    <a:pt x="1742" y="582"/>
                  </a:lnTo>
                  <a:lnTo>
                    <a:pt x="1741" y="587"/>
                  </a:lnTo>
                  <a:lnTo>
                    <a:pt x="1739" y="590"/>
                  </a:lnTo>
                  <a:lnTo>
                    <a:pt x="1738" y="593"/>
                  </a:lnTo>
                  <a:lnTo>
                    <a:pt x="1734" y="597"/>
                  </a:lnTo>
                  <a:lnTo>
                    <a:pt x="1731" y="598"/>
                  </a:lnTo>
                  <a:lnTo>
                    <a:pt x="1728" y="600"/>
                  </a:lnTo>
                  <a:lnTo>
                    <a:pt x="1726" y="600"/>
                  </a:lnTo>
                  <a:lnTo>
                    <a:pt x="1725" y="600"/>
                  </a:lnTo>
                  <a:lnTo>
                    <a:pt x="1723" y="598"/>
                  </a:lnTo>
                  <a:lnTo>
                    <a:pt x="1722" y="597"/>
                  </a:lnTo>
                  <a:lnTo>
                    <a:pt x="1720" y="597"/>
                  </a:lnTo>
                  <a:lnTo>
                    <a:pt x="1720" y="595"/>
                  </a:lnTo>
                  <a:lnTo>
                    <a:pt x="1719" y="592"/>
                  </a:lnTo>
                  <a:lnTo>
                    <a:pt x="1719" y="590"/>
                  </a:lnTo>
                  <a:lnTo>
                    <a:pt x="1717" y="587"/>
                  </a:lnTo>
                  <a:lnTo>
                    <a:pt x="1717" y="584"/>
                  </a:lnTo>
                  <a:lnTo>
                    <a:pt x="1717" y="582"/>
                  </a:lnTo>
                  <a:lnTo>
                    <a:pt x="1717" y="579"/>
                  </a:lnTo>
                  <a:lnTo>
                    <a:pt x="1719" y="574"/>
                  </a:lnTo>
                  <a:lnTo>
                    <a:pt x="1720" y="573"/>
                  </a:lnTo>
                  <a:lnTo>
                    <a:pt x="1720" y="570"/>
                  </a:lnTo>
                  <a:lnTo>
                    <a:pt x="1723" y="568"/>
                  </a:lnTo>
                  <a:lnTo>
                    <a:pt x="1728" y="563"/>
                  </a:lnTo>
                  <a:lnTo>
                    <a:pt x="1730" y="563"/>
                  </a:lnTo>
                  <a:lnTo>
                    <a:pt x="1733" y="562"/>
                  </a:lnTo>
                  <a:lnTo>
                    <a:pt x="1734" y="560"/>
                  </a:lnTo>
                  <a:lnTo>
                    <a:pt x="1736" y="559"/>
                  </a:lnTo>
                  <a:lnTo>
                    <a:pt x="1738" y="557"/>
                  </a:lnTo>
                  <a:lnTo>
                    <a:pt x="1738" y="554"/>
                  </a:lnTo>
                  <a:lnTo>
                    <a:pt x="1739" y="551"/>
                  </a:lnTo>
                  <a:lnTo>
                    <a:pt x="1739" y="549"/>
                  </a:lnTo>
                  <a:lnTo>
                    <a:pt x="1739" y="544"/>
                  </a:lnTo>
                  <a:lnTo>
                    <a:pt x="1738" y="540"/>
                  </a:lnTo>
                  <a:lnTo>
                    <a:pt x="1736" y="535"/>
                  </a:lnTo>
                  <a:lnTo>
                    <a:pt x="1734" y="535"/>
                  </a:lnTo>
                  <a:lnTo>
                    <a:pt x="1733" y="535"/>
                  </a:lnTo>
                  <a:lnTo>
                    <a:pt x="1725" y="538"/>
                  </a:lnTo>
                  <a:lnTo>
                    <a:pt x="1715" y="540"/>
                  </a:lnTo>
                  <a:lnTo>
                    <a:pt x="1708" y="541"/>
                  </a:lnTo>
                  <a:lnTo>
                    <a:pt x="1701" y="543"/>
                  </a:lnTo>
                  <a:lnTo>
                    <a:pt x="1700" y="543"/>
                  </a:lnTo>
                  <a:lnTo>
                    <a:pt x="1693" y="544"/>
                  </a:lnTo>
                  <a:lnTo>
                    <a:pt x="1689" y="544"/>
                  </a:lnTo>
                  <a:lnTo>
                    <a:pt x="1687" y="544"/>
                  </a:lnTo>
                  <a:lnTo>
                    <a:pt x="1682" y="544"/>
                  </a:lnTo>
                  <a:lnTo>
                    <a:pt x="1676" y="543"/>
                  </a:lnTo>
                  <a:lnTo>
                    <a:pt x="1671" y="543"/>
                  </a:lnTo>
                  <a:lnTo>
                    <a:pt x="1666" y="541"/>
                  </a:lnTo>
                  <a:lnTo>
                    <a:pt x="1662" y="540"/>
                  </a:lnTo>
                  <a:lnTo>
                    <a:pt x="1657" y="537"/>
                  </a:lnTo>
                  <a:lnTo>
                    <a:pt x="1652" y="533"/>
                  </a:lnTo>
                  <a:lnTo>
                    <a:pt x="1646" y="530"/>
                  </a:lnTo>
                  <a:lnTo>
                    <a:pt x="1641" y="526"/>
                  </a:lnTo>
                  <a:lnTo>
                    <a:pt x="1633" y="521"/>
                  </a:lnTo>
                  <a:lnTo>
                    <a:pt x="1627" y="526"/>
                  </a:lnTo>
                  <a:lnTo>
                    <a:pt x="1621" y="530"/>
                  </a:lnTo>
                  <a:lnTo>
                    <a:pt x="1616" y="533"/>
                  </a:lnTo>
                  <a:lnTo>
                    <a:pt x="1611" y="535"/>
                  </a:lnTo>
                  <a:lnTo>
                    <a:pt x="1608" y="537"/>
                  </a:lnTo>
                  <a:lnTo>
                    <a:pt x="1605" y="537"/>
                  </a:lnTo>
                  <a:lnTo>
                    <a:pt x="1602" y="537"/>
                  </a:lnTo>
                  <a:lnTo>
                    <a:pt x="1600" y="537"/>
                  </a:lnTo>
                  <a:lnTo>
                    <a:pt x="1599" y="535"/>
                  </a:lnTo>
                  <a:lnTo>
                    <a:pt x="1597" y="533"/>
                  </a:lnTo>
                  <a:lnTo>
                    <a:pt x="1597" y="530"/>
                  </a:lnTo>
                  <a:lnTo>
                    <a:pt x="1595" y="530"/>
                  </a:lnTo>
                  <a:lnTo>
                    <a:pt x="1594" y="529"/>
                  </a:lnTo>
                  <a:lnTo>
                    <a:pt x="1592" y="527"/>
                  </a:lnTo>
                  <a:lnTo>
                    <a:pt x="1591" y="526"/>
                  </a:lnTo>
                  <a:lnTo>
                    <a:pt x="1581" y="522"/>
                  </a:lnTo>
                  <a:lnTo>
                    <a:pt x="1572" y="519"/>
                  </a:lnTo>
                  <a:lnTo>
                    <a:pt x="1568" y="518"/>
                  </a:lnTo>
                  <a:lnTo>
                    <a:pt x="1565" y="516"/>
                  </a:lnTo>
                  <a:lnTo>
                    <a:pt x="1564" y="515"/>
                  </a:lnTo>
                  <a:lnTo>
                    <a:pt x="1561" y="513"/>
                  </a:lnTo>
                  <a:lnTo>
                    <a:pt x="1561" y="510"/>
                  </a:lnTo>
                  <a:lnTo>
                    <a:pt x="1561" y="508"/>
                  </a:lnTo>
                  <a:lnTo>
                    <a:pt x="1564" y="507"/>
                  </a:lnTo>
                  <a:lnTo>
                    <a:pt x="1567" y="505"/>
                  </a:lnTo>
                  <a:lnTo>
                    <a:pt x="1570" y="505"/>
                  </a:lnTo>
                  <a:lnTo>
                    <a:pt x="1575" y="503"/>
                  </a:lnTo>
                  <a:lnTo>
                    <a:pt x="1581" y="502"/>
                  </a:lnTo>
                  <a:lnTo>
                    <a:pt x="1581" y="500"/>
                  </a:lnTo>
                  <a:lnTo>
                    <a:pt x="1581" y="497"/>
                  </a:lnTo>
                  <a:lnTo>
                    <a:pt x="1583" y="496"/>
                  </a:lnTo>
                  <a:lnTo>
                    <a:pt x="1584" y="496"/>
                  </a:lnTo>
                  <a:lnTo>
                    <a:pt x="1587" y="492"/>
                  </a:lnTo>
                  <a:lnTo>
                    <a:pt x="1591" y="489"/>
                  </a:lnTo>
                  <a:lnTo>
                    <a:pt x="1600" y="485"/>
                  </a:lnTo>
                  <a:lnTo>
                    <a:pt x="1608" y="481"/>
                  </a:lnTo>
                  <a:lnTo>
                    <a:pt x="1613" y="478"/>
                  </a:lnTo>
                  <a:lnTo>
                    <a:pt x="1616" y="477"/>
                  </a:lnTo>
                  <a:lnTo>
                    <a:pt x="1616" y="475"/>
                  </a:lnTo>
                  <a:lnTo>
                    <a:pt x="1608" y="472"/>
                  </a:lnTo>
                  <a:lnTo>
                    <a:pt x="1594" y="469"/>
                  </a:lnTo>
                  <a:lnTo>
                    <a:pt x="1587" y="469"/>
                  </a:lnTo>
                  <a:lnTo>
                    <a:pt x="1580" y="469"/>
                  </a:lnTo>
                  <a:lnTo>
                    <a:pt x="1572" y="469"/>
                  </a:lnTo>
                  <a:lnTo>
                    <a:pt x="1565" y="469"/>
                  </a:lnTo>
                  <a:lnTo>
                    <a:pt x="1565" y="470"/>
                  </a:lnTo>
                  <a:lnTo>
                    <a:pt x="1564" y="470"/>
                  </a:lnTo>
                  <a:lnTo>
                    <a:pt x="1564" y="474"/>
                  </a:lnTo>
                  <a:lnTo>
                    <a:pt x="1561" y="477"/>
                  </a:lnTo>
                  <a:lnTo>
                    <a:pt x="1561" y="480"/>
                  </a:lnTo>
                  <a:lnTo>
                    <a:pt x="1557" y="483"/>
                  </a:lnTo>
                  <a:lnTo>
                    <a:pt x="1556" y="486"/>
                  </a:lnTo>
                  <a:lnTo>
                    <a:pt x="1554" y="488"/>
                  </a:lnTo>
                  <a:lnTo>
                    <a:pt x="1551" y="489"/>
                  </a:lnTo>
                  <a:lnTo>
                    <a:pt x="1550" y="491"/>
                  </a:lnTo>
                  <a:lnTo>
                    <a:pt x="1548" y="491"/>
                  </a:lnTo>
                  <a:lnTo>
                    <a:pt x="1546" y="491"/>
                  </a:lnTo>
                  <a:lnTo>
                    <a:pt x="1543" y="489"/>
                  </a:lnTo>
                  <a:lnTo>
                    <a:pt x="1542" y="489"/>
                  </a:lnTo>
                  <a:lnTo>
                    <a:pt x="1538" y="485"/>
                  </a:lnTo>
                  <a:lnTo>
                    <a:pt x="1537" y="481"/>
                  </a:lnTo>
                  <a:lnTo>
                    <a:pt x="1535" y="477"/>
                  </a:lnTo>
                  <a:lnTo>
                    <a:pt x="1534" y="469"/>
                  </a:lnTo>
                  <a:lnTo>
                    <a:pt x="1521" y="472"/>
                  </a:lnTo>
                  <a:lnTo>
                    <a:pt x="1505" y="472"/>
                  </a:lnTo>
                  <a:lnTo>
                    <a:pt x="1488" y="474"/>
                  </a:lnTo>
                  <a:lnTo>
                    <a:pt x="1475" y="474"/>
                  </a:lnTo>
                  <a:lnTo>
                    <a:pt x="1474" y="474"/>
                  </a:lnTo>
                  <a:lnTo>
                    <a:pt x="1464" y="474"/>
                  </a:lnTo>
                  <a:lnTo>
                    <a:pt x="1456" y="472"/>
                  </a:lnTo>
                  <a:lnTo>
                    <a:pt x="1448" y="472"/>
                  </a:lnTo>
                  <a:lnTo>
                    <a:pt x="1441" y="470"/>
                  </a:lnTo>
                  <a:lnTo>
                    <a:pt x="1434" y="469"/>
                  </a:lnTo>
                  <a:lnTo>
                    <a:pt x="1428" y="469"/>
                  </a:lnTo>
                  <a:lnTo>
                    <a:pt x="1420" y="469"/>
                  </a:lnTo>
                  <a:lnTo>
                    <a:pt x="1415" y="469"/>
                  </a:lnTo>
                  <a:lnTo>
                    <a:pt x="1412" y="469"/>
                  </a:lnTo>
                  <a:lnTo>
                    <a:pt x="1409" y="469"/>
                  </a:lnTo>
                  <a:lnTo>
                    <a:pt x="1406" y="470"/>
                  </a:lnTo>
                  <a:lnTo>
                    <a:pt x="1403" y="472"/>
                  </a:lnTo>
                  <a:lnTo>
                    <a:pt x="1399" y="472"/>
                  </a:lnTo>
                  <a:lnTo>
                    <a:pt x="1396" y="475"/>
                  </a:lnTo>
                  <a:lnTo>
                    <a:pt x="1393" y="477"/>
                  </a:lnTo>
                  <a:lnTo>
                    <a:pt x="1390" y="478"/>
                  </a:lnTo>
                  <a:lnTo>
                    <a:pt x="1384" y="485"/>
                  </a:lnTo>
                  <a:lnTo>
                    <a:pt x="1377" y="489"/>
                  </a:lnTo>
                  <a:lnTo>
                    <a:pt x="1373" y="494"/>
                  </a:lnTo>
                  <a:lnTo>
                    <a:pt x="1368" y="499"/>
                  </a:lnTo>
                  <a:lnTo>
                    <a:pt x="1360" y="510"/>
                  </a:lnTo>
                  <a:lnTo>
                    <a:pt x="1358" y="511"/>
                  </a:lnTo>
                  <a:lnTo>
                    <a:pt x="1357" y="513"/>
                  </a:lnTo>
                  <a:lnTo>
                    <a:pt x="1355" y="513"/>
                  </a:lnTo>
                  <a:lnTo>
                    <a:pt x="1354" y="513"/>
                  </a:lnTo>
                  <a:lnTo>
                    <a:pt x="1352" y="513"/>
                  </a:lnTo>
                  <a:lnTo>
                    <a:pt x="1349" y="510"/>
                  </a:lnTo>
                  <a:lnTo>
                    <a:pt x="1346" y="510"/>
                  </a:lnTo>
                  <a:lnTo>
                    <a:pt x="1344" y="508"/>
                  </a:lnTo>
                  <a:lnTo>
                    <a:pt x="1335" y="497"/>
                  </a:lnTo>
                  <a:lnTo>
                    <a:pt x="1325" y="489"/>
                  </a:lnTo>
                  <a:lnTo>
                    <a:pt x="1325" y="485"/>
                  </a:lnTo>
                  <a:lnTo>
                    <a:pt x="1325" y="480"/>
                  </a:lnTo>
                  <a:lnTo>
                    <a:pt x="1327" y="475"/>
                  </a:lnTo>
                  <a:lnTo>
                    <a:pt x="1325" y="469"/>
                  </a:lnTo>
                  <a:lnTo>
                    <a:pt x="1325" y="461"/>
                  </a:lnTo>
                  <a:lnTo>
                    <a:pt x="1324" y="453"/>
                  </a:lnTo>
                  <a:lnTo>
                    <a:pt x="1320" y="439"/>
                  </a:lnTo>
                  <a:lnTo>
                    <a:pt x="1317" y="434"/>
                  </a:lnTo>
                  <a:lnTo>
                    <a:pt x="1320" y="434"/>
                  </a:lnTo>
                  <a:lnTo>
                    <a:pt x="1322" y="432"/>
                  </a:lnTo>
                  <a:lnTo>
                    <a:pt x="1324" y="431"/>
                  </a:lnTo>
                  <a:lnTo>
                    <a:pt x="1325" y="429"/>
                  </a:lnTo>
                  <a:lnTo>
                    <a:pt x="1328" y="426"/>
                  </a:lnTo>
                  <a:lnTo>
                    <a:pt x="1333" y="423"/>
                  </a:lnTo>
                  <a:lnTo>
                    <a:pt x="1335" y="423"/>
                  </a:lnTo>
                  <a:lnTo>
                    <a:pt x="1336" y="423"/>
                  </a:lnTo>
                  <a:lnTo>
                    <a:pt x="1338" y="421"/>
                  </a:lnTo>
                  <a:lnTo>
                    <a:pt x="1343" y="421"/>
                  </a:lnTo>
                  <a:lnTo>
                    <a:pt x="1346" y="423"/>
                  </a:lnTo>
                  <a:lnTo>
                    <a:pt x="1352" y="423"/>
                  </a:lnTo>
                  <a:lnTo>
                    <a:pt x="1358" y="425"/>
                  </a:lnTo>
                  <a:lnTo>
                    <a:pt x="1366" y="428"/>
                  </a:lnTo>
                  <a:lnTo>
                    <a:pt x="1374" y="431"/>
                  </a:lnTo>
                  <a:lnTo>
                    <a:pt x="1377" y="431"/>
                  </a:lnTo>
                  <a:lnTo>
                    <a:pt x="1379" y="431"/>
                  </a:lnTo>
                  <a:lnTo>
                    <a:pt x="1380" y="431"/>
                  </a:lnTo>
                  <a:lnTo>
                    <a:pt x="1382" y="431"/>
                  </a:lnTo>
                  <a:lnTo>
                    <a:pt x="1385" y="431"/>
                  </a:lnTo>
                  <a:lnTo>
                    <a:pt x="1387" y="431"/>
                  </a:lnTo>
                  <a:lnTo>
                    <a:pt x="1388" y="429"/>
                  </a:lnTo>
                  <a:lnTo>
                    <a:pt x="1390" y="429"/>
                  </a:lnTo>
                  <a:lnTo>
                    <a:pt x="1390" y="428"/>
                  </a:lnTo>
                  <a:lnTo>
                    <a:pt x="1392" y="426"/>
                  </a:lnTo>
                  <a:lnTo>
                    <a:pt x="1392" y="423"/>
                  </a:lnTo>
                  <a:lnTo>
                    <a:pt x="1393" y="421"/>
                  </a:lnTo>
                  <a:lnTo>
                    <a:pt x="1395" y="420"/>
                  </a:lnTo>
                  <a:lnTo>
                    <a:pt x="1395" y="415"/>
                  </a:lnTo>
                  <a:lnTo>
                    <a:pt x="1395" y="409"/>
                  </a:lnTo>
                  <a:lnTo>
                    <a:pt x="1395" y="403"/>
                  </a:lnTo>
                  <a:lnTo>
                    <a:pt x="1395" y="398"/>
                  </a:lnTo>
                  <a:lnTo>
                    <a:pt x="1395" y="393"/>
                  </a:lnTo>
                  <a:lnTo>
                    <a:pt x="1393" y="385"/>
                  </a:lnTo>
                  <a:lnTo>
                    <a:pt x="1393" y="380"/>
                  </a:lnTo>
                  <a:lnTo>
                    <a:pt x="1392" y="376"/>
                  </a:lnTo>
                  <a:lnTo>
                    <a:pt x="1390" y="371"/>
                  </a:lnTo>
                  <a:lnTo>
                    <a:pt x="1388" y="368"/>
                  </a:lnTo>
                  <a:lnTo>
                    <a:pt x="1385" y="365"/>
                  </a:lnTo>
                  <a:lnTo>
                    <a:pt x="1379" y="360"/>
                  </a:lnTo>
                  <a:lnTo>
                    <a:pt x="1376" y="357"/>
                  </a:lnTo>
                  <a:lnTo>
                    <a:pt x="1371" y="352"/>
                  </a:lnTo>
                  <a:lnTo>
                    <a:pt x="1365" y="344"/>
                  </a:lnTo>
                  <a:lnTo>
                    <a:pt x="1357" y="336"/>
                  </a:lnTo>
                  <a:lnTo>
                    <a:pt x="1352" y="328"/>
                  </a:lnTo>
                  <a:lnTo>
                    <a:pt x="1347" y="324"/>
                  </a:lnTo>
                  <a:lnTo>
                    <a:pt x="1346" y="324"/>
                  </a:lnTo>
                  <a:lnTo>
                    <a:pt x="1344" y="324"/>
                  </a:lnTo>
                  <a:lnTo>
                    <a:pt x="1344" y="327"/>
                  </a:lnTo>
                  <a:lnTo>
                    <a:pt x="1344" y="336"/>
                  </a:lnTo>
                  <a:lnTo>
                    <a:pt x="1344" y="346"/>
                  </a:lnTo>
                  <a:lnTo>
                    <a:pt x="1344" y="349"/>
                  </a:lnTo>
                  <a:lnTo>
                    <a:pt x="1344" y="354"/>
                  </a:lnTo>
                  <a:lnTo>
                    <a:pt x="1344" y="357"/>
                  </a:lnTo>
                  <a:lnTo>
                    <a:pt x="1343" y="360"/>
                  </a:lnTo>
                  <a:lnTo>
                    <a:pt x="1341" y="363"/>
                  </a:lnTo>
                  <a:lnTo>
                    <a:pt x="1339" y="368"/>
                  </a:lnTo>
                  <a:lnTo>
                    <a:pt x="1336" y="371"/>
                  </a:lnTo>
                  <a:lnTo>
                    <a:pt x="1331" y="376"/>
                  </a:lnTo>
                  <a:lnTo>
                    <a:pt x="1327" y="379"/>
                  </a:lnTo>
                  <a:lnTo>
                    <a:pt x="1320" y="384"/>
                  </a:lnTo>
                  <a:lnTo>
                    <a:pt x="1313" y="390"/>
                  </a:lnTo>
                  <a:lnTo>
                    <a:pt x="1301" y="395"/>
                  </a:lnTo>
                  <a:lnTo>
                    <a:pt x="1297" y="398"/>
                  </a:lnTo>
                  <a:lnTo>
                    <a:pt x="1294" y="401"/>
                  </a:lnTo>
                  <a:lnTo>
                    <a:pt x="1290" y="404"/>
                  </a:lnTo>
                  <a:lnTo>
                    <a:pt x="1287" y="406"/>
                  </a:lnTo>
                  <a:lnTo>
                    <a:pt x="1287" y="407"/>
                  </a:lnTo>
                  <a:lnTo>
                    <a:pt x="1286" y="409"/>
                  </a:lnTo>
                  <a:lnTo>
                    <a:pt x="1284" y="412"/>
                  </a:lnTo>
                  <a:lnTo>
                    <a:pt x="1283" y="414"/>
                  </a:lnTo>
                  <a:lnTo>
                    <a:pt x="1283" y="415"/>
                  </a:lnTo>
                  <a:lnTo>
                    <a:pt x="1283" y="418"/>
                  </a:lnTo>
                  <a:lnTo>
                    <a:pt x="1283" y="420"/>
                  </a:lnTo>
                  <a:lnTo>
                    <a:pt x="1283" y="421"/>
                  </a:lnTo>
                  <a:lnTo>
                    <a:pt x="1283" y="423"/>
                  </a:lnTo>
                  <a:lnTo>
                    <a:pt x="1284" y="428"/>
                  </a:lnTo>
                  <a:lnTo>
                    <a:pt x="1287" y="431"/>
                  </a:lnTo>
                  <a:lnTo>
                    <a:pt x="1290" y="436"/>
                  </a:lnTo>
                  <a:lnTo>
                    <a:pt x="1292" y="439"/>
                  </a:lnTo>
                  <a:lnTo>
                    <a:pt x="1292" y="440"/>
                  </a:lnTo>
                  <a:lnTo>
                    <a:pt x="1294" y="444"/>
                  </a:lnTo>
                  <a:lnTo>
                    <a:pt x="1294" y="447"/>
                  </a:lnTo>
                  <a:lnTo>
                    <a:pt x="1294" y="448"/>
                  </a:lnTo>
                  <a:lnTo>
                    <a:pt x="1292" y="451"/>
                  </a:lnTo>
                  <a:lnTo>
                    <a:pt x="1292" y="453"/>
                  </a:lnTo>
                  <a:lnTo>
                    <a:pt x="1290" y="456"/>
                  </a:lnTo>
                  <a:lnTo>
                    <a:pt x="1287" y="458"/>
                  </a:lnTo>
                  <a:lnTo>
                    <a:pt x="1284" y="461"/>
                  </a:lnTo>
                  <a:lnTo>
                    <a:pt x="1284" y="462"/>
                  </a:lnTo>
                  <a:lnTo>
                    <a:pt x="1283" y="462"/>
                  </a:lnTo>
                  <a:lnTo>
                    <a:pt x="1279" y="466"/>
                  </a:lnTo>
                  <a:lnTo>
                    <a:pt x="1278" y="467"/>
                  </a:lnTo>
                  <a:lnTo>
                    <a:pt x="1275" y="467"/>
                  </a:lnTo>
                  <a:lnTo>
                    <a:pt x="1273" y="467"/>
                  </a:lnTo>
                  <a:lnTo>
                    <a:pt x="1271" y="467"/>
                  </a:lnTo>
                  <a:lnTo>
                    <a:pt x="1270" y="467"/>
                  </a:lnTo>
                  <a:lnTo>
                    <a:pt x="1267" y="469"/>
                  </a:lnTo>
                  <a:lnTo>
                    <a:pt x="1264" y="470"/>
                  </a:lnTo>
                  <a:lnTo>
                    <a:pt x="1259" y="474"/>
                  </a:lnTo>
                  <a:lnTo>
                    <a:pt x="1259" y="475"/>
                  </a:lnTo>
                  <a:lnTo>
                    <a:pt x="1257" y="478"/>
                  </a:lnTo>
                  <a:lnTo>
                    <a:pt x="1251" y="485"/>
                  </a:lnTo>
                  <a:lnTo>
                    <a:pt x="1246" y="492"/>
                  </a:lnTo>
                  <a:lnTo>
                    <a:pt x="1241" y="502"/>
                  </a:lnTo>
                  <a:lnTo>
                    <a:pt x="1241" y="497"/>
                  </a:lnTo>
                  <a:lnTo>
                    <a:pt x="1241" y="494"/>
                  </a:lnTo>
                  <a:lnTo>
                    <a:pt x="1240" y="492"/>
                  </a:lnTo>
                  <a:lnTo>
                    <a:pt x="1240" y="489"/>
                  </a:lnTo>
                  <a:lnTo>
                    <a:pt x="1238" y="489"/>
                  </a:lnTo>
                  <a:lnTo>
                    <a:pt x="1237" y="488"/>
                  </a:lnTo>
                  <a:lnTo>
                    <a:pt x="1237" y="486"/>
                  </a:lnTo>
                  <a:lnTo>
                    <a:pt x="1234" y="485"/>
                  </a:lnTo>
                  <a:lnTo>
                    <a:pt x="1230" y="483"/>
                  </a:lnTo>
                  <a:lnTo>
                    <a:pt x="1226" y="483"/>
                  </a:lnTo>
                  <a:lnTo>
                    <a:pt x="1222" y="480"/>
                  </a:lnTo>
                  <a:lnTo>
                    <a:pt x="1221" y="480"/>
                  </a:lnTo>
                  <a:lnTo>
                    <a:pt x="1219" y="480"/>
                  </a:lnTo>
                  <a:lnTo>
                    <a:pt x="1219" y="478"/>
                  </a:lnTo>
                  <a:lnTo>
                    <a:pt x="1219" y="477"/>
                  </a:lnTo>
                  <a:lnTo>
                    <a:pt x="1221" y="477"/>
                  </a:lnTo>
                  <a:lnTo>
                    <a:pt x="1222" y="475"/>
                  </a:lnTo>
                  <a:lnTo>
                    <a:pt x="1227" y="474"/>
                  </a:lnTo>
                  <a:lnTo>
                    <a:pt x="1234" y="472"/>
                  </a:lnTo>
                  <a:lnTo>
                    <a:pt x="1243" y="469"/>
                  </a:lnTo>
                  <a:lnTo>
                    <a:pt x="1240" y="462"/>
                  </a:lnTo>
                  <a:lnTo>
                    <a:pt x="1237" y="455"/>
                  </a:lnTo>
                  <a:lnTo>
                    <a:pt x="1232" y="448"/>
                  </a:lnTo>
                  <a:lnTo>
                    <a:pt x="1229" y="444"/>
                  </a:lnTo>
                  <a:lnTo>
                    <a:pt x="1226" y="440"/>
                  </a:lnTo>
                  <a:lnTo>
                    <a:pt x="1224" y="439"/>
                  </a:lnTo>
                  <a:lnTo>
                    <a:pt x="1221" y="436"/>
                  </a:lnTo>
                  <a:lnTo>
                    <a:pt x="1219" y="436"/>
                  </a:lnTo>
                  <a:lnTo>
                    <a:pt x="1218" y="434"/>
                  </a:lnTo>
                  <a:lnTo>
                    <a:pt x="1216" y="434"/>
                  </a:lnTo>
                  <a:lnTo>
                    <a:pt x="1213" y="432"/>
                  </a:lnTo>
                  <a:lnTo>
                    <a:pt x="1211" y="432"/>
                  </a:lnTo>
                  <a:lnTo>
                    <a:pt x="1204" y="436"/>
                  </a:lnTo>
                  <a:lnTo>
                    <a:pt x="1197" y="439"/>
                  </a:lnTo>
                  <a:lnTo>
                    <a:pt x="1191" y="442"/>
                  </a:lnTo>
                  <a:lnTo>
                    <a:pt x="1185" y="444"/>
                  </a:lnTo>
                  <a:lnTo>
                    <a:pt x="1178" y="444"/>
                  </a:lnTo>
                  <a:lnTo>
                    <a:pt x="1172" y="444"/>
                  </a:lnTo>
                  <a:lnTo>
                    <a:pt x="1167" y="444"/>
                  </a:lnTo>
                  <a:lnTo>
                    <a:pt x="1161" y="442"/>
                  </a:lnTo>
                  <a:lnTo>
                    <a:pt x="1150" y="440"/>
                  </a:lnTo>
                  <a:lnTo>
                    <a:pt x="1140" y="437"/>
                  </a:lnTo>
                  <a:lnTo>
                    <a:pt x="1136" y="436"/>
                  </a:lnTo>
                  <a:lnTo>
                    <a:pt x="1131" y="436"/>
                  </a:lnTo>
                  <a:lnTo>
                    <a:pt x="1126" y="434"/>
                  </a:lnTo>
                  <a:lnTo>
                    <a:pt x="1123" y="434"/>
                  </a:lnTo>
                  <a:lnTo>
                    <a:pt x="1118" y="434"/>
                  </a:lnTo>
                  <a:lnTo>
                    <a:pt x="1115" y="436"/>
                  </a:lnTo>
                  <a:lnTo>
                    <a:pt x="1110" y="436"/>
                  </a:lnTo>
                  <a:lnTo>
                    <a:pt x="1107" y="437"/>
                  </a:lnTo>
                  <a:lnTo>
                    <a:pt x="1104" y="439"/>
                  </a:lnTo>
                  <a:lnTo>
                    <a:pt x="1102" y="440"/>
                  </a:lnTo>
                  <a:lnTo>
                    <a:pt x="1099" y="442"/>
                  </a:lnTo>
                  <a:lnTo>
                    <a:pt x="1098" y="444"/>
                  </a:lnTo>
                  <a:lnTo>
                    <a:pt x="1096" y="447"/>
                  </a:lnTo>
                  <a:lnTo>
                    <a:pt x="1095" y="448"/>
                  </a:lnTo>
                  <a:lnTo>
                    <a:pt x="1093" y="453"/>
                  </a:lnTo>
                  <a:lnTo>
                    <a:pt x="1093" y="455"/>
                  </a:lnTo>
                  <a:lnTo>
                    <a:pt x="1091" y="462"/>
                  </a:lnTo>
                  <a:lnTo>
                    <a:pt x="1090" y="469"/>
                  </a:lnTo>
                  <a:lnTo>
                    <a:pt x="1090" y="481"/>
                  </a:lnTo>
                  <a:lnTo>
                    <a:pt x="1088" y="494"/>
                  </a:lnTo>
                  <a:lnTo>
                    <a:pt x="1088" y="500"/>
                  </a:lnTo>
                  <a:lnTo>
                    <a:pt x="1085" y="505"/>
                  </a:lnTo>
                  <a:lnTo>
                    <a:pt x="1085" y="508"/>
                  </a:lnTo>
                  <a:lnTo>
                    <a:pt x="1083" y="510"/>
                  </a:lnTo>
                  <a:lnTo>
                    <a:pt x="1082" y="511"/>
                  </a:lnTo>
                  <a:lnTo>
                    <a:pt x="1080" y="513"/>
                  </a:lnTo>
                  <a:lnTo>
                    <a:pt x="1076" y="510"/>
                  </a:lnTo>
                  <a:lnTo>
                    <a:pt x="1071" y="505"/>
                  </a:lnTo>
                  <a:lnTo>
                    <a:pt x="1068" y="502"/>
                  </a:lnTo>
                  <a:lnTo>
                    <a:pt x="1063" y="496"/>
                  </a:lnTo>
                  <a:lnTo>
                    <a:pt x="1060" y="491"/>
                  </a:lnTo>
                  <a:lnTo>
                    <a:pt x="1055" y="485"/>
                  </a:lnTo>
                  <a:lnTo>
                    <a:pt x="1052" y="478"/>
                  </a:lnTo>
                  <a:lnTo>
                    <a:pt x="1049" y="472"/>
                  </a:lnTo>
                  <a:lnTo>
                    <a:pt x="1046" y="466"/>
                  </a:lnTo>
                  <a:lnTo>
                    <a:pt x="1042" y="458"/>
                  </a:lnTo>
                  <a:lnTo>
                    <a:pt x="1041" y="451"/>
                  </a:lnTo>
                  <a:lnTo>
                    <a:pt x="1039" y="444"/>
                  </a:lnTo>
                  <a:lnTo>
                    <a:pt x="1038" y="436"/>
                  </a:lnTo>
                  <a:lnTo>
                    <a:pt x="1036" y="429"/>
                  </a:lnTo>
                  <a:lnTo>
                    <a:pt x="1036" y="423"/>
                  </a:lnTo>
                  <a:lnTo>
                    <a:pt x="1036" y="415"/>
                  </a:lnTo>
                  <a:lnTo>
                    <a:pt x="1036" y="414"/>
                  </a:lnTo>
                  <a:lnTo>
                    <a:pt x="1036" y="412"/>
                  </a:lnTo>
                  <a:lnTo>
                    <a:pt x="1033" y="409"/>
                  </a:lnTo>
                  <a:lnTo>
                    <a:pt x="1030" y="407"/>
                  </a:lnTo>
                  <a:lnTo>
                    <a:pt x="1027" y="406"/>
                  </a:lnTo>
                  <a:lnTo>
                    <a:pt x="1022" y="404"/>
                  </a:lnTo>
                  <a:lnTo>
                    <a:pt x="1016" y="403"/>
                  </a:lnTo>
                  <a:lnTo>
                    <a:pt x="1012" y="403"/>
                  </a:lnTo>
                  <a:lnTo>
                    <a:pt x="1009" y="403"/>
                  </a:lnTo>
                  <a:lnTo>
                    <a:pt x="1008" y="403"/>
                  </a:lnTo>
                  <a:lnTo>
                    <a:pt x="1004" y="404"/>
                  </a:lnTo>
                  <a:lnTo>
                    <a:pt x="1003" y="406"/>
                  </a:lnTo>
                  <a:lnTo>
                    <a:pt x="1000" y="407"/>
                  </a:lnTo>
                  <a:lnTo>
                    <a:pt x="998" y="409"/>
                  </a:lnTo>
                  <a:lnTo>
                    <a:pt x="995" y="410"/>
                  </a:lnTo>
                  <a:lnTo>
                    <a:pt x="993" y="414"/>
                  </a:lnTo>
                  <a:lnTo>
                    <a:pt x="992" y="415"/>
                  </a:lnTo>
                  <a:lnTo>
                    <a:pt x="990" y="418"/>
                  </a:lnTo>
                  <a:lnTo>
                    <a:pt x="989" y="421"/>
                  </a:lnTo>
                  <a:lnTo>
                    <a:pt x="987" y="426"/>
                  </a:lnTo>
                  <a:lnTo>
                    <a:pt x="985" y="431"/>
                  </a:lnTo>
                  <a:lnTo>
                    <a:pt x="985" y="436"/>
                  </a:lnTo>
                  <a:lnTo>
                    <a:pt x="985" y="442"/>
                  </a:lnTo>
                  <a:lnTo>
                    <a:pt x="985" y="447"/>
                  </a:lnTo>
                  <a:lnTo>
                    <a:pt x="990" y="453"/>
                  </a:lnTo>
                  <a:lnTo>
                    <a:pt x="995" y="456"/>
                  </a:lnTo>
                  <a:lnTo>
                    <a:pt x="1000" y="462"/>
                  </a:lnTo>
                  <a:lnTo>
                    <a:pt x="1003" y="466"/>
                  </a:lnTo>
                  <a:lnTo>
                    <a:pt x="1003" y="467"/>
                  </a:lnTo>
                  <a:lnTo>
                    <a:pt x="1003" y="469"/>
                  </a:lnTo>
                  <a:lnTo>
                    <a:pt x="1004" y="472"/>
                  </a:lnTo>
                  <a:lnTo>
                    <a:pt x="1004" y="477"/>
                  </a:lnTo>
                  <a:lnTo>
                    <a:pt x="1003" y="480"/>
                  </a:lnTo>
                  <a:lnTo>
                    <a:pt x="1001" y="483"/>
                  </a:lnTo>
                  <a:lnTo>
                    <a:pt x="1000" y="485"/>
                  </a:lnTo>
                  <a:lnTo>
                    <a:pt x="997" y="486"/>
                  </a:lnTo>
                  <a:lnTo>
                    <a:pt x="993" y="489"/>
                  </a:lnTo>
                  <a:lnTo>
                    <a:pt x="990" y="489"/>
                  </a:lnTo>
                  <a:lnTo>
                    <a:pt x="987" y="491"/>
                  </a:lnTo>
                  <a:lnTo>
                    <a:pt x="985" y="492"/>
                  </a:lnTo>
                  <a:lnTo>
                    <a:pt x="982" y="492"/>
                  </a:lnTo>
                  <a:lnTo>
                    <a:pt x="979" y="492"/>
                  </a:lnTo>
                  <a:lnTo>
                    <a:pt x="974" y="491"/>
                  </a:lnTo>
                  <a:lnTo>
                    <a:pt x="973" y="489"/>
                  </a:lnTo>
                  <a:lnTo>
                    <a:pt x="970" y="489"/>
                  </a:lnTo>
                  <a:lnTo>
                    <a:pt x="967" y="489"/>
                  </a:lnTo>
                  <a:lnTo>
                    <a:pt x="965" y="488"/>
                  </a:lnTo>
                  <a:lnTo>
                    <a:pt x="962" y="486"/>
                  </a:lnTo>
                  <a:lnTo>
                    <a:pt x="960" y="485"/>
                  </a:lnTo>
                  <a:lnTo>
                    <a:pt x="957" y="483"/>
                  </a:lnTo>
                  <a:lnTo>
                    <a:pt x="957" y="481"/>
                  </a:lnTo>
                  <a:lnTo>
                    <a:pt x="954" y="480"/>
                  </a:lnTo>
                  <a:lnTo>
                    <a:pt x="954" y="477"/>
                  </a:lnTo>
                  <a:lnTo>
                    <a:pt x="952" y="475"/>
                  </a:lnTo>
                  <a:lnTo>
                    <a:pt x="952" y="472"/>
                  </a:lnTo>
                  <a:lnTo>
                    <a:pt x="952" y="470"/>
                  </a:lnTo>
                  <a:lnTo>
                    <a:pt x="951" y="470"/>
                  </a:lnTo>
                  <a:lnTo>
                    <a:pt x="952" y="469"/>
                  </a:lnTo>
                  <a:lnTo>
                    <a:pt x="952" y="461"/>
                  </a:lnTo>
                  <a:lnTo>
                    <a:pt x="951" y="453"/>
                  </a:lnTo>
                  <a:lnTo>
                    <a:pt x="951" y="444"/>
                  </a:lnTo>
                  <a:lnTo>
                    <a:pt x="952" y="436"/>
                  </a:lnTo>
                  <a:lnTo>
                    <a:pt x="952" y="421"/>
                  </a:lnTo>
                  <a:lnTo>
                    <a:pt x="952" y="409"/>
                  </a:lnTo>
                  <a:lnTo>
                    <a:pt x="952" y="406"/>
                  </a:lnTo>
                  <a:lnTo>
                    <a:pt x="952" y="401"/>
                  </a:lnTo>
                  <a:lnTo>
                    <a:pt x="952" y="398"/>
                  </a:lnTo>
                  <a:lnTo>
                    <a:pt x="952" y="393"/>
                  </a:lnTo>
                  <a:lnTo>
                    <a:pt x="952" y="390"/>
                  </a:lnTo>
                  <a:lnTo>
                    <a:pt x="954" y="387"/>
                  </a:lnTo>
                  <a:lnTo>
                    <a:pt x="955" y="382"/>
                  </a:lnTo>
                  <a:lnTo>
                    <a:pt x="957" y="380"/>
                  </a:lnTo>
                  <a:lnTo>
                    <a:pt x="960" y="371"/>
                  </a:lnTo>
                  <a:lnTo>
                    <a:pt x="965" y="362"/>
                  </a:lnTo>
                  <a:lnTo>
                    <a:pt x="971" y="350"/>
                  </a:lnTo>
                  <a:lnTo>
                    <a:pt x="979" y="336"/>
                  </a:lnTo>
                  <a:lnTo>
                    <a:pt x="987" y="332"/>
                  </a:lnTo>
                  <a:lnTo>
                    <a:pt x="995" y="328"/>
                  </a:lnTo>
                  <a:lnTo>
                    <a:pt x="998" y="325"/>
                  </a:lnTo>
                  <a:lnTo>
                    <a:pt x="1003" y="324"/>
                  </a:lnTo>
                  <a:lnTo>
                    <a:pt x="1004" y="322"/>
                  </a:lnTo>
                  <a:lnTo>
                    <a:pt x="1008" y="319"/>
                  </a:lnTo>
                  <a:lnTo>
                    <a:pt x="1011" y="316"/>
                  </a:lnTo>
                  <a:lnTo>
                    <a:pt x="1011" y="314"/>
                  </a:lnTo>
                  <a:lnTo>
                    <a:pt x="1014" y="311"/>
                  </a:lnTo>
                  <a:lnTo>
                    <a:pt x="1016" y="309"/>
                  </a:lnTo>
                  <a:lnTo>
                    <a:pt x="1016" y="306"/>
                  </a:lnTo>
                  <a:lnTo>
                    <a:pt x="1017" y="303"/>
                  </a:lnTo>
                  <a:lnTo>
                    <a:pt x="1019" y="302"/>
                  </a:lnTo>
                  <a:lnTo>
                    <a:pt x="1019" y="298"/>
                  </a:lnTo>
                  <a:lnTo>
                    <a:pt x="1020" y="291"/>
                  </a:lnTo>
                  <a:lnTo>
                    <a:pt x="1020" y="284"/>
                  </a:lnTo>
                  <a:lnTo>
                    <a:pt x="1020" y="276"/>
                  </a:lnTo>
                  <a:lnTo>
                    <a:pt x="1020" y="268"/>
                  </a:lnTo>
                  <a:lnTo>
                    <a:pt x="1019" y="250"/>
                  </a:lnTo>
                  <a:lnTo>
                    <a:pt x="1019" y="229"/>
                  </a:lnTo>
                  <a:lnTo>
                    <a:pt x="1017" y="229"/>
                  </a:lnTo>
                  <a:lnTo>
                    <a:pt x="1017" y="227"/>
                  </a:lnTo>
                  <a:lnTo>
                    <a:pt x="1017" y="223"/>
                  </a:lnTo>
                  <a:lnTo>
                    <a:pt x="1017" y="220"/>
                  </a:lnTo>
                  <a:lnTo>
                    <a:pt x="1017" y="216"/>
                  </a:lnTo>
                  <a:lnTo>
                    <a:pt x="1020" y="202"/>
                  </a:lnTo>
                  <a:lnTo>
                    <a:pt x="1022" y="193"/>
                  </a:lnTo>
                  <a:lnTo>
                    <a:pt x="1023" y="190"/>
                  </a:lnTo>
                  <a:lnTo>
                    <a:pt x="1023" y="186"/>
                  </a:lnTo>
                  <a:lnTo>
                    <a:pt x="1025" y="186"/>
                  </a:lnTo>
                  <a:lnTo>
                    <a:pt x="1027" y="185"/>
                  </a:lnTo>
                  <a:lnTo>
                    <a:pt x="1027" y="183"/>
                  </a:lnTo>
                  <a:lnTo>
                    <a:pt x="1027" y="185"/>
                  </a:lnTo>
                  <a:lnTo>
                    <a:pt x="1028" y="186"/>
                  </a:lnTo>
                  <a:lnTo>
                    <a:pt x="1028" y="188"/>
                  </a:lnTo>
                  <a:lnTo>
                    <a:pt x="1030" y="194"/>
                  </a:lnTo>
                  <a:lnTo>
                    <a:pt x="1031" y="201"/>
                  </a:lnTo>
                  <a:lnTo>
                    <a:pt x="1034" y="218"/>
                  </a:lnTo>
                  <a:lnTo>
                    <a:pt x="1039" y="238"/>
                  </a:lnTo>
                  <a:lnTo>
                    <a:pt x="1041" y="250"/>
                  </a:lnTo>
                  <a:lnTo>
                    <a:pt x="1044" y="257"/>
                  </a:lnTo>
                  <a:lnTo>
                    <a:pt x="1046" y="262"/>
                  </a:lnTo>
                  <a:lnTo>
                    <a:pt x="1047" y="267"/>
                  </a:lnTo>
                  <a:lnTo>
                    <a:pt x="1049" y="270"/>
                  </a:lnTo>
                  <a:lnTo>
                    <a:pt x="1052" y="273"/>
                  </a:lnTo>
                  <a:lnTo>
                    <a:pt x="1055" y="287"/>
                  </a:lnTo>
                  <a:lnTo>
                    <a:pt x="1058" y="300"/>
                  </a:lnTo>
                  <a:lnTo>
                    <a:pt x="1061" y="314"/>
                  </a:lnTo>
                  <a:lnTo>
                    <a:pt x="1068" y="325"/>
                  </a:lnTo>
                  <a:lnTo>
                    <a:pt x="1072" y="336"/>
                  </a:lnTo>
                  <a:lnTo>
                    <a:pt x="1079" y="347"/>
                  </a:lnTo>
                  <a:lnTo>
                    <a:pt x="1082" y="352"/>
                  </a:lnTo>
                  <a:lnTo>
                    <a:pt x="1085" y="358"/>
                  </a:lnTo>
                  <a:lnTo>
                    <a:pt x="1088" y="362"/>
                  </a:lnTo>
                  <a:lnTo>
                    <a:pt x="1091" y="368"/>
                  </a:lnTo>
                  <a:lnTo>
                    <a:pt x="1095" y="373"/>
                  </a:lnTo>
                  <a:lnTo>
                    <a:pt x="1099" y="376"/>
                  </a:lnTo>
                  <a:lnTo>
                    <a:pt x="1102" y="380"/>
                  </a:lnTo>
                  <a:lnTo>
                    <a:pt x="1107" y="384"/>
                  </a:lnTo>
                  <a:lnTo>
                    <a:pt x="1112" y="387"/>
                  </a:lnTo>
                  <a:lnTo>
                    <a:pt x="1115" y="390"/>
                  </a:lnTo>
                  <a:lnTo>
                    <a:pt x="1121" y="393"/>
                  </a:lnTo>
                  <a:lnTo>
                    <a:pt x="1126" y="395"/>
                  </a:lnTo>
                  <a:lnTo>
                    <a:pt x="1131" y="398"/>
                  </a:lnTo>
                  <a:lnTo>
                    <a:pt x="1136" y="401"/>
                  </a:lnTo>
                  <a:lnTo>
                    <a:pt x="1140" y="401"/>
                  </a:lnTo>
                  <a:lnTo>
                    <a:pt x="1145" y="403"/>
                  </a:lnTo>
                  <a:lnTo>
                    <a:pt x="1150" y="404"/>
                  </a:lnTo>
                  <a:lnTo>
                    <a:pt x="1156" y="406"/>
                  </a:lnTo>
                  <a:lnTo>
                    <a:pt x="1162" y="406"/>
                  </a:lnTo>
                  <a:lnTo>
                    <a:pt x="1167" y="406"/>
                  </a:lnTo>
                  <a:lnTo>
                    <a:pt x="1173" y="406"/>
                  </a:lnTo>
                  <a:lnTo>
                    <a:pt x="1178" y="406"/>
                  </a:lnTo>
                  <a:lnTo>
                    <a:pt x="1183" y="406"/>
                  </a:lnTo>
                  <a:lnTo>
                    <a:pt x="1189" y="404"/>
                  </a:lnTo>
                  <a:lnTo>
                    <a:pt x="1192" y="403"/>
                  </a:lnTo>
                  <a:lnTo>
                    <a:pt x="1197" y="401"/>
                  </a:lnTo>
                  <a:lnTo>
                    <a:pt x="1204" y="399"/>
                  </a:lnTo>
                  <a:lnTo>
                    <a:pt x="1207" y="398"/>
                  </a:lnTo>
                  <a:lnTo>
                    <a:pt x="1210" y="395"/>
                  </a:lnTo>
                  <a:lnTo>
                    <a:pt x="1215" y="393"/>
                  </a:lnTo>
                  <a:lnTo>
                    <a:pt x="1218" y="390"/>
                  </a:lnTo>
                  <a:lnTo>
                    <a:pt x="1221" y="388"/>
                  </a:lnTo>
                  <a:lnTo>
                    <a:pt x="1224" y="385"/>
                  </a:lnTo>
                  <a:lnTo>
                    <a:pt x="1229" y="380"/>
                  </a:lnTo>
                  <a:lnTo>
                    <a:pt x="1230" y="377"/>
                  </a:lnTo>
                  <a:lnTo>
                    <a:pt x="1234" y="374"/>
                  </a:lnTo>
                  <a:lnTo>
                    <a:pt x="1237" y="369"/>
                  </a:lnTo>
                  <a:lnTo>
                    <a:pt x="1238" y="366"/>
                  </a:lnTo>
                  <a:lnTo>
                    <a:pt x="1240" y="362"/>
                  </a:lnTo>
                  <a:lnTo>
                    <a:pt x="1241" y="358"/>
                  </a:lnTo>
                  <a:lnTo>
                    <a:pt x="1243" y="354"/>
                  </a:lnTo>
                  <a:lnTo>
                    <a:pt x="1243" y="349"/>
                  </a:lnTo>
                  <a:lnTo>
                    <a:pt x="1245" y="344"/>
                  </a:lnTo>
                  <a:lnTo>
                    <a:pt x="1246" y="339"/>
                  </a:lnTo>
                  <a:lnTo>
                    <a:pt x="1246" y="335"/>
                  </a:lnTo>
                  <a:lnTo>
                    <a:pt x="1246" y="328"/>
                  </a:lnTo>
                  <a:lnTo>
                    <a:pt x="1248" y="324"/>
                  </a:lnTo>
                  <a:lnTo>
                    <a:pt x="1248" y="319"/>
                  </a:lnTo>
                  <a:lnTo>
                    <a:pt x="1246" y="308"/>
                  </a:lnTo>
                  <a:lnTo>
                    <a:pt x="1246" y="295"/>
                  </a:lnTo>
                  <a:lnTo>
                    <a:pt x="1245" y="291"/>
                  </a:lnTo>
                  <a:lnTo>
                    <a:pt x="1243" y="284"/>
                  </a:lnTo>
                  <a:lnTo>
                    <a:pt x="1241" y="278"/>
                  </a:lnTo>
                  <a:lnTo>
                    <a:pt x="1240" y="273"/>
                  </a:lnTo>
                  <a:lnTo>
                    <a:pt x="1235" y="261"/>
                  </a:lnTo>
                  <a:lnTo>
                    <a:pt x="1230" y="246"/>
                  </a:lnTo>
                  <a:lnTo>
                    <a:pt x="1229" y="240"/>
                  </a:lnTo>
                  <a:lnTo>
                    <a:pt x="1226" y="231"/>
                  </a:lnTo>
                  <a:lnTo>
                    <a:pt x="1224" y="221"/>
                  </a:lnTo>
                  <a:lnTo>
                    <a:pt x="1222" y="212"/>
                  </a:lnTo>
                  <a:lnTo>
                    <a:pt x="1221" y="201"/>
                  </a:lnTo>
                  <a:lnTo>
                    <a:pt x="1221" y="190"/>
                  </a:lnTo>
                  <a:lnTo>
                    <a:pt x="1221" y="177"/>
                  </a:lnTo>
                  <a:lnTo>
                    <a:pt x="1221" y="163"/>
                  </a:lnTo>
                  <a:lnTo>
                    <a:pt x="1218" y="158"/>
                  </a:lnTo>
                  <a:lnTo>
                    <a:pt x="1215" y="153"/>
                  </a:lnTo>
                  <a:lnTo>
                    <a:pt x="1210" y="150"/>
                  </a:lnTo>
                  <a:lnTo>
                    <a:pt x="1210" y="145"/>
                  </a:lnTo>
                  <a:lnTo>
                    <a:pt x="1205" y="141"/>
                  </a:lnTo>
                  <a:lnTo>
                    <a:pt x="1205" y="134"/>
                  </a:lnTo>
                  <a:lnTo>
                    <a:pt x="1204" y="128"/>
                  </a:lnTo>
                  <a:lnTo>
                    <a:pt x="1200" y="122"/>
                  </a:lnTo>
                  <a:lnTo>
                    <a:pt x="1197" y="117"/>
                  </a:lnTo>
                  <a:lnTo>
                    <a:pt x="1196" y="114"/>
                  </a:lnTo>
                  <a:lnTo>
                    <a:pt x="1192" y="109"/>
                  </a:lnTo>
                  <a:lnTo>
                    <a:pt x="1189" y="104"/>
                  </a:lnTo>
                  <a:lnTo>
                    <a:pt x="1173" y="103"/>
                  </a:lnTo>
                  <a:lnTo>
                    <a:pt x="1161" y="101"/>
                  </a:lnTo>
                  <a:lnTo>
                    <a:pt x="1153" y="100"/>
                  </a:lnTo>
                  <a:lnTo>
                    <a:pt x="1148" y="98"/>
                  </a:lnTo>
                  <a:lnTo>
                    <a:pt x="1147" y="98"/>
                  </a:lnTo>
                  <a:lnTo>
                    <a:pt x="1147" y="97"/>
                  </a:lnTo>
                  <a:lnTo>
                    <a:pt x="1148" y="97"/>
                  </a:lnTo>
                  <a:lnTo>
                    <a:pt x="1151" y="95"/>
                  </a:lnTo>
                  <a:lnTo>
                    <a:pt x="1155" y="93"/>
                  </a:lnTo>
                  <a:lnTo>
                    <a:pt x="1159" y="92"/>
                  </a:lnTo>
                  <a:lnTo>
                    <a:pt x="1166" y="92"/>
                  </a:lnTo>
                  <a:lnTo>
                    <a:pt x="1169" y="89"/>
                  </a:lnTo>
                  <a:lnTo>
                    <a:pt x="1173" y="87"/>
                  </a:lnTo>
                  <a:lnTo>
                    <a:pt x="1175" y="85"/>
                  </a:lnTo>
                  <a:lnTo>
                    <a:pt x="1175" y="84"/>
                  </a:lnTo>
                  <a:lnTo>
                    <a:pt x="1177" y="84"/>
                  </a:lnTo>
                  <a:lnTo>
                    <a:pt x="1177" y="81"/>
                  </a:lnTo>
                  <a:lnTo>
                    <a:pt x="1175" y="81"/>
                  </a:lnTo>
                  <a:lnTo>
                    <a:pt x="1173" y="79"/>
                  </a:lnTo>
                  <a:lnTo>
                    <a:pt x="1170" y="76"/>
                  </a:lnTo>
                  <a:lnTo>
                    <a:pt x="1167" y="74"/>
                  </a:lnTo>
                  <a:lnTo>
                    <a:pt x="1167" y="62"/>
                  </a:lnTo>
                  <a:lnTo>
                    <a:pt x="1167" y="52"/>
                  </a:lnTo>
                  <a:lnTo>
                    <a:pt x="1167" y="49"/>
                  </a:lnTo>
                  <a:lnTo>
                    <a:pt x="1167" y="46"/>
                  </a:lnTo>
                  <a:lnTo>
                    <a:pt x="1167" y="44"/>
                  </a:lnTo>
                  <a:lnTo>
                    <a:pt x="1169" y="43"/>
                  </a:lnTo>
                  <a:lnTo>
                    <a:pt x="1169" y="41"/>
                  </a:lnTo>
                  <a:lnTo>
                    <a:pt x="1170" y="43"/>
                  </a:lnTo>
                  <a:lnTo>
                    <a:pt x="1172" y="43"/>
                  </a:lnTo>
                  <a:lnTo>
                    <a:pt x="1173" y="46"/>
                  </a:lnTo>
                  <a:lnTo>
                    <a:pt x="1175" y="48"/>
                  </a:lnTo>
                  <a:lnTo>
                    <a:pt x="1181" y="57"/>
                  </a:lnTo>
                  <a:lnTo>
                    <a:pt x="1186" y="67"/>
                  </a:lnTo>
                  <a:lnTo>
                    <a:pt x="1189" y="68"/>
                  </a:lnTo>
                  <a:lnTo>
                    <a:pt x="1191" y="71"/>
                  </a:lnTo>
                  <a:lnTo>
                    <a:pt x="1192" y="71"/>
                  </a:lnTo>
                  <a:lnTo>
                    <a:pt x="1194" y="71"/>
                  </a:lnTo>
                  <a:lnTo>
                    <a:pt x="1196" y="68"/>
                  </a:lnTo>
                  <a:lnTo>
                    <a:pt x="1192" y="65"/>
                  </a:lnTo>
                  <a:lnTo>
                    <a:pt x="1192" y="60"/>
                  </a:lnTo>
                  <a:lnTo>
                    <a:pt x="1191" y="57"/>
                  </a:lnTo>
                  <a:lnTo>
                    <a:pt x="1189" y="54"/>
                  </a:lnTo>
                  <a:lnTo>
                    <a:pt x="1188" y="46"/>
                  </a:lnTo>
                  <a:lnTo>
                    <a:pt x="1185" y="38"/>
                  </a:lnTo>
                  <a:lnTo>
                    <a:pt x="1183" y="35"/>
                  </a:lnTo>
                  <a:lnTo>
                    <a:pt x="1183" y="33"/>
                  </a:lnTo>
                  <a:lnTo>
                    <a:pt x="1180" y="30"/>
                  </a:lnTo>
                  <a:lnTo>
                    <a:pt x="1177" y="27"/>
                  </a:lnTo>
                  <a:lnTo>
                    <a:pt x="1175" y="26"/>
                  </a:lnTo>
                  <a:lnTo>
                    <a:pt x="1170" y="26"/>
                  </a:lnTo>
                  <a:lnTo>
                    <a:pt x="1167" y="24"/>
                  </a:lnTo>
                  <a:lnTo>
                    <a:pt x="1162" y="24"/>
                  </a:lnTo>
                  <a:lnTo>
                    <a:pt x="1159" y="26"/>
                  </a:lnTo>
                  <a:lnTo>
                    <a:pt x="1156" y="26"/>
                  </a:lnTo>
                  <a:lnTo>
                    <a:pt x="1155" y="26"/>
                  </a:lnTo>
                  <a:lnTo>
                    <a:pt x="1151" y="26"/>
                  </a:lnTo>
                  <a:lnTo>
                    <a:pt x="1148" y="26"/>
                  </a:lnTo>
                  <a:lnTo>
                    <a:pt x="1145" y="24"/>
                  </a:lnTo>
                  <a:lnTo>
                    <a:pt x="1142" y="22"/>
                  </a:lnTo>
                  <a:lnTo>
                    <a:pt x="1136" y="19"/>
                  </a:lnTo>
                  <a:lnTo>
                    <a:pt x="1132" y="18"/>
                  </a:lnTo>
                  <a:lnTo>
                    <a:pt x="1125" y="13"/>
                  </a:lnTo>
                  <a:lnTo>
                    <a:pt x="1117" y="8"/>
                  </a:lnTo>
                  <a:lnTo>
                    <a:pt x="1113" y="7"/>
                  </a:lnTo>
                  <a:lnTo>
                    <a:pt x="1110" y="5"/>
                  </a:lnTo>
                  <a:lnTo>
                    <a:pt x="1107" y="3"/>
                  </a:lnTo>
                  <a:lnTo>
                    <a:pt x="1104" y="2"/>
                  </a:lnTo>
                  <a:lnTo>
                    <a:pt x="1093" y="0"/>
                  </a:lnTo>
                  <a:lnTo>
                    <a:pt x="1082" y="0"/>
                  </a:lnTo>
                  <a:lnTo>
                    <a:pt x="1072" y="0"/>
                  </a:lnTo>
                  <a:lnTo>
                    <a:pt x="1063" y="2"/>
                  </a:lnTo>
                  <a:lnTo>
                    <a:pt x="1060" y="2"/>
                  </a:lnTo>
                  <a:lnTo>
                    <a:pt x="1055" y="3"/>
                  </a:lnTo>
                  <a:lnTo>
                    <a:pt x="1052" y="3"/>
                  </a:lnTo>
                  <a:lnTo>
                    <a:pt x="1049" y="5"/>
                  </a:lnTo>
                  <a:lnTo>
                    <a:pt x="1046" y="7"/>
                  </a:lnTo>
                  <a:lnTo>
                    <a:pt x="1042" y="8"/>
                  </a:lnTo>
                  <a:lnTo>
                    <a:pt x="1039" y="10"/>
                  </a:lnTo>
                  <a:lnTo>
                    <a:pt x="1036" y="13"/>
                  </a:lnTo>
                  <a:lnTo>
                    <a:pt x="1034" y="15"/>
                  </a:lnTo>
                  <a:lnTo>
                    <a:pt x="1033" y="18"/>
                  </a:lnTo>
                  <a:lnTo>
                    <a:pt x="1031" y="19"/>
                  </a:lnTo>
                  <a:lnTo>
                    <a:pt x="1028" y="22"/>
                  </a:lnTo>
                  <a:lnTo>
                    <a:pt x="1027" y="26"/>
                  </a:lnTo>
                  <a:lnTo>
                    <a:pt x="1027" y="29"/>
                  </a:lnTo>
                  <a:lnTo>
                    <a:pt x="1023" y="33"/>
                  </a:lnTo>
                  <a:lnTo>
                    <a:pt x="1023" y="35"/>
                  </a:lnTo>
                  <a:lnTo>
                    <a:pt x="1020" y="43"/>
                  </a:lnTo>
                  <a:lnTo>
                    <a:pt x="1020" y="52"/>
                  </a:lnTo>
                  <a:lnTo>
                    <a:pt x="1020" y="60"/>
                  </a:lnTo>
                  <a:lnTo>
                    <a:pt x="1020" y="71"/>
                  </a:lnTo>
                  <a:lnTo>
                    <a:pt x="1020" y="76"/>
                  </a:lnTo>
                  <a:lnTo>
                    <a:pt x="1020" y="79"/>
                  </a:lnTo>
                  <a:lnTo>
                    <a:pt x="1019" y="84"/>
                  </a:lnTo>
                  <a:lnTo>
                    <a:pt x="1019" y="87"/>
                  </a:lnTo>
                  <a:lnTo>
                    <a:pt x="1019" y="89"/>
                  </a:lnTo>
                  <a:lnTo>
                    <a:pt x="1017" y="92"/>
                  </a:lnTo>
                  <a:lnTo>
                    <a:pt x="1016" y="93"/>
                  </a:lnTo>
                  <a:lnTo>
                    <a:pt x="1014" y="97"/>
                  </a:lnTo>
                  <a:lnTo>
                    <a:pt x="1012" y="100"/>
                  </a:lnTo>
                  <a:lnTo>
                    <a:pt x="1011" y="100"/>
                  </a:lnTo>
                  <a:lnTo>
                    <a:pt x="1009" y="101"/>
                  </a:lnTo>
                  <a:lnTo>
                    <a:pt x="1008" y="103"/>
                  </a:lnTo>
                  <a:lnTo>
                    <a:pt x="1003" y="104"/>
                  </a:lnTo>
                  <a:lnTo>
                    <a:pt x="998" y="108"/>
                  </a:lnTo>
                  <a:lnTo>
                    <a:pt x="985" y="108"/>
                  </a:lnTo>
                  <a:lnTo>
                    <a:pt x="974" y="109"/>
                  </a:lnTo>
                  <a:lnTo>
                    <a:pt x="970" y="111"/>
                  </a:lnTo>
                  <a:lnTo>
                    <a:pt x="963" y="112"/>
                  </a:lnTo>
                  <a:lnTo>
                    <a:pt x="957" y="112"/>
                  </a:lnTo>
                  <a:lnTo>
                    <a:pt x="952" y="115"/>
                  </a:lnTo>
                  <a:lnTo>
                    <a:pt x="949" y="119"/>
                  </a:lnTo>
                  <a:lnTo>
                    <a:pt x="948" y="122"/>
                  </a:lnTo>
                  <a:lnTo>
                    <a:pt x="944" y="125"/>
                  </a:lnTo>
                  <a:lnTo>
                    <a:pt x="943" y="130"/>
                  </a:lnTo>
                  <a:lnTo>
                    <a:pt x="940" y="138"/>
                  </a:lnTo>
                  <a:lnTo>
                    <a:pt x="937" y="144"/>
                  </a:lnTo>
                  <a:lnTo>
                    <a:pt x="930" y="156"/>
                  </a:lnTo>
                  <a:lnTo>
                    <a:pt x="924" y="168"/>
                  </a:lnTo>
                  <a:lnTo>
                    <a:pt x="921" y="174"/>
                  </a:lnTo>
                  <a:lnTo>
                    <a:pt x="919" y="179"/>
                  </a:lnTo>
                  <a:lnTo>
                    <a:pt x="916" y="183"/>
                  </a:lnTo>
                  <a:lnTo>
                    <a:pt x="911" y="186"/>
                  </a:lnTo>
                  <a:lnTo>
                    <a:pt x="908" y="191"/>
                  </a:lnTo>
                  <a:lnTo>
                    <a:pt x="905" y="194"/>
                  </a:lnTo>
                  <a:lnTo>
                    <a:pt x="900" y="197"/>
                  </a:lnTo>
                  <a:lnTo>
                    <a:pt x="895" y="199"/>
                  </a:lnTo>
                  <a:lnTo>
                    <a:pt x="891" y="201"/>
                  </a:lnTo>
                  <a:lnTo>
                    <a:pt x="886" y="202"/>
                  </a:lnTo>
                  <a:lnTo>
                    <a:pt x="880" y="202"/>
                  </a:lnTo>
                  <a:lnTo>
                    <a:pt x="875" y="201"/>
                  </a:lnTo>
                  <a:lnTo>
                    <a:pt x="872" y="201"/>
                  </a:lnTo>
                  <a:lnTo>
                    <a:pt x="872" y="202"/>
                  </a:lnTo>
                  <a:lnTo>
                    <a:pt x="870" y="204"/>
                  </a:lnTo>
                  <a:lnTo>
                    <a:pt x="870" y="205"/>
                  </a:lnTo>
                  <a:lnTo>
                    <a:pt x="869" y="209"/>
                  </a:lnTo>
                  <a:lnTo>
                    <a:pt x="867" y="215"/>
                  </a:lnTo>
                  <a:lnTo>
                    <a:pt x="865" y="216"/>
                  </a:lnTo>
                  <a:lnTo>
                    <a:pt x="864" y="220"/>
                  </a:lnTo>
                  <a:lnTo>
                    <a:pt x="862" y="221"/>
                  </a:lnTo>
                  <a:lnTo>
                    <a:pt x="859" y="223"/>
                  </a:lnTo>
                  <a:lnTo>
                    <a:pt x="858" y="224"/>
                  </a:lnTo>
                  <a:lnTo>
                    <a:pt x="854" y="227"/>
                  </a:lnTo>
                  <a:lnTo>
                    <a:pt x="850" y="227"/>
                  </a:lnTo>
                  <a:lnTo>
                    <a:pt x="846" y="227"/>
                  </a:lnTo>
                  <a:lnTo>
                    <a:pt x="846" y="234"/>
                  </a:lnTo>
                  <a:lnTo>
                    <a:pt x="846" y="240"/>
                  </a:lnTo>
                  <a:lnTo>
                    <a:pt x="846" y="245"/>
                  </a:lnTo>
                  <a:lnTo>
                    <a:pt x="845" y="250"/>
                  </a:lnTo>
                  <a:lnTo>
                    <a:pt x="845" y="253"/>
                  </a:lnTo>
                  <a:lnTo>
                    <a:pt x="843" y="256"/>
                  </a:lnTo>
                  <a:lnTo>
                    <a:pt x="842" y="257"/>
                  </a:lnTo>
                  <a:lnTo>
                    <a:pt x="842" y="261"/>
                  </a:lnTo>
                  <a:lnTo>
                    <a:pt x="839" y="262"/>
                  </a:lnTo>
                  <a:lnTo>
                    <a:pt x="839" y="264"/>
                  </a:lnTo>
                  <a:lnTo>
                    <a:pt x="835" y="265"/>
                  </a:lnTo>
                  <a:lnTo>
                    <a:pt x="834" y="265"/>
                  </a:lnTo>
                  <a:lnTo>
                    <a:pt x="829" y="267"/>
                  </a:lnTo>
                  <a:lnTo>
                    <a:pt x="824" y="267"/>
                  </a:lnTo>
                  <a:lnTo>
                    <a:pt x="824" y="275"/>
                  </a:lnTo>
                  <a:lnTo>
                    <a:pt x="823" y="281"/>
                  </a:lnTo>
                  <a:lnTo>
                    <a:pt x="821" y="287"/>
                  </a:lnTo>
                  <a:lnTo>
                    <a:pt x="821" y="294"/>
                  </a:lnTo>
                  <a:lnTo>
                    <a:pt x="820" y="297"/>
                  </a:lnTo>
                  <a:lnTo>
                    <a:pt x="818" y="300"/>
                  </a:lnTo>
                  <a:lnTo>
                    <a:pt x="816" y="303"/>
                  </a:lnTo>
                  <a:lnTo>
                    <a:pt x="813" y="305"/>
                  </a:lnTo>
                  <a:lnTo>
                    <a:pt x="812" y="306"/>
                  </a:lnTo>
                  <a:lnTo>
                    <a:pt x="807" y="308"/>
                  </a:lnTo>
                  <a:lnTo>
                    <a:pt x="804" y="308"/>
                  </a:lnTo>
                  <a:lnTo>
                    <a:pt x="801" y="309"/>
                  </a:lnTo>
                  <a:lnTo>
                    <a:pt x="793" y="311"/>
                  </a:lnTo>
                  <a:lnTo>
                    <a:pt x="783" y="311"/>
                  </a:lnTo>
                  <a:lnTo>
                    <a:pt x="783" y="322"/>
                  </a:lnTo>
                  <a:lnTo>
                    <a:pt x="783" y="335"/>
                  </a:lnTo>
                  <a:lnTo>
                    <a:pt x="785" y="344"/>
                  </a:lnTo>
                  <a:lnTo>
                    <a:pt x="783" y="352"/>
                  </a:lnTo>
                  <a:lnTo>
                    <a:pt x="783" y="362"/>
                  </a:lnTo>
                  <a:lnTo>
                    <a:pt x="783" y="368"/>
                  </a:lnTo>
                  <a:lnTo>
                    <a:pt x="780" y="374"/>
                  </a:lnTo>
                  <a:lnTo>
                    <a:pt x="780" y="380"/>
                  </a:lnTo>
                  <a:lnTo>
                    <a:pt x="777" y="385"/>
                  </a:lnTo>
                  <a:lnTo>
                    <a:pt x="775" y="388"/>
                  </a:lnTo>
                  <a:lnTo>
                    <a:pt x="775" y="391"/>
                  </a:lnTo>
                  <a:lnTo>
                    <a:pt x="772" y="393"/>
                  </a:lnTo>
                  <a:lnTo>
                    <a:pt x="771" y="395"/>
                  </a:lnTo>
                  <a:lnTo>
                    <a:pt x="769" y="396"/>
                  </a:lnTo>
                  <a:lnTo>
                    <a:pt x="767" y="398"/>
                  </a:lnTo>
                  <a:lnTo>
                    <a:pt x="764" y="398"/>
                  </a:lnTo>
                  <a:lnTo>
                    <a:pt x="763" y="398"/>
                  </a:lnTo>
                  <a:lnTo>
                    <a:pt x="753" y="399"/>
                  </a:lnTo>
                  <a:lnTo>
                    <a:pt x="739" y="401"/>
                  </a:lnTo>
                  <a:lnTo>
                    <a:pt x="722" y="404"/>
                  </a:lnTo>
                  <a:lnTo>
                    <a:pt x="703" y="406"/>
                  </a:lnTo>
                  <a:lnTo>
                    <a:pt x="681" y="409"/>
                  </a:lnTo>
                  <a:lnTo>
                    <a:pt x="668" y="410"/>
                  </a:lnTo>
                  <a:lnTo>
                    <a:pt x="655" y="410"/>
                  </a:lnTo>
                  <a:lnTo>
                    <a:pt x="644" y="410"/>
                  </a:lnTo>
                  <a:lnTo>
                    <a:pt x="628" y="412"/>
                  </a:lnTo>
                  <a:lnTo>
                    <a:pt x="632" y="412"/>
                  </a:lnTo>
                  <a:lnTo>
                    <a:pt x="635" y="412"/>
                  </a:lnTo>
                  <a:lnTo>
                    <a:pt x="636" y="412"/>
                  </a:lnTo>
                  <a:lnTo>
                    <a:pt x="636" y="410"/>
                  </a:lnTo>
                  <a:lnTo>
                    <a:pt x="628" y="410"/>
                  </a:lnTo>
                  <a:lnTo>
                    <a:pt x="622" y="410"/>
                  </a:lnTo>
                  <a:lnTo>
                    <a:pt x="614" y="410"/>
                  </a:lnTo>
                  <a:lnTo>
                    <a:pt x="606" y="410"/>
                  </a:lnTo>
                  <a:lnTo>
                    <a:pt x="598" y="409"/>
                  </a:lnTo>
                  <a:lnTo>
                    <a:pt x="592" y="409"/>
                  </a:lnTo>
                  <a:lnTo>
                    <a:pt x="586" y="406"/>
                  </a:lnTo>
                  <a:lnTo>
                    <a:pt x="578" y="406"/>
                  </a:lnTo>
                  <a:lnTo>
                    <a:pt x="572" y="403"/>
                  </a:lnTo>
                  <a:lnTo>
                    <a:pt x="567" y="415"/>
                  </a:lnTo>
                  <a:lnTo>
                    <a:pt x="562" y="429"/>
                  </a:lnTo>
                  <a:lnTo>
                    <a:pt x="560" y="434"/>
                  </a:lnTo>
                  <a:lnTo>
                    <a:pt x="560" y="440"/>
                  </a:lnTo>
                  <a:lnTo>
                    <a:pt x="559" y="447"/>
                  </a:lnTo>
                  <a:lnTo>
                    <a:pt x="557" y="451"/>
                  </a:lnTo>
                  <a:lnTo>
                    <a:pt x="557" y="456"/>
                  </a:lnTo>
                  <a:lnTo>
                    <a:pt x="557" y="459"/>
                  </a:lnTo>
                  <a:lnTo>
                    <a:pt x="559" y="464"/>
                  </a:lnTo>
                  <a:lnTo>
                    <a:pt x="560" y="467"/>
                  </a:lnTo>
                  <a:lnTo>
                    <a:pt x="565" y="474"/>
                  </a:lnTo>
                  <a:lnTo>
                    <a:pt x="570" y="480"/>
                  </a:lnTo>
                  <a:lnTo>
                    <a:pt x="572" y="483"/>
                  </a:lnTo>
                  <a:lnTo>
                    <a:pt x="573" y="486"/>
                  </a:lnTo>
                  <a:lnTo>
                    <a:pt x="575" y="489"/>
                  </a:lnTo>
                  <a:lnTo>
                    <a:pt x="576" y="492"/>
                  </a:lnTo>
                  <a:lnTo>
                    <a:pt x="578" y="497"/>
                  </a:lnTo>
                  <a:lnTo>
                    <a:pt x="578" y="502"/>
                  </a:lnTo>
                  <a:lnTo>
                    <a:pt x="576" y="503"/>
                  </a:lnTo>
                  <a:lnTo>
                    <a:pt x="576" y="505"/>
                  </a:lnTo>
                  <a:lnTo>
                    <a:pt x="573" y="507"/>
                  </a:lnTo>
                  <a:lnTo>
                    <a:pt x="570" y="508"/>
                  </a:lnTo>
                  <a:lnTo>
                    <a:pt x="567" y="508"/>
                  </a:lnTo>
                  <a:lnTo>
                    <a:pt x="565" y="510"/>
                  </a:lnTo>
                  <a:lnTo>
                    <a:pt x="564" y="513"/>
                  </a:lnTo>
                  <a:close/>
                </a:path>
              </a:pathLst>
            </a:custGeom>
            <a:solidFill>
              <a:srgbClr val="0070C0">
                <a:alpha val="10000"/>
              </a:srgbClr>
            </a:solidFill>
            <a:ln w="9525">
              <a:solidFill>
                <a:srgbClr val="FFFFFF">
                  <a:alpha val="0"/>
                </a:srgbClr>
              </a:solidFill>
              <a:round/>
              <a:headEnd/>
              <a:tailEnd/>
            </a:ln>
          </p:spPr>
          <p:txBody>
            <a:bodyPr lIns="91413" tIns="45707" rIns="91413" bIns="45707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372">
                <a:defRPr/>
              </a:pPr>
              <a:endParaRPr lang="ru-RU" sz="1700" dirty="0">
                <a:solidFill>
                  <a:srgbClr val="000000"/>
                </a:solidFill>
                <a:latin typeface="Arial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7C5795F-992C-4BE5-8B77-379C7E608C1E}"/>
                </a:ext>
              </a:extLst>
            </p:cNvPr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 rot="389746">
              <a:off x="5735556" y="5827592"/>
              <a:ext cx="2391961" cy="1813938"/>
            </a:xfrm>
            <a:custGeom>
              <a:avLst/>
              <a:gdLst>
                <a:gd name="T0" fmla="*/ 2147483647 w 869"/>
                <a:gd name="T1" fmla="*/ 2147483647 h 717"/>
                <a:gd name="T2" fmla="*/ 2147483647 w 869"/>
                <a:gd name="T3" fmla="*/ 2147483647 h 717"/>
                <a:gd name="T4" fmla="*/ 2147483647 w 869"/>
                <a:gd name="T5" fmla="*/ 2147483647 h 717"/>
                <a:gd name="T6" fmla="*/ 2147483647 w 869"/>
                <a:gd name="T7" fmla="*/ 2147483647 h 717"/>
                <a:gd name="T8" fmla="*/ 2147483647 w 869"/>
                <a:gd name="T9" fmla="*/ 2147483647 h 717"/>
                <a:gd name="T10" fmla="*/ 2147483647 w 869"/>
                <a:gd name="T11" fmla="*/ 2147483647 h 717"/>
                <a:gd name="T12" fmla="*/ 2147483647 w 869"/>
                <a:gd name="T13" fmla="*/ 2147483647 h 717"/>
                <a:gd name="T14" fmla="*/ 2147483647 w 869"/>
                <a:gd name="T15" fmla="*/ 2147483647 h 717"/>
                <a:gd name="T16" fmla="*/ 2147483647 w 869"/>
                <a:gd name="T17" fmla="*/ 2147483647 h 717"/>
                <a:gd name="T18" fmla="*/ 0 w 869"/>
                <a:gd name="T19" fmla="*/ 2147483647 h 717"/>
                <a:gd name="T20" fmla="*/ 2147483647 w 869"/>
                <a:gd name="T21" fmla="*/ 2147483647 h 717"/>
                <a:gd name="T22" fmla="*/ 2147483647 w 869"/>
                <a:gd name="T23" fmla="*/ 2147483647 h 717"/>
                <a:gd name="T24" fmla="*/ 2147483647 w 869"/>
                <a:gd name="T25" fmla="*/ 2147483647 h 717"/>
                <a:gd name="T26" fmla="*/ 2147483647 w 869"/>
                <a:gd name="T27" fmla="*/ 2147483647 h 717"/>
                <a:gd name="T28" fmla="*/ 2147483647 w 869"/>
                <a:gd name="T29" fmla="*/ 2147483647 h 717"/>
                <a:gd name="T30" fmla="*/ 2147483647 w 869"/>
                <a:gd name="T31" fmla="*/ 2147483647 h 717"/>
                <a:gd name="T32" fmla="*/ 2147483647 w 869"/>
                <a:gd name="T33" fmla="*/ 2147483647 h 717"/>
                <a:gd name="T34" fmla="*/ 2147483647 w 869"/>
                <a:gd name="T35" fmla="*/ 2147483647 h 717"/>
                <a:gd name="T36" fmla="*/ 2147483647 w 869"/>
                <a:gd name="T37" fmla="*/ 2147483647 h 717"/>
                <a:gd name="T38" fmla="*/ 2147483647 w 869"/>
                <a:gd name="T39" fmla="*/ 2147483647 h 717"/>
                <a:gd name="T40" fmla="*/ 2147483647 w 869"/>
                <a:gd name="T41" fmla="*/ 2147483647 h 717"/>
                <a:gd name="T42" fmla="*/ 2147483647 w 869"/>
                <a:gd name="T43" fmla="*/ 2147483647 h 717"/>
                <a:gd name="T44" fmla="*/ 2147483647 w 869"/>
                <a:gd name="T45" fmla="*/ 2147483647 h 717"/>
                <a:gd name="T46" fmla="*/ 2147483647 w 869"/>
                <a:gd name="T47" fmla="*/ 2147483647 h 717"/>
                <a:gd name="T48" fmla="*/ 2147483647 w 869"/>
                <a:gd name="T49" fmla="*/ 2147483647 h 717"/>
                <a:gd name="T50" fmla="*/ 2147483647 w 869"/>
                <a:gd name="T51" fmla="*/ 2147483647 h 717"/>
                <a:gd name="T52" fmla="*/ 2147483647 w 869"/>
                <a:gd name="T53" fmla="*/ 2147483647 h 717"/>
                <a:gd name="T54" fmla="*/ 2147483647 w 869"/>
                <a:gd name="T55" fmla="*/ 2147483647 h 717"/>
                <a:gd name="T56" fmla="*/ 2147483647 w 869"/>
                <a:gd name="T57" fmla="*/ 2147483647 h 717"/>
                <a:gd name="T58" fmla="*/ 2147483647 w 869"/>
                <a:gd name="T59" fmla="*/ 2147483647 h 717"/>
                <a:gd name="T60" fmla="*/ 2147483647 w 869"/>
                <a:gd name="T61" fmla="*/ 2147483647 h 717"/>
                <a:gd name="T62" fmla="*/ 2147483647 w 869"/>
                <a:gd name="T63" fmla="*/ 2147483647 h 717"/>
                <a:gd name="T64" fmla="*/ 2147483647 w 869"/>
                <a:gd name="T65" fmla="*/ 2147483647 h 717"/>
                <a:gd name="T66" fmla="*/ 2147483647 w 869"/>
                <a:gd name="T67" fmla="*/ 2147483647 h 717"/>
                <a:gd name="T68" fmla="*/ 2147483647 w 869"/>
                <a:gd name="T69" fmla="*/ 2147483647 h 717"/>
                <a:gd name="T70" fmla="*/ 2147483647 w 869"/>
                <a:gd name="T71" fmla="*/ 2147483647 h 717"/>
                <a:gd name="T72" fmla="*/ 2147483647 w 869"/>
                <a:gd name="T73" fmla="*/ 2147483647 h 717"/>
                <a:gd name="T74" fmla="*/ 2147483647 w 869"/>
                <a:gd name="T75" fmla="*/ 2147483647 h 717"/>
                <a:gd name="T76" fmla="*/ 2147483647 w 869"/>
                <a:gd name="T77" fmla="*/ 2147483647 h 717"/>
                <a:gd name="T78" fmla="*/ 2147483647 w 869"/>
                <a:gd name="T79" fmla="*/ 2147483647 h 717"/>
                <a:gd name="T80" fmla="*/ 2147483647 w 869"/>
                <a:gd name="T81" fmla="*/ 2147483647 h 717"/>
                <a:gd name="T82" fmla="*/ 2147483647 w 869"/>
                <a:gd name="T83" fmla="*/ 2147483647 h 717"/>
                <a:gd name="T84" fmla="*/ 2147483647 w 869"/>
                <a:gd name="T85" fmla="*/ 2147483647 h 717"/>
                <a:gd name="T86" fmla="*/ 2147483647 w 869"/>
                <a:gd name="T87" fmla="*/ 2147483647 h 717"/>
                <a:gd name="T88" fmla="*/ 2147483647 w 869"/>
                <a:gd name="T89" fmla="*/ 2147483647 h 717"/>
                <a:gd name="T90" fmla="*/ 2147483647 w 869"/>
                <a:gd name="T91" fmla="*/ 2147483647 h 717"/>
                <a:gd name="T92" fmla="*/ 2147483647 w 869"/>
                <a:gd name="T93" fmla="*/ 2147483647 h 717"/>
                <a:gd name="T94" fmla="*/ 2147483647 w 869"/>
                <a:gd name="T95" fmla="*/ 2147483647 h 717"/>
                <a:gd name="T96" fmla="*/ 2147483647 w 869"/>
                <a:gd name="T97" fmla="*/ 2147483647 h 717"/>
                <a:gd name="T98" fmla="*/ 2147483647 w 869"/>
                <a:gd name="T99" fmla="*/ 2147483647 h 717"/>
                <a:gd name="T100" fmla="*/ 2147483647 w 869"/>
                <a:gd name="T101" fmla="*/ 2147483647 h 717"/>
                <a:gd name="T102" fmla="*/ 2147483647 w 869"/>
                <a:gd name="T103" fmla="*/ 2147483647 h 717"/>
                <a:gd name="T104" fmla="*/ 2147483647 w 869"/>
                <a:gd name="T105" fmla="*/ 2147483647 h 717"/>
                <a:gd name="T106" fmla="*/ 2147483647 w 869"/>
                <a:gd name="T107" fmla="*/ 2147483647 h 717"/>
                <a:gd name="T108" fmla="*/ 2147483647 w 869"/>
                <a:gd name="T109" fmla="*/ 2147483647 h 717"/>
                <a:gd name="T110" fmla="*/ 2147483647 w 869"/>
                <a:gd name="T111" fmla="*/ 2147483647 h 717"/>
                <a:gd name="T112" fmla="*/ 2147483647 w 869"/>
                <a:gd name="T113" fmla="*/ 2147483647 h 717"/>
                <a:gd name="T114" fmla="*/ 2147483647 w 869"/>
                <a:gd name="T115" fmla="*/ 2147483647 h 717"/>
                <a:gd name="T116" fmla="*/ 2147483647 w 869"/>
                <a:gd name="T117" fmla="*/ 2147483647 h 717"/>
                <a:gd name="T118" fmla="*/ 2147483647 w 869"/>
                <a:gd name="T119" fmla="*/ 2147483647 h 717"/>
                <a:gd name="T120" fmla="*/ 2147483647 w 869"/>
                <a:gd name="T121" fmla="*/ 2147483647 h 717"/>
                <a:gd name="T122" fmla="*/ 2147483647 w 869"/>
                <a:gd name="T123" fmla="*/ 2147483647 h 717"/>
                <a:gd name="T124" fmla="*/ 2147483647 w 869"/>
                <a:gd name="T125" fmla="*/ 2147483647 h 71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69"/>
                <a:gd name="T190" fmla="*/ 0 h 717"/>
                <a:gd name="T191" fmla="*/ 869 w 869"/>
                <a:gd name="T192" fmla="*/ 717 h 71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69" h="717">
                  <a:moveTo>
                    <a:pt x="484" y="419"/>
                  </a:moveTo>
                  <a:lnTo>
                    <a:pt x="485" y="419"/>
                  </a:lnTo>
                  <a:lnTo>
                    <a:pt x="487" y="421"/>
                  </a:lnTo>
                  <a:lnTo>
                    <a:pt x="485" y="429"/>
                  </a:lnTo>
                  <a:lnTo>
                    <a:pt x="485" y="425"/>
                  </a:lnTo>
                  <a:lnTo>
                    <a:pt x="487" y="421"/>
                  </a:lnTo>
                  <a:lnTo>
                    <a:pt x="484" y="419"/>
                  </a:lnTo>
                  <a:close/>
                  <a:moveTo>
                    <a:pt x="190" y="67"/>
                  </a:moveTo>
                  <a:lnTo>
                    <a:pt x="193" y="71"/>
                  </a:lnTo>
                  <a:lnTo>
                    <a:pt x="190" y="71"/>
                  </a:lnTo>
                  <a:lnTo>
                    <a:pt x="190" y="67"/>
                  </a:lnTo>
                  <a:lnTo>
                    <a:pt x="188" y="67"/>
                  </a:lnTo>
                  <a:lnTo>
                    <a:pt x="187" y="66"/>
                  </a:lnTo>
                  <a:lnTo>
                    <a:pt x="185" y="63"/>
                  </a:lnTo>
                  <a:lnTo>
                    <a:pt x="182" y="61"/>
                  </a:lnTo>
                  <a:lnTo>
                    <a:pt x="177" y="66"/>
                  </a:lnTo>
                  <a:lnTo>
                    <a:pt x="174" y="67"/>
                  </a:lnTo>
                  <a:lnTo>
                    <a:pt x="172" y="71"/>
                  </a:lnTo>
                  <a:lnTo>
                    <a:pt x="169" y="74"/>
                  </a:lnTo>
                  <a:lnTo>
                    <a:pt x="169" y="75"/>
                  </a:lnTo>
                  <a:lnTo>
                    <a:pt x="166" y="75"/>
                  </a:lnTo>
                  <a:lnTo>
                    <a:pt x="161" y="78"/>
                  </a:lnTo>
                  <a:lnTo>
                    <a:pt x="155" y="82"/>
                  </a:lnTo>
                  <a:lnTo>
                    <a:pt x="152" y="82"/>
                  </a:lnTo>
                  <a:lnTo>
                    <a:pt x="152" y="83"/>
                  </a:lnTo>
                  <a:lnTo>
                    <a:pt x="149" y="86"/>
                  </a:lnTo>
                  <a:lnTo>
                    <a:pt x="149" y="88"/>
                  </a:lnTo>
                  <a:lnTo>
                    <a:pt x="145" y="93"/>
                  </a:lnTo>
                  <a:lnTo>
                    <a:pt x="144" y="97"/>
                  </a:lnTo>
                  <a:lnTo>
                    <a:pt x="142" y="101"/>
                  </a:lnTo>
                  <a:lnTo>
                    <a:pt x="141" y="102"/>
                  </a:lnTo>
                  <a:lnTo>
                    <a:pt x="139" y="104"/>
                  </a:lnTo>
                  <a:lnTo>
                    <a:pt x="136" y="105"/>
                  </a:lnTo>
                  <a:lnTo>
                    <a:pt x="133" y="107"/>
                  </a:lnTo>
                  <a:lnTo>
                    <a:pt x="128" y="108"/>
                  </a:lnTo>
                  <a:lnTo>
                    <a:pt x="125" y="108"/>
                  </a:lnTo>
                  <a:lnTo>
                    <a:pt x="120" y="108"/>
                  </a:lnTo>
                  <a:lnTo>
                    <a:pt x="119" y="116"/>
                  </a:lnTo>
                  <a:lnTo>
                    <a:pt x="115" y="123"/>
                  </a:lnTo>
                  <a:lnTo>
                    <a:pt x="114" y="129"/>
                  </a:lnTo>
                  <a:lnTo>
                    <a:pt x="114" y="135"/>
                  </a:lnTo>
                  <a:lnTo>
                    <a:pt x="109" y="145"/>
                  </a:lnTo>
                  <a:lnTo>
                    <a:pt x="106" y="157"/>
                  </a:lnTo>
                  <a:lnTo>
                    <a:pt x="106" y="160"/>
                  </a:lnTo>
                  <a:lnTo>
                    <a:pt x="106" y="165"/>
                  </a:lnTo>
                  <a:lnTo>
                    <a:pt x="108" y="168"/>
                  </a:lnTo>
                  <a:lnTo>
                    <a:pt x="108" y="170"/>
                  </a:lnTo>
                  <a:lnTo>
                    <a:pt x="108" y="173"/>
                  </a:lnTo>
                  <a:lnTo>
                    <a:pt x="109" y="175"/>
                  </a:lnTo>
                  <a:lnTo>
                    <a:pt x="109" y="178"/>
                  </a:lnTo>
                  <a:lnTo>
                    <a:pt x="108" y="183"/>
                  </a:lnTo>
                  <a:lnTo>
                    <a:pt x="104" y="186"/>
                  </a:lnTo>
                  <a:lnTo>
                    <a:pt x="103" y="186"/>
                  </a:lnTo>
                  <a:lnTo>
                    <a:pt x="100" y="186"/>
                  </a:lnTo>
                  <a:lnTo>
                    <a:pt x="95" y="186"/>
                  </a:lnTo>
                  <a:lnTo>
                    <a:pt x="92" y="186"/>
                  </a:lnTo>
                  <a:lnTo>
                    <a:pt x="92" y="189"/>
                  </a:lnTo>
                  <a:lnTo>
                    <a:pt x="93" y="190"/>
                  </a:lnTo>
                  <a:lnTo>
                    <a:pt x="93" y="192"/>
                  </a:lnTo>
                  <a:lnTo>
                    <a:pt x="93" y="194"/>
                  </a:lnTo>
                  <a:lnTo>
                    <a:pt x="97" y="197"/>
                  </a:lnTo>
                  <a:lnTo>
                    <a:pt x="98" y="200"/>
                  </a:lnTo>
                  <a:lnTo>
                    <a:pt x="101" y="203"/>
                  </a:lnTo>
                  <a:lnTo>
                    <a:pt x="104" y="206"/>
                  </a:lnTo>
                  <a:lnTo>
                    <a:pt x="106" y="209"/>
                  </a:lnTo>
                  <a:lnTo>
                    <a:pt x="106" y="211"/>
                  </a:lnTo>
                  <a:lnTo>
                    <a:pt x="106" y="214"/>
                  </a:lnTo>
                  <a:lnTo>
                    <a:pt x="106" y="216"/>
                  </a:lnTo>
                  <a:lnTo>
                    <a:pt x="106" y="219"/>
                  </a:lnTo>
                  <a:lnTo>
                    <a:pt x="104" y="224"/>
                  </a:lnTo>
                  <a:lnTo>
                    <a:pt x="103" y="227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1" y="236"/>
                  </a:lnTo>
                  <a:lnTo>
                    <a:pt x="98" y="236"/>
                  </a:lnTo>
                  <a:lnTo>
                    <a:pt x="98" y="239"/>
                  </a:lnTo>
                  <a:lnTo>
                    <a:pt x="97" y="243"/>
                  </a:lnTo>
                  <a:lnTo>
                    <a:pt x="95" y="243"/>
                  </a:lnTo>
                  <a:lnTo>
                    <a:pt x="95" y="244"/>
                  </a:lnTo>
                  <a:lnTo>
                    <a:pt x="93" y="244"/>
                  </a:lnTo>
                  <a:lnTo>
                    <a:pt x="92" y="246"/>
                  </a:lnTo>
                  <a:lnTo>
                    <a:pt x="87" y="244"/>
                  </a:lnTo>
                  <a:lnTo>
                    <a:pt x="82" y="244"/>
                  </a:lnTo>
                  <a:lnTo>
                    <a:pt x="79" y="243"/>
                  </a:lnTo>
                  <a:lnTo>
                    <a:pt x="76" y="241"/>
                  </a:lnTo>
                  <a:lnTo>
                    <a:pt x="73" y="238"/>
                  </a:lnTo>
                  <a:lnTo>
                    <a:pt x="70" y="235"/>
                  </a:lnTo>
                  <a:lnTo>
                    <a:pt x="68" y="231"/>
                  </a:lnTo>
                  <a:lnTo>
                    <a:pt x="65" y="228"/>
                  </a:lnTo>
                  <a:lnTo>
                    <a:pt x="60" y="224"/>
                  </a:lnTo>
                  <a:lnTo>
                    <a:pt x="54" y="217"/>
                  </a:lnTo>
                  <a:lnTo>
                    <a:pt x="52" y="214"/>
                  </a:lnTo>
                  <a:lnTo>
                    <a:pt x="49" y="214"/>
                  </a:lnTo>
                  <a:lnTo>
                    <a:pt x="46" y="213"/>
                  </a:lnTo>
                  <a:lnTo>
                    <a:pt x="43" y="213"/>
                  </a:lnTo>
                  <a:lnTo>
                    <a:pt x="41" y="213"/>
                  </a:lnTo>
                  <a:lnTo>
                    <a:pt x="40" y="214"/>
                  </a:lnTo>
                  <a:lnTo>
                    <a:pt x="38" y="214"/>
                  </a:lnTo>
                  <a:lnTo>
                    <a:pt x="36" y="217"/>
                  </a:lnTo>
                  <a:lnTo>
                    <a:pt x="36" y="220"/>
                  </a:lnTo>
                  <a:lnTo>
                    <a:pt x="36" y="227"/>
                  </a:lnTo>
                  <a:lnTo>
                    <a:pt x="36" y="231"/>
                  </a:lnTo>
                  <a:lnTo>
                    <a:pt x="36" y="235"/>
                  </a:lnTo>
                  <a:lnTo>
                    <a:pt x="36" y="236"/>
                  </a:lnTo>
                  <a:lnTo>
                    <a:pt x="35" y="236"/>
                  </a:lnTo>
                  <a:lnTo>
                    <a:pt x="33" y="239"/>
                  </a:lnTo>
                  <a:lnTo>
                    <a:pt x="32" y="243"/>
                  </a:lnTo>
                  <a:lnTo>
                    <a:pt x="25" y="247"/>
                  </a:lnTo>
                  <a:lnTo>
                    <a:pt x="19" y="252"/>
                  </a:lnTo>
                  <a:lnTo>
                    <a:pt x="16" y="254"/>
                  </a:lnTo>
                  <a:lnTo>
                    <a:pt x="11" y="255"/>
                  </a:lnTo>
                  <a:lnTo>
                    <a:pt x="8" y="258"/>
                  </a:lnTo>
                  <a:lnTo>
                    <a:pt x="5" y="261"/>
                  </a:lnTo>
                  <a:lnTo>
                    <a:pt x="3" y="265"/>
                  </a:lnTo>
                  <a:lnTo>
                    <a:pt x="2" y="268"/>
                  </a:lnTo>
                  <a:lnTo>
                    <a:pt x="0" y="271"/>
                  </a:lnTo>
                  <a:lnTo>
                    <a:pt x="0" y="272"/>
                  </a:lnTo>
                  <a:lnTo>
                    <a:pt x="0" y="276"/>
                  </a:lnTo>
                  <a:lnTo>
                    <a:pt x="0" y="277"/>
                  </a:lnTo>
                  <a:lnTo>
                    <a:pt x="0" y="282"/>
                  </a:lnTo>
                  <a:lnTo>
                    <a:pt x="0" y="285"/>
                  </a:lnTo>
                  <a:lnTo>
                    <a:pt x="2" y="288"/>
                  </a:lnTo>
                  <a:lnTo>
                    <a:pt x="3" y="290"/>
                  </a:lnTo>
                  <a:lnTo>
                    <a:pt x="5" y="293"/>
                  </a:lnTo>
                  <a:lnTo>
                    <a:pt x="8" y="293"/>
                  </a:lnTo>
                  <a:lnTo>
                    <a:pt x="11" y="293"/>
                  </a:lnTo>
                  <a:lnTo>
                    <a:pt x="14" y="295"/>
                  </a:lnTo>
                  <a:lnTo>
                    <a:pt x="18" y="293"/>
                  </a:lnTo>
                  <a:lnTo>
                    <a:pt x="19" y="293"/>
                  </a:lnTo>
                  <a:lnTo>
                    <a:pt x="21" y="293"/>
                  </a:lnTo>
                  <a:lnTo>
                    <a:pt x="24" y="291"/>
                  </a:lnTo>
                  <a:lnTo>
                    <a:pt x="24" y="290"/>
                  </a:lnTo>
                  <a:lnTo>
                    <a:pt x="25" y="290"/>
                  </a:lnTo>
                  <a:lnTo>
                    <a:pt x="27" y="288"/>
                  </a:lnTo>
                  <a:lnTo>
                    <a:pt x="29" y="287"/>
                  </a:lnTo>
                  <a:lnTo>
                    <a:pt x="33" y="295"/>
                  </a:lnTo>
                  <a:lnTo>
                    <a:pt x="38" y="302"/>
                  </a:lnTo>
                  <a:lnTo>
                    <a:pt x="43" y="310"/>
                  </a:lnTo>
                  <a:lnTo>
                    <a:pt x="46" y="317"/>
                  </a:lnTo>
                  <a:lnTo>
                    <a:pt x="49" y="318"/>
                  </a:lnTo>
                  <a:lnTo>
                    <a:pt x="52" y="318"/>
                  </a:lnTo>
                  <a:lnTo>
                    <a:pt x="54" y="321"/>
                  </a:lnTo>
                  <a:lnTo>
                    <a:pt x="57" y="321"/>
                  </a:lnTo>
                  <a:lnTo>
                    <a:pt x="62" y="323"/>
                  </a:lnTo>
                  <a:lnTo>
                    <a:pt x="68" y="325"/>
                  </a:lnTo>
                  <a:lnTo>
                    <a:pt x="71" y="325"/>
                  </a:lnTo>
                  <a:lnTo>
                    <a:pt x="74" y="326"/>
                  </a:lnTo>
                  <a:lnTo>
                    <a:pt x="76" y="328"/>
                  </a:lnTo>
                  <a:lnTo>
                    <a:pt x="78" y="329"/>
                  </a:lnTo>
                  <a:lnTo>
                    <a:pt x="79" y="331"/>
                  </a:lnTo>
                  <a:lnTo>
                    <a:pt x="81" y="334"/>
                  </a:lnTo>
                  <a:lnTo>
                    <a:pt x="82" y="337"/>
                  </a:lnTo>
                  <a:lnTo>
                    <a:pt x="82" y="342"/>
                  </a:lnTo>
                  <a:lnTo>
                    <a:pt x="82" y="343"/>
                  </a:lnTo>
                  <a:lnTo>
                    <a:pt x="81" y="347"/>
                  </a:lnTo>
                  <a:lnTo>
                    <a:pt x="79" y="351"/>
                  </a:lnTo>
                  <a:lnTo>
                    <a:pt x="78" y="354"/>
                  </a:lnTo>
                  <a:lnTo>
                    <a:pt x="74" y="359"/>
                  </a:lnTo>
                  <a:lnTo>
                    <a:pt x="73" y="364"/>
                  </a:lnTo>
                  <a:lnTo>
                    <a:pt x="76" y="383"/>
                  </a:lnTo>
                  <a:lnTo>
                    <a:pt x="74" y="384"/>
                  </a:lnTo>
                  <a:lnTo>
                    <a:pt x="71" y="388"/>
                  </a:lnTo>
                  <a:lnTo>
                    <a:pt x="70" y="388"/>
                  </a:lnTo>
                  <a:lnTo>
                    <a:pt x="70" y="389"/>
                  </a:lnTo>
                  <a:lnTo>
                    <a:pt x="68" y="389"/>
                  </a:lnTo>
                  <a:lnTo>
                    <a:pt x="66" y="389"/>
                  </a:lnTo>
                  <a:lnTo>
                    <a:pt x="65" y="388"/>
                  </a:lnTo>
                  <a:lnTo>
                    <a:pt x="65" y="386"/>
                  </a:lnTo>
                  <a:lnTo>
                    <a:pt x="62" y="384"/>
                  </a:lnTo>
                  <a:lnTo>
                    <a:pt x="62" y="383"/>
                  </a:lnTo>
                  <a:lnTo>
                    <a:pt x="57" y="384"/>
                  </a:lnTo>
                  <a:lnTo>
                    <a:pt x="54" y="388"/>
                  </a:lnTo>
                  <a:lnTo>
                    <a:pt x="49" y="391"/>
                  </a:lnTo>
                  <a:lnTo>
                    <a:pt x="46" y="396"/>
                  </a:lnTo>
                  <a:lnTo>
                    <a:pt x="43" y="397"/>
                  </a:lnTo>
                  <a:lnTo>
                    <a:pt x="40" y="402"/>
                  </a:lnTo>
                  <a:lnTo>
                    <a:pt x="40" y="403"/>
                  </a:lnTo>
                  <a:lnTo>
                    <a:pt x="38" y="405"/>
                  </a:lnTo>
                  <a:lnTo>
                    <a:pt x="38" y="408"/>
                  </a:lnTo>
                  <a:lnTo>
                    <a:pt x="36" y="410"/>
                  </a:lnTo>
                  <a:lnTo>
                    <a:pt x="38" y="413"/>
                  </a:lnTo>
                  <a:lnTo>
                    <a:pt x="38" y="414"/>
                  </a:lnTo>
                  <a:lnTo>
                    <a:pt x="40" y="418"/>
                  </a:lnTo>
                  <a:lnTo>
                    <a:pt x="41" y="422"/>
                  </a:lnTo>
                  <a:lnTo>
                    <a:pt x="44" y="425"/>
                  </a:lnTo>
                  <a:lnTo>
                    <a:pt x="51" y="430"/>
                  </a:lnTo>
                  <a:lnTo>
                    <a:pt x="57" y="437"/>
                  </a:lnTo>
                  <a:lnTo>
                    <a:pt x="59" y="438"/>
                  </a:lnTo>
                  <a:lnTo>
                    <a:pt x="59" y="440"/>
                  </a:lnTo>
                  <a:lnTo>
                    <a:pt x="59" y="441"/>
                  </a:lnTo>
                  <a:lnTo>
                    <a:pt x="60" y="446"/>
                  </a:lnTo>
                  <a:lnTo>
                    <a:pt x="60" y="449"/>
                  </a:lnTo>
                  <a:lnTo>
                    <a:pt x="59" y="451"/>
                  </a:lnTo>
                  <a:lnTo>
                    <a:pt x="59" y="454"/>
                  </a:lnTo>
                  <a:lnTo>
                    <a:pt x="59" y="457"/>
                  </a:lnTo>
                  <a:lnTo>
                    <a:pt x="59" y="460"/>
                  </a:lnTo>
                  <a:lnTo>
                    <a:pt x="60" y="460"/>
                  </a:lnTo>
                  <a:lnTo>
                    <a:pt x="59" y="462"/>
                  </a:lnTo>
                  <a:lnTo>
                    <a:pt x="57" y="463"/>
                  </a:lnTo>
                  <a:lnTo>
                    <a:pt x="55" y="466"/>
                  </a:lnTo>
                  <a:lnTo>
                    <a:pt x="54" y="470"/>
                  </a:lnTo>
                  <a:lnTo>
                    <a:pt x="52" y="474"/>
                  </a:lnTo>
                  <a:lnTo>
                    <a:pt x="51" y="479"/>
                  </a:lnTo>
                  <a:lnTo>
                    <a:pt x="49" y="482"/>
                  </a:lnTo>
                  <a:lnTo>
                    <a:pt x="46" y="484"/>
                  </a:lnTo>
                  <a:lnTo>
                    <a:pt x="44" y="487"/>
                  </a:lnTo>
                  <a:lnTo>
                    <a:pt x="40" y="489"/>
                  </a:lnTo>
                  <a:lnTo>
                    <a:pt x="38" y="490"/>
                  </a:lnTo>
                  <a:lnTo>
                    <a:pt x="35" y="492"/>
                  </a:lnTo>
                  <a:lnTo>
                    <a:pt x="35" y="493"/>
                  </a:lnTo>
                  <a:lnTo>
                    <a:pt x="33" y="495"/>
                  </a:lnTo>
                  <a:lnTo>
                    <a:pt x="33" y="496"/>
                  </a:lnTo>
                  <a:lnTo>
                    <a:pt x="33" y="498"/>
                  </a:lnTo>
                  <a:lnTo>
                    <a:pt x="33" y="501"/>
                  </a:lnTo>
                  <a:lnTo>
                    <a:pt x="33" y="504"/>
                  </a:lnTo>
                  <a:lnTo>
                    <a:pt x="35" y="506"/>
                  </a:lnTo>
                  <a:lnTo>
                    <a:pt x="36" y="507"/>
                  </a:lnTo>
                  <a:lnTo>
                    <a:pt x="36" y="511"/>
                  </a:lnTo>
                  <a:lnTo>
                    <a:pt x="38" y="511"/>
                  </a:lnTo>
                  <a:lnTo>
                    <a:pt x="40" y="512"/>
                  </a:lnTo>
                  <a:lnTo>
                    <a:pt x="41" y="512"/>
                  </a:lnTo>
                  <a:lnTo>
                    <a:pt x="44" y="514"/>
                  </a:lnTo>
                  <a:lnTo>
                    <a:pt x="49" y="515"/>
                  </a:lnTo>
                  <a:lnTo>
                    <a:pt x="52" y="515"/>
                  </a:lnTo>
                  <a:lnTo>
                    <a:pt x="52" y="517"/>
                  </a:lnTo>
                  <a:lnTo>
                    <a:pt x="54" y="519"/>
                  </a:lnTo>
                  <a:lnTo>
                    <a:pt x="55" y="520"/>
                  </a:lnTo>
                  <a:lnTo>
                    <a:pt x="57" y="523"/>
                  </a:lnTo>
                  <a:lnTo>
                    <a:pt x="57" y="525"/>
                  </a:lnTo>
                  <a:lnTo>
                    <a:pt x="57" y="528"/>
                  </a:lnTo>
                  <a:lnTo>
                    <a:pt x="57" y="533"/>
                  </a:lnTo>
                  <a:lnTo>
                    <a:pt x="57" y="536"/>
                  </a:lnTo>
                  <a:lnTo>
                    <a:pt x="59" y="541"/>
                  </a:lnTo>
                  <a:lnTo>
                    <a:pt x="59" y="544"/>
                  </a:lnTo>
                  <a:lnTo>
                    <a:pt x="59" y="545"/>
                  </a:lnTo>
                  <a:lnTo>
                    <a:pt x="60" y="549"/>
                  </a:lnTo>
                  <a:lnTo>
                    <a:pt x="62" y="549"/>
                  </a:lnTo>
                  <a:lnTo>
                    <a:pt x="63" y="550"/>
                  </a:lnTo>
                  <a:lnTo>
                    <a:pt x="66" y="552"/>
                  </a:lnTo>
                  <a:lnTo>
                    <a:pt x="71" y="553"/>
                  </a:lnTo>
                  <a:lnTo>
                    <a:pt x="78" y="555"/>
                  </a:lnTo>
                  <a:lnTo>
                    <a:pt x="82" y="556"/>
                  </a:lnTo>
                  <a:lnTo>
                    <a:pt x="87" y="558"/>
                  </a:lnTo>
                  <a:lnTo>
                    <a:pt x="92" y="560"/>
                  </a:lnTo>
                  <a:lnTo>
                    <a:pt x="93" y="561"/>
                  </a:lnTo>
                  <a:lnTo>
                    <a:pt x="95" y="561"/>
                  </a:lnTo>
                  <a:lnTo>
                    <a:pt x="95" y="564"/>
                  </a:lnTo>
                  <a:lnTo>
                    <a:pt x="95" y="566"/>
                  </a:lnTo>
                  <a:lnTo>
                    <a:pt x="95" y="571"/>
                  </a:lnTo>
                  <a:lnTo>
                    <a:pt x="95" y="577"/>
                  </a:lnTo>
                  <a:lnTo>
                    <a:pt x="95" y="582"/>
                  </a:lnTo>
                  <a:lnTo>
                    <a:pt x="95" y="586"/>
                  </a:lnTo>
                  <a:lnTo>
                    <a:pt x="95" y="591"/>
                  </a:lnTo>
                  <a:lnTo>
                    <a:pt x="93" y="597"/>
                  </a:lnTo>
                  <a:lnTo>
                    <a:pt x="93" y="601"/>
                  </a:lnTo>
                  <a:lnTo>
                    <a:pt x="95" y="604"/>
                  </a:lnTo>
                  <a:lnTo>
                    <a:pt x="95" y="607"/>
                  </a:lnTo>
                  <a:lnTo>
                    <a:pt x="98" y="610"/>
                  </a:lnTo>
                  <a:lnTo>
                    <a:pt x="98" y="612"/>
                  </a:lnTo>
                  <a:lnTo>
                    <a:pt x="100" y="613"/>
                  </a:lnTo>
                  <a:lnTo>
                    <a:pt x="101" y="615"/>
                  </a:lnTo>
                  <a:lnTo>
                    <a:pt x="103" y="615"/>
                  </a:lnTo>
                  <a:lnTo>
                    <a:pt x="106" y="616"/>
                  </a:lnTo>
                  <a:lnTo>
                    <a:pt x="109" y="618"/>
                  </a:lnTo>
                  <a:lnTo>
                    <a:pt x="112" y="618"/>
                  </a:lnTo>
                  <a:lnTo>
                    <a:pt x="114" y="619"/>
                  </a:lnTo>
                  <a:lnTo>
                    <a:pt x="115" y="621"/>
                  </a:lnTo>
                  <a:lnTo>
                    <a:pt x="115" y="623"/>
                  </a:lnTo>
                  <a:lnTo>
                    <a:pt x="122" y="635"/>
                  </a:lnTo>
                  <a:lnTo>
                    <a:pt x="128" y="648"/>
                  </a:lnTo>
                  <a:lnTo>
                    <a:pt x="133" y="659"/>
                  </a:lnTo>
                  <a:lnTo>
                    <a:pt x="136" y="662"/>
                  </a:lnTo>
                  <a:lnTo>
                    <a:pt x="136" y="664"/>
                  </a:lnTo>
                  <a:lnTo>
                    <a:pt x="136" y="667"/>
                  </a:lnTo>
                  <a:lnTo>
                    <a:pt x="138" y="672"/>
                  </a:lnTo>
                  <a:lnTo>
                    <a:pt x="139" y="678"/>
                  </a:lnTo>
                  <a:lnTo>
                    <a:pt x="141" y="684"/>
                  </a:lnTo>
                  <a:lnTo>
                    <a:pt x="144" y="692"/>
                  </a:lnTo>
                  <a:lnTo>
                    <a:pt x="145" y="697"/>
                  </a:lnTo>
                  <a:lnTo>
                    <a:pt x="147" y="702"/>
                  </a:lnTo>
                  <a:lnTo>
                    <a:pt x="149" y="705"/>
                  </a:lnTo>
                  <a:lnTo>
                    <a:pt x="149" y="703"/>
                  </a:lnTo>
                  <a:lnTo>
                    <a:pt x="150" y="702"/>
                  </a:lnTo>
                  <a:lnTo>
                    <a:pt x="150" y="700"/>
                  </a:lnTo>
                  <a:lnTo>
                    <a:pt x="152" y="700"/>
                  </a:lnTo>
                  <a:lnTo>
                    <a:pt x="153" y="698"/>
                  </a:lnTo>
                  <a:lnTo>
                    <a:pt x="155" y="698"/>
                  </a:lnTo>
                  <a:lnTo>
                    <a:pt x="158" y="700"/>
                  </a:lnTo>
                  <a:lnTo>
                    <a:pt x="161" y="700"/>
                  </a:lnTo>
                  <a:lnTo>
                    <a:pt x="164" y="702"/>
                  </a:lnTo>
                  <a:lnTo>
                    <a:pt x="166" y="702"/>
                  </a:lnTo>
                  <a:lnTo>
                    <a:pt x="171" y="705"/>
                  </a:lnTo>
                  <a:lnTo>
                    <a:pt x="174" y="709"/>
                  </a:lnTo>
                  <a:lnTo>
                    <a:pt x="179" y="713"/>
                  </a:lnTo>
                  <a:lnTo>
                    <a:pt x="183" y="714"/>
                  </a:lnTo>
                  <a:lnTo>
                    <a:pt x="185" y="717"/>
                  </a:lnTo>
                  <a:lnTo>
                    <a:pt x="190" y="717"/>
                  </a:lnTo>
                  <a:lnTo>
                    <a:pt x="193" y="717"/>
                  </a:lnTo>
                  <a:lnTo>
                    <a:pt x="196" y="717"/>
                  </a:lnTo>
                  <a:lnTo>
                    <a:pt x="201" y="717"/>
                  </a:lnTo>
                  <a:lnTo>
                    <a:pt x="202" y="717"/>
                  </a:lnTo>
                  <a:lnTo>
                    <a:pt x="207" y="717"/>
                  </a:lnTo>
                  <a:lnTo>
                    <a:pt x="210" y="716"/>
                  </a:lnTo>
                  <a:lnTo>
                    <a:pt x="213" y="714"/>
                  </a:lnTo>
                  <a:lnTo>
                    <a:pt x="215" y="714"/>
                  </a:lnTo>
                  <a:lnTo>
                    <a:pt x="218" y="713"/>
                  </a:lnTo>
                  <a:lnTo>
                    <a:pt x="221" y="713"/>
                  </a:lnTo>
                  <a:lnTo>
                    <a:pt x="226" y="713"/>
                  </a:lnTo>
                  <a:lnTo>
                    <a:pt x="228" y="714"/>
                  </a:lnTo>
                  <a:lnTo>
                    <a:pt x="231" y="716"/>
                  </a:lnTo>
                  <a:lnTo>
                    <a:pt x="231" y="717"/>
                  </a:lnTo>
                  <a:lnTo>
                    <a:pt x="232" y="713"/>
                  </a:lnTo>
                  <a:lnTo>
                    <a:pt x="234" y="709"/>
                  </a:lnTo>
                  <a:lnTo>
                    <a:pt x="234" y="706"/>
                  </a:lnTo>
                  <a:lnTo>
                    <a:pt x="236" y="703"/>
                  </a:lnTo>
                  <a:lnTo>
                    <a:pt x="240" y="697"/>
                  </a:lnTo>
                  <a:lnTo>
                    <a:pt x="245" y="690"/>
                  </a:lnTo>
                  <a:lnTo>
                    <a:pt x="250" y="684"/>
                  </a:lnTo>
                  <a:lnTo>
                    <a:pt x="255" y="676"/>
                  </a:lnTo>
                  <a:lnTo>
                    <a:pt x="258" y="673"/>
                  </a:lnTo>
                  <a:lnTo>
                    <a:pt x="259" y="670"/>
                  </a:lnTo>
                  <a:lnTo>
                    <a:pt x="261" y="665"/>
                  </a:lnTo>
                  <a:lnTo>
                    <a:pt x="262" y="662"/>
                  </a:lnTo>
                  <a:lnTo>
                    <a:pt x="275" y="662"/>
                  </a:lnTo>
                  <a:lnTo>
                    <a:pt x="283" y="662"/>
                  </a:lnTo>
                  <a:lnTo>
                    <a:pt x="292" y="662"/>
                  </a:lnTo>
                  <a:lnTo>
                    <a:pt x="300" y="662"/>
                  </a:lnTo>
                  <a:lnTo>
                    <a:pt x="302" y="662"/>
                  </a:lnTo>
                  <a:lnTo>
                    <a:pt x="305" y="664"/>
                  </a:lnTo>
                  <a:lnTo>
                    <a:pt x="307" y="664"/>
                  </a:lnTo>
                  <a:lnTo>
                    <a:pt x="308" y="665"/>
                  </a:lnTo>
                  <a:lnTo>
                    <a:pt x="313" y="668"/>
                  </a:lnTo>
                  <a:lnTo>
                    <a:pt x="316" y="673"/>
                  </a:lnTo>
                  <a:lnTo>
                    <a:pt x="321" y="678"/>
                  </a:lnTo>
                  <a:lnTo>
                    <a:pt x="326" y="683"/>
                  </a:lnTo>
                  <a:lnTo>
                    <a:pt x="329" y="684"/>
                  </a:lnTo>
                  <a:lnTo>
                    <a:pt x="330" y="686"/>
                  </a:lnTo>
                  <a:lnTo>
                    <a:pt x="334" y="687"/>
                  </a:lnTo>
                  <a:lnTo>
                    <a:pt x="337" y="689"/>
                  </a:lnTo>
                  <a:lnTo>
                    <a:pt x="338" y="686"/>
                  </a:lnTo>
                  <a:lnTo>
                    <a:pt x="340" y="681"/>
                  </a:lnTo>
                  <a:lnTo>
                    <a:pt x="340" y="678"/>
                  </a:lnTo>
                  <a:lnTo>
                    <a:pt x="341" y="673"/>
                  </a:lnTo>
                  <a:lnTo>
                    <a:pt x="341" y="672"/>
                  </a:lnTo>
                  <a:lnTo>
                    <a:pt x="343" y="667"/>
                  </a:lnTo>
                  <a:lnTo>
                    <a:pt x="343" y="665"/>
                  </a:lnTo>
                  <a:lnTo>
                    <a:pt x="343" y="664"/>
                  </a:lnTo>
                  <a:lnTo>
                    <a:pt x="343" y="659"/>
                  </a:lnTo>
                  <a:lnTo>
                    <a:pt x="343" y="653"/>
                  </a:lnTo>
                  <a:lnTo>
                    <a:pt x="343" y="651"/>
                  </a:lnTo>
                  <a:lnTo>
                    <a:pt x="376" y="627"/>
                  </a:lnTo>
                  <a:lnTo>
                    <a:pt x="382" y="626"/>
                  </a:lnTo>
                  <a:lnTo>
                    <a:pt x="387" y="624"/>
                  </a:lnTo>
                  <a:lnTo>
                    <a:pt x="389" y="624"/>
                  </a:lnTo>
                  <a:lnTo>
                    <a:pt x="390" y="623"/>
                  </a:lnTo>
                  <a:lnTo>
                    <a:pt x="394" y="623"/>
                  </a:lnTo>
                  <a:lnTo>
                    <a:pt x="397" y="623"/>
                  </a:lnTo>
                  <a:lnTo>
                    <a:pt x="397" y="621"/>
                  </a:lnTo>
                  <a:lnTo>
                    <a:pt x="398" y="619"/>
                  </a:lnTo>
                  <a:lnTo>
                    <a:pt x="400" y="618"/>
                  </a:lnTo>
                  <a:lnTo>
                    <a:pt x="403" y="616"/>
                  </a:lnTo>
                  <a:lnTo>
                    <a:pt x="408" y="613"/>
                  </a:lnTo>
                  <a:lnTo>
                    <a:pt x="411" y="610"/>
                  </a:lnTo>
                  <a:lnTo>
                    <a:pt x="412" y="608"/>
                  </a:lnTo>
                  <a:lnTo>
                    <a:pt x="416" y="607"/>
                  </a:lnTo>
                  <a:lnTo>
                    <a:pt x="417" y="604"/>
                  </a:lnTo>
                  <a:lnTo>
                    <a:pt x="419" y="602"/>
                  </a:lnTo>
                  <a:lnTo>
                    <a:pt x="420" y="599"/>
                  </a:lnTo>
                  <a:lnTo>
                    <a:pt x="422" y="597"/>
                  </a:lnTo>
                  <a:lnTo>
                    <a:pt x="422" y="594"/>
                  </a:lnTo>
                  <a:lnTo>
                    <a:pt x="422" y="591"/>
                  </a:lnTo>
                  <a:lnTo>
                    <a:pt x="422" y="574"/>
                  </a:lnTo>
                  <a:lnTo>
                    <a:pt x="422" y="560"/>
                  </a:lnTo>
                  <a:lnTo>
                    <a:pt x="422" y="545"/>
                  </a:lnTo>
                  <a:lnTo>
                    <a:pt x="422" y="531"/>
                  </a:lnTo>
                  <a:lnTo>
                    <a:pt x="422" y="528"/>
                  </a:lnTo>
                  <a:lnTo>
                    <a:pt x="424" y="525"/>
                  </a:lnTo>
                  <a:lnTo>
                    <a:pt x="425" y="522"/>
                  </a:lnTo>
                  <a:lnTo>
                    <a:pt x="425" y="520"/>
                  </a:lnTo>
                  <a:lnTo>
                    <a:pt x="428" y="517"/>
                  </a:lnTo>
                  <a:lnTo>
                    <a:pt x="430" y="515"/>
                  </a:lnTo>
                  <a:lnTo>
                    <a:pt x="435" y="512"/>
                  </a:lnTo>
                  <a:lnTo>
                    <a:pt x="438" y="511"/>
                  </a:lnTo>
                  <a:lnTo>
                    <a:pt x="436" y="511"/>
                  </a:lnTo>
                  <a:lnTo>
                    <a:pt x="444" y="507"/>
                  </a:lnTo>
                  <a:lnTo>
                    <a:pt x="454" y="503"/>
                  </a:lnTo>
                  <a:lnTo>
                    <a:pt x="463" y="498"/>
                  </a:lnTo>
                  <a:lnTo>
                    <a:pt x="473" y="492"/>
                  </a:lnTo>
                  <a:lnTo>
                    <a:pt x="477" y="490"/>
                  </a:lnTo>
                  <a:lnTo>
                    <a:pt x="482" y="487"/>
                  </a:lnTo>
                  <a:lnTo>
                    <a:pt x="485" y="484"/>
                  </a:lnTo>
                  <a:lnTo>
                    <a:pt x="490" y="479"/>
                  </a:lnTo>
                  <a:lnTo>
                    <a:pt x="491" y="476"/>
                  </a:lnTo>
                  <a:lnTo>
                    <a:pt x="493" y="471"/>
                  </a:lnTo>
                  <a:lnTo>
                    <a:pt x="493" y="470"/>
                  </a:lnTo>
                  <a:lnTo>
                    <a:pt x="495" y="466"/>
                  </a:lnTo>
                  <a:lnTo>
                    <a:pt x="495" y="463"/>
                  </a:lnTo>
                  <a:lnTo>
                    <a:pt x="495" y="462"/>
                  </a:lnTo>
                  <a:lnTo>
                    <a:pt x="495" y="459"/>
                  </a:lnTo>
                  <a:lnTo>
                    <a:pt x="496" y="457"/>
                  </a:lnTo>
                  <a:lnTo>
                    <a:pt x="498" y="455"/>
                  </a:lnTo>
                  <a:lnTo>
                    <a:pt x="499" y="454"/>
                  </a:lnTo>
                  <a:lnTo>
                    <a:pt x="499" y="446"/>
                  </a:lnTo>
                  <a:lnTo>
                    <a:pt x="496" y="444"/>
                  </a:lnTo>
                  <a:lnTo>
                    <a:pt x="493" y="443"/>
                  </a:lnTo>
                  <a:lnTo>
                    <a:pt x="490" y="443"/>
                  </a:lnTo>
                  <a:lnTo>
                    <a:pt x="488" y="441"/>
                  </a:lnTo>
                  <a:lnTo>
                    <a:pt x="487" y="440"/>
                  </a:lnTo>
                  <a:lnTo>
                    <a:pt x="485" y="437"/>
                  </a:lnTo>
                  <a:lnTo>
                    <a:pt x="485" y="433"/>
                  </a:lnTo>
                  <a:lnTo>
                    <a:pt x="485" y="429"/>
                  </a:lnTo>
                  <a:lnTo>
                    <a:pt x="487" y="421"/>
                  </a:lnTo>
                  <a:lnTo>
                    <a:pt x="487" y="418"/>
                  </a:lnTo>
                  <a:lnTo>
                    <a:pt x="490" y="416"/>
                  </a:lnTo>
                  <a:lnTo>
                    <a:pt x="491" y="413"/>
                  </a:lnTo>
                  <a:lnTo>
                    <a:pt x="493" y="411"/>
                  </a:lnTo>
                  <a:lnTo>
                    <a:pt x="496" y="410"/>
                  </a:lnTo>
                  <a:lnTo>
                    <a:pt x="499" y="408"/>
                  </a:lnTo>
                  <a:lnTo>
                    <a:pt x="506" y="405"/>
                  </a:lnTo>
                  <a:lnTo>
                    <a:pt x="512" y="403"/>
                  </a:lnTo>
                  <a:lnTo>
                    <a:pt x="520" y="402"/>
                  </a:lnTo>
                  <a:lnTo>
                    <a:pt x="529" y="400"/>
                  </a:lnTo>
                  <a:lnTo>
                    <a:pt x="537" y="399"/>
                  </a:lnTo>
                  <a:lnTo>
                    <a:pt x="545" y="397"/>
                  </a:lnTo>
                  <a:lnTo>
                    <a:pt x="550" y="396"/>
                  </a:lnTo>
                  <a:lnTo>
                    <a:pt x="553" y="396"/>
                  </a:lnTo>
                  <a:lnTo>
                    <a:pt x="556" y="392"/>
                  </a:lnTo>
                  <a:lnTo>
                    <a:pt x="559" y="391"/>
                  </a:lnTo>
                  <a:lnTo>
                    <a:pt x="564" y="389"/>
                  </a:lnTo>
                  <a:lnTo>
                    <a:pt x="566" y="388"/>
                  </a:lnTo>
                  <a:lnTo>
                    <a:pt x="569" y="384"/>
                  </a:lnTo>
                  <a:lnTo>
                    <a:pt x="572" y="383"/>
                  </a:lnTo>
                  <a:lnTo>
                    <a:pt x="574" y="378"/>
                  </a:lnTo>
                  <a:lnTo>
                    <a:pt x="575" y="375"/>
                  </a:lnTo>
                  <a:lnTo>
                    <a:pt x="577" y="372"/>
                  </a:lnTo>
                  <a:lnTo>
                    <a:pt x="577" y="367"/>
                  </a:lnTo>
                  <a:lnTo>
                    <a:pt x="575" y="367"/>
                  </a:lnTo>
                  <a:lnTo>
                    <a:pt x="577" y="367"/>
                  </a:lnTo>
                  <a:lnTo>
                    <a:pt x="578" y="367"/>
                  </a:lnTo>
                  <a:lnTo>
                    <a:pt x="580" y="366"/>
                  </a:lnTo>
                  <a:lnTo>
                    <a:pt x="582" y="366"/>
                  </a:lnTo>
                  <a:lnTo>
                    <a:pt x="585" y="364"/>
                  </a:lnTo>
                  <a:lnTo>
                    <a:pt x="586" y="362"/>
                  </a:lnTo>
                  <a:lnTo>
                    <a:pt x="589" y="359"/>
                  </a:lnTo>
                  <a:lnTo>
                    <a:pt x="593" y="356"/>
                  </a:lnTo>
                  <a:lnTo>
                    <a:pt x="594" y="354"/>
                  </a:lnTo>
                  <a:lnTo>
                    <a:pt x="594" y="353"/>
                  </a:lnTo>
                  <a:lnTo>
                    <a:pt x="596" y="351"/>
                  </a:lnTo>
                  <a:lnTo>
                    <a:pt x="597" y="351"/>
                  </a:lnTo>
                  <a:lnTo>
                    <a:pt x="599" y="351"/>
                  </a:lnTo>
                  <a:lnTo>
                    <a:pt x="601" y="351"/>
                  </a:lnTo>
                  <a:lnTo>
                    <a:pt x="602" y="351"/>
                  </a:lnTo>
                  <a:lnTo>
                    <a:pt x="602" y="353"/>
                  </a:lnTo>
                  <a:lnTo>
                    <a:pt x="604" y="354"/>
                  </a:lnTo>
                  <a:lnTo>
                    <a:pt x="605" y="356"/>
                  </a:lnTo>
                  <a:lnTo>
                    <a:pt x="607" y="358"/>
                  </a:lnTo>
                  <a:lnTo>
                    <a:pt x="610" y="361"/>
                  </a:lnTo>
                  <a:lnTo>
                    <a:pt x="610" y="362"/>
                  </a:lnTo>
                  <a:lnTo>
                    <a:pt x="612" y="364"/>
                  </a:lnTo>
                  <a:lnTo>
                    <a:pt x="613" y="364"/>
                  </a:lnTo>
                  <a:lnTo>
                    <a:pt x="615" y="364"/>
                  </a:lnTo>
                  <a:lnTo>
                    <a:pt x="621" y="364"/>
                  </a:lnTo>
                  <a:lnTo>
                    <a:pt x="626" y="362"/>
                  </a:lnTo>
                  <a:lnTo>
                    <a:pt x="627" y="362"/>
                  </a:lnTo>
                  <a:lnTo>
                    <a:pt x="629" y="362"/>
                  </a:lnTo>
                  <a:lnTo>
                    <a:pt x="631" y="361"/>
                  </a:lnTo>
                  <a:lnTo>
                    <a:pt x="634" y="359"/>
                  </a:lnTo>
                  <a:lnTo>
                    <a:pt x="634" y="356"/>
                  </a:lnTo>
                  <a:lnTo>
                    <a:pt x="635" y="356"/>
                  </a:lnTo>
                  <a:lnTo>
                    <a:pt x="635" y="353"/>
                  </a:lnTo>
                  <a:lnTo>
                    <a:pt x="637" y="351"/>
                  </a:lnTo>
                  <a:lnTo>
                    <a:pt x="638" y="347"/>
                  </a:lnTo>
                  <a:lnTo>
                    <a:pt x="638" y="340"/>
                  </a:lnTo>
                  <a:lnTo>
                    <a:pt x="659" y="340"/>
                  </a:lnTo>
                  <a:lnTo>
                    <a:pt x="661" y="340"/>
                  </a:lnTo>
                  <a:lnTo>
                    <a:pt x="662" y="340"/>
                  </a:lnTo>
                  <a:lnTo>
                    <a:pt x="664" y="342"/>
                  </a:lnTo>
                  <a:lnTo>
                    <a:pt x="667" y="342"/>
                  </a:lnTo>
                  <a:lnTo>
                    <a:pt x="668" y="342"/>
                  </a:lnTo>
                  <a:lnTo>
                    <a:pt x="672" y="342"/>
                  </a:lnTo>
                  <a:lnTo>
                    <a:pt x="680" y="343"/>
                  </a:lnTo>
                  <a:lnTo>
                    <a:pt x="684" y="343"/>
                  </a:lnTo>
                  <a:lnTo>
                    <a:pt x="691" y="343"/>
                  </a:lnTo>
                  <a:lnTo>
                    <a:pt x="694" y="343"/>
                  </a:lnTo>
                  <a:lnTo>
                    <a:pt x="697" y="343"/>
                  </a:lnTo>
                  <a:lnTo>
                    <a:pt x="700" y="343"/>
                  </a:lnTo>
                  <a:lnTo>
                    <a:pt x="702" y="342"/>
                  </a:lnTo>
                  <a:lnTo>
                    <a:pt x="705" y="339"/>
                  </a:lnTo>
                  <a:lnTo>
                    <a:pt x="710" y="336"/>
                  </a:lnTo>
                  <a:lnTo>
                    <a:pt x="713" y="331"/>
                  </a:lnTo>
                  <a:lnTo>
                    <a:pt x="717" y="329"/>
                  </a:lnTo>
                  <a:lnTo>
                    <a:pt x="719" y="328"/>
                  </a:lnTo>
                  <a:lnTo>
                    <a:pt x="721" y="326"/>
                  </a:lnTo>
                  <a:lnTo>
                    <a:pt x="722" y="326"/>
                  </a:lnTo>
                  <a:lnTo>
                    <a:pt x="724" y="326"/>
                  </a:lnTo>
                  <a:lnTo>
                    <a:pt x="727" y="326"/>
                  </a:lnTo>
                  <a:lnTo>
                    <a:pt x="730" y="326"/>
                  </a:lnTo>
                  <a:lnTo>
                    <a:pt x="730" y="328"/>
                  </a:lnTo>
                  <a:lnTo>
                    <a:pt x="733" y="329"/>
                  </a:lnTo>
                  <a:lnTo>
                    <a:pt x="733" y="331"/>
                  </a:lnTo>
                  <a:lnTo>
                    <a:pt x="735" y="332"/>
                  </a:lnTo>
                  <a:lnTo>
                    <a:pt x="735" y="334"/>
                  </a:lnTo>
                  <a:lnTo>
                    <a:pt x="735" y="336"/>
                  </a:lnTo>
                  <a:lnTo>
                    <a:pt x="736" y="342"/>
                  </a:lnTo>
                  <a:lnTo>
                    <a:pt x="738" y="343"/>
                  </a:lnTo>
                  <a:lnTo>
                    <a:pt x="738" y="347"/>
                  </a:lnTo>
                  <a:lnTo>
                    <a:pt x="738" y="348"/>
                  </a:lnTo>
                  <a:lnTo>
                    <a:pt x="741" y="350"/>
                  </a:lnTo>
                  <a:lnTo>
                    <a:pt x="744" y="351"/>
                  </a:lnTo>
                  <a:lnTo>
                    <a:pt x="747" y="353"/>
                  </a:lnTo>
                  <a:lnTo>
                    <a:pt x="751" y="354"/>
                  </a:lnTo>
                  <a:lnTo>
                    <a:pt x="755" y="354"/>
                  </a:lnTo>
                  <a:lnTo>
                    <a:pt x="763" y="356"/>
                  </a:lnTo>
                  <a:lnTo>
                    <a:pt x="771" y="358"/>
                  </a:lnTo>
                  <a:lnTo>
                    <a:pt x="773" y="356"/>
                  </a:lnTo>
                  <a:lnTo>
                    <a:pt x="774" y="354"/>
                  </a:lnTo>
                  <a:lnTo>
                    <a:pt x="777" y="351"/>
                  </a:lnTo>
                  <a:lnTo>
                    <a:pt x="782" y="350"/>
                  </a:lnTo>
                  <a:lnTo>
                    <a:pt x="782" y="348"/>
                  </a:lnTo>
                  <a:lnTo>
                    <a:pt x="784" y="347"/>
                  </a:lnTo>
                  <a:lnTo>
                    <a:pt x="785" y="343"/>
                  </a:lnTo>
                  <a:lnTo>
                    <a:pt x="787" y="342"/>
                  </a:lnTo>
                  <a:lnTo>
                    <a:pt x="789" y="339"/>
                  </a:lnTo>
                  <a:lnTo>
                    <a:pt x="789" y="337"/>
                  </a:lnTo>
                  <a:lnTo>
                    <a:pt x="792" y="336"/>
                  </a:lnTo>
                  <a:lnTo>
                    <a:pt x="795" y="336"/>
                  </a:lnTo>
                  <a:lnTo>
                    <a:pt x="807" y="336"/>
                  </a:lnTo>
                  <a:lnTo>
                    <a:pt x="828" y="337"/>
                  </a:lnTo>
                  <a:lnTo>
                    <a:pt x="833" y="337"/>
                  </a:lnTo>
                  <a:lnTo>
                    <a:pt x="836" y="336"/>
                  </a:lnTo>
                  <a:lnTo>
                    <a:pt x="841" y="336"/>
                  </a:lnTo>
                  <a:lnTo>
                    <a:pt x="844" y="334"/>
                  </a:lnTo>
                  <a:lnTo>
                    <a:pt x="845" y="334"/>
                  </a:lnTo>
                  <a:lnTo>
                    <a:pt x="849" y="332"/>
                  </a:lnTo>
                  <a:lnTo>
                    <a:pt x="850" y="331"/>
                  </a:lnTo>
                  <a:lnTo>
                    <a:pt x="850" y="329"/>
                  </a:lnTo>
                  <a:lnTo>
                    <a:pt x="852" y="328"/>
                  </a:lnTo>
                  <a:lnTo>
                    <a:pt x="852" y="326"/>
                  </a:lnTo>
                  <a:lnTo>
                    <a:pt x="853" y="323"/>
                  </a:lnTo>
                  <a:lnTo>
                    <a:pt x="853" y="318"/>
                  </a:lnTo>
                  <a:lnTo>
                    <a:pt x="853" y="312"/>
                  </a:lnTo>
                  <a:lnTo>
                    <a:pt x="853" y="306"/>
                  </a:lnTo>
                  <a:lnTo>
                    <a:pt x="855" y="301"/>
                  </a:lnTo>
                  <a:lnTo>
                    <a:pt x="856" y="291"/>
                  </a:lnTo>
                  <a:lnTo>
                    <a:pt x="858" y="282"/>
                  </a:lnTo>
                  <a:lnTo>
                    <a:pt x="861" y="272"/>
                  </a:lnTo>
                  <a:lnTo>
                    <a:pt x="864" y="263"/>
                  </a:lnTo>
                  <a:lnTo>
                    <a:pt x="866" y="258"/>
                  </a:lnTo>
                  <a:lnTo>
                    <a:pt x="868" y="254"/>
                  </a:lnTo>
                  <a:lnTo>
                    <a:pt x="869" y="247"/>
                  </a:lnTo>
                  <a:lnTo>
                    <a:pt x="869" y="241"/>
                  </a:lnTo>
                  <a:lnTo>
                    <a:pt x="868" y="244"/>
                  </a:lnTo>
                  <a:lnTo>
                    <a:pt x="863" y="250"/>
                  </a:lnTo>
                  <a:lnTo>
                    <a:pt x="858" y="255"/>
                  </a:lnTo>
                  <a:lnTo>
                    <a:pt x="853" y="260"/>
                  </a:lnTo>
                  <a:lnTo>
                    <a:pt x="847" y="265"/>
                  </a:lnTo>
                  <a:lnTo>
                    <a:pt x="841" y="269"/>
                  </a:lnTo>
                  <a:lnTo>
                    <a:pt x="836" y="272"/>
                  </a:lnTo>
                  <a:lnTo>
                    <a:pt x="833" y="274"/>
                  </a:lnTo>
                  <a:lnTo>
                    <a:pt x="830" y="276"/>
                  </a:lnTo>
                  <a:lnTo>
                    <a:pt x="828" y="276"/>
                  </a:lnTo>
                  <a:lnTo>
                    <a:pt x="825" y="277"/>
                  </a:lnTo>
                  <a:lnTo>
                    <a:pt x="820" y="277"/>
                  </a:lnTo>
                  <a:lnTo>
                    <a:pt x="815" y="277"/>
                  </a:lnTo>
                  <a:lnTo>
                    <a:pt x="811" y="277"/>
                  </a:lnTo>
                  <a:lnTo>
                    <a:pt x="806" y="277"/>
                  </a:lnTo>
                  <a:lnTo>
                    <a:pt x="803" y="277"/>
                  </a:lnTo>
                  <a:lnTo>
                    <a:pt x="796" y="276"/>
                  </a:lnTo>
                  <a:lnTo>
                    <a:pt x="792" y="272"/>
                  </a:lnTo>
                  <a:lnTo>
                    <a:pt x="789" y="271"/>
                  </a:lnTo>
                  <a:lnTo>
                    <a:pt x="784" y="269"/>
                  </a:lnTo>
                  <a:lnTo>
                    <a:pt x="781" y="266"/>
                  </a:lnTo>
                  <a:lnTo>
                    <a:pt x="776" y="265"/>
                  </a:lnTo>
                  <a:lnTo>
                    <a:pt x="774" y="261"/>
                  </a:lnTo>
                  <a:lnTo>
                    <a:pt x="771" y="258"/>
                  </a:lnTo>
                  <a:lnTo>
                    <a:pt x="768" y="255"/>
                  </a:lnTo>
                  <a:lnTo>
                    <a:pt x="766" y="252"/>
                  </a:lnTo>
                  <a:lnTo>
                    <a:pt x="763" y="249"/>
                  </a:lnTo>
                  <a:lnTo>
                    <a:pt x="755" y="243"/>
                  </a:lnTo>
                  <a:lnTo>
                    <a:pt x="747" y="236"/>
                  </a:lnTo>
                  <a:lnTo>
                    <a:pt x="741" y="230"/>
                  </a:lnTo>
                  <a:lnTo>
                    <a:pt x="733" y="225"/>
                  </a:lnTo>
                  <a:lnTo>
                    <a:pt x="725" y="219"/>
                  </a:lnTo>
                  <a:lnTo>
                    <a:pt x="717" y="214"/>
                  </a:lnTo>
                  <a:lnTo>
                    <a:pt x="714" y="211"/>
                  </a:lnTo>
                  <a:lnTo>
                    <a:pt x="711" y="206"/>
                  </a:lnTo>
                  <a:lnTo>
                    <a:pt x="708" y="203"/>
                  </a:lnTo>
                  <a:lnTo>
                    <a:pt x="705" y="198"/>
                  </a:lnTo>
                  <a:lnTo>
                    <a:pt x="702" y="195"/>
                  </a:lnTo>
                  <a:lnTo>
                    <a:pt x="702" y="194"/>
                  </a:lnTo>
                  <a:lnTo>
                    <a:pt x="700" y="190"/>
                  </a:lnTo>
                  <a:lnTo>
                    <a:pt x="700" y="187"/>
                  </a:lnTo>
                  <a:lnTo>
                    <a:pt x="700" y="184"/>
                  </a:lnTo>
                  <a:lnTo>
                    <a:pt x="698" y="181"/>
                  </a:lnTo>
                  <a:lnTo>
                    <a:pt x="697" y="178"/>
                  </a:lnTo>
                  <a:lnTo>
                    <a:pt x="694" y="175"/>
                  </a:lnTo>
                  <a:lnTo>
                    <a:pt x="692" y="178"/>
                  </a:lnTo>
                  <a:lnTo>
                    <a:pt x="692" y="181"/>
                  </a:lnTo>
                  <a:lnTo>
                    <a:pt x="689" y="183"/>
                  </a:lnTo>
                  <a:lnTo>
                    <a:pt x="689" y="186"/>
                  </a:lnTo>
                  <a:lnTo>
                    <a:pt x="687" y="187"/>
                  </a:lnTo>
                  <a:lnTo>
                    <a:pt x="686" y="189"/>
                  </a:lnTo>
                  <a:lnTo>
                    <a:pt x="684" y="190"/>
                  </a:lnTo>
                  <a:lnTo>
                    <a:pt x="683" y="190"/>
                  </a:lnTo>
                  <a:lnTo>
                    <a:pt x="681" y="190"/>
                  </a:lnTo>
                  <a:lnTo>
                    <a:pt x="678" y="190"/>
                  </a:lnTo>
                  <a:lnTo>
                    <a:pt x="673" y="189"/>
                  </a:lnTo>
                  <a:lnTo>
                    <a:pt x="672" y="189"/>
                  </a:lnTo>
                  <a:lnTo>
                    <a:pt x="668" y="186"/>
                  </a:lnTo>
                  <a:lnTo>
                    <a:pt x="665" y="184"/>
                  </a:lnTo>
                  <a:lnTo>
                    <a:pt x="661" y="183"/>
                  </a:lnTo>
                  <a:lnTo>
                    <a:pt x="659" y="183"/>
                  </a:lnTo>
                  <a:lnTo>
                    <a:pt x="656" y="181"/>
                  </a:lnTo>
                  <a:lnTo>
                    <a:pt x="653" y="181"/>
                  </a:lnTo>
                  <a:lnTo>
                    <a:pt x="651" y="183"/>
                  </a:lnTo>
                  <a:lnTo>
                    <a:pt x="648" y="183"/>
                  </a:lnTo>
                  <a:lnTo>
                    <a:pt x="646" y="183"/>
                  </a:lnTo>
                  <a:lnTo>
                    <a:pt x="643" y="186"/>
                  </a:lnTo>
                  <a:lnTo>
                    <a:pt x="640" y="187"/>
                  </a:lnTo>
                  <a:lnTo>
                    <a:pt x="638" y="189"/>
                  </a:lnTo>
                  <a:lnTo>
                    <a:pt x="634" y="190"/>
                  </a:lnTo>
                  <a:lnTo>
                    <a:pt x="632" y="190"/>
                  </a:lnTo>
                  <a:lnTo>
                    <a:pt x="631" y="192"/>
                  </a:lnTo>
                  <a:lnTo>
                    <a:pt x="627" y="192"/>
                  </a:lnTo>
                  <a:lnTo>
                    <a:pt x="626" y="194"/>
                  </a:lnTo>
                  <a:lnTo>
                    <a:pt x="624" y="195"/>
                  </a:lnTo>
                  <a:lnTo>
                    <a:pt x="618" y="192"/>
                  </a:lnTo>
                  <a:lnTo>
                    <a:pt x="616" y="192"/>
                  </a:lnTo>
                  <a:lnTo>
                    <a:pt x="615" y="190"/>
                  </a:lnTo>
                  <a:lnTo>
                    <a:pt x="613" y="189"/>
                  </a:lnTo>
                  <a:lnTo>
                    <a:pt x="610" y="186"/>
                  </a:lnTo>
                  <a:lnTo>
                    <a:pt x="608" y="184"/>
                  </a:lnTo>
                  <a:lnTo>
                    <a:pt x="607" y="183"/>
                  </a:lnTo>
                  <a:lnTo>
                    <a:pt x="605" y="176"/>
                  </a:lnTo>
                  <a:lnTo>
                    <a:pt x="602" y="170"/>
                  </a:lnTo>
                  <a:lnTo>
                    <a:pt x="601" y="164"/>
                  </a:lnTo>
                  <a:lnTo>
                    <a:pt x="599" y="157"/>
                  </a:lnTo>
                  <a:lnTo>
                    <a:pt x="597" y="151"/>
                  </a:lnTo>
                  <a:lnTo>
                    <a:pt x="597" y="145"/>
                  </a:lnTo>
                  <a:lnTo>
                    <a:pt x="594" y="138"/>
                  </a:lnTo>
                  <a:lnTo>
                    <a:pt x="593" y="134"/>
                  </a:lnTo>
                  <a:lnTo>
                    <a:pt x="591" y="131"/>
                  </a:lnTo>
                  <a:lnTo>
                    <a:pt x="589" y="129"/>
                  </a:lnTo>
                  <a:lnTo>
                    <a:pt x="588" y="127"/>
                  </a:lnTo>
                  <a:lnTo>
                    <a:pt x="586" y="124"/>
                  </a:lnTo>
                  <a:lnTo>
                    <a:pt x="585" y="124"/>
                  </a:lnTo>
                  <a:lnTo>
                    <a:pt x="582" y="123"/>
                  </a:lnTo>
                  <a:lnTo>
                    <a:pt x="578" y="121"/>
                  </a:lnTo>
                  <a:lnTo>
                    <a:pt x="577" y="121"/>
                  </a:lnTo>
                  <a:lnTo>
                    <a:pt x="574" y="121"/>
                  </a:lnTo>
                  <a:lnTo>
                    <a:pt x="574" y="123"/>
                  </a:lnTo>
                  <a:lnTo>
                    <a:pt x="572" y="124"/>
                  </a:lnTo>
                  <a:lnTo>
                    <a:pt x="572" y="126"/>
                  </a:lnTo>
                  <a:lnTo>
                    <a:pt x="570" y="127"/>
                  </a:lnTo>
                  <a:lnTo>
                    <a:pt x="569" y="129"/>
                  </a:lnTo>
                  <a:lnTo>
                    <a:pt x="566" y="129"/>
                  </a:lnTo>
                  <a:lnTo>
                    <a:pt x="564" y="129"/>
                  </a:lnTo>
                  <a:lnTo>
                    <a:pt x="561" y="127"/>
                  </a:lnTo>
                  <a:lnTo>
                    <a:pt x="559" y="126"/>
                  </a:lnTo>
                  <a:lnTo>
                    <a:pt x="556" y="123"/>
                  </a:lnTo>
                  <a:lnTo>
                    <a:pt x="553" y="119"/>
                  </a:lnTo>
                  <a:lnTo>
                    <a:pt x="548" y="115"/>
                  </a:lnTo>
                  <a:lnTo>
                    <a:pt x="545" y="112"/>
                  </a:lnTo>
                  <a:lnTo>
                    <a:pt x="544" y="112"/>
                  </a:lnTo>
                  <a:lnTo>
                    <a:pt x="542" y="110"/>
                  </a:lnTo>
                  <a:lnTo>
                    <a:pt x="539" y="108"/>
                  </a:lnTo>
                  <a:lnTo>
                    <a:pt x="536" y="108"/>
                  </a:lnTo>
                  <a:lnTo>
                    <a:pt x="533" y="108"/>
                  </a:lnTo>
                  <a:lnTo>
                    <a:pt x="528" y="110"/>
                  </a:lnTo>
                  <a:lnTo>
                    <a:pt x="526" y="110"/>
                  </a:lnTo>
                  <a:lnTo>
                    <a:pt x="525" y="110"/>
                  </a:lnTo>
                  <a:lnTo>
                    <a:pt x="523" y="108"/>
                  </a:lnTo>
                  <a:lnTo>
                    <a:pt x="522" y="107"/>
                  </a:lnTo>
                  <a:lnTo>
                    <a:pt x="520" y="105"/>
                  </a:lnTo>
                  <a:lnTo>
                    <a:pt x="520" y="99"/>
                  </a:lnTo>
                  <a:lnTo>
                    <a:pt x="520" y="94"/>
                  </a:lnTo>
                  <a:lnTo>
                    <a:pt x="520" y="83"/>
                  </a:lnTo>
                  <a:lnTo>
                    <a:pt x="520" y="82"/>
                  </a:lnTo>
                  <a:lnTo>
                    <a:pt x="518" y="78"/>
                  </a:lnTo>
                  <a:lnTo>
                    <a:pt x="518" y="77"/>
                  </a:lnTo>
                  <a:lnTo>
                    <a:pt x="517" y="75"/>
                  </a:lnTo>
                  <a:lnTo>
                    <a:pt x="517" y="74"/>
                  </a:lnTo>
                  <a:lnTo>
                    <a:pt x="515" y="74"/>
                  </a:lnTo>
                  <a:lnTo>
                    <a:pt x="512" y="72"/>
                  </a:lnTo>
                  <a:lnTo>
                    <a:pt x="510" y="72"/>
                  </a:lnTo>
                  <a:lnTo>
                    <a:pt x="507" y="72"/>
                  </a:lnTo>
                  <a:lnTo>
                    <a:pt x="506" y="74"/>
                  </a:lnTo>
                  <a:lnTo>
                    <a:pt x="503" y="75"/>
                  </a:lnTo>
                  <a:lnTo>
                    <a:pt x="501" y="75"/>
                  </a:lnTo>
                  <a:lnTo>
                    <a:pt x="498" y="78"/>
                  </a:lnTo>
                  <a:lnTo>
                    <a:pt x="496" y="80"/>
                  </a:lnTo>
                  <a:lnTo>
                    <a:pt x="493" y="82"/>
                  </a:lnTo>
                  <a:lnTo>
                    <a:pt x="490" y="82"/>
                  </a:lnTo>
                  <a:lnTo>
                    <a:pt x="488" y="82"/>
                  </a:lnTo>
                  <a:lnTo>
                    <a:pt x="487" y="80"/>
                  </a:lnTo>
                  <a:lnTo>
                    <a:pt x="485" y="78"/>
                  </a:lnTo>
                  <a:lnTo>
                    <a:pt x="485" y="77"/>
                  </a:lnTo>
                  <a:lnTo>
                    <a:pt x="485" y="75"/>
                  </a:lnTo>
                  <a:lnTo>
                    <a:pt x="485" y="74"/>
                  </a:lnTo>
                  <a:lnTo>
                    <a:pt x="485" y="72"/>
                  </a:lnTo>
                  <a:lnTo>
                    <a:pt x="482" y="67"/>
                  </a:lnTo>
                  <a:lnTo>
                    <a:pt x="479" y="67"/>
                  </a:lnTo>
                  <a:lnTo>
                    <a:pt x="477" y="67"/>
                  </a:lnTo>
                  <a:lnTo>
                    <a:pt x="474" y="67"/>
                  </a:lnTo>
                  <a:lnTo>
                    <a:pt x="473" y="66"/>
                  </a:lnTo>
                  <a:lnTo>
                    <a:pt x="469" y="63"/>
                  </a:lnTo>
                  <a:lnTo>
                    <a:pt x="465" y="61"/>
                  </a:lnTo>
                  <a:lnTo>
                    <a:pt x="461" y="58"/>
                  </a:lnTo>
                  <a:lnTo>
                    <a:pt x="457" y="55"/>
                  </a:lnTo>
                  <a:lnTo>
                    <a:pt x="454" y="53"/>
                  </a:lnTo>
                  <a:lnTo>
                    <a:pt x="452" y="53"/>
                  </a:lnTo>
                  <a:lnTo>
                    <a:pt x="450" y="53"/>
                  </a:lnTo>
                  <a:lnTo>
                    <a:pt x="446" y="55"/>
                  </a:lnTo>
                  <a:lnTo>
                    <a:pt x="441" y="58"/>
                  </a:lnTo>
                  <a:lnTo>
                    <a:pt x="439" y="58"/>
                  </a:lnTo>
                  <a:lnTo>
                    <a:pt x="438" y="58"/>
                  </a:lnTo>
                  <a:lnTo>
                    <a:pt x="436" y="56"/>
                  </a:lnTo>
                  <a:lnTo>
                    <a:pt x="435" y="55"/>
                  </a:lnTo>
                  <a:lnTo>
                    <a:pt x="433" y="53"/>
                  </a:lnTo>
                  <a:lnTo>
                    <a:pt x="431" y="50"/>
                  </a:lnTo>
                  <a:lnTo>
                    <a:pt x="430" y="48"/>
                  </a:lnTo>
                  <a:lnTo>
                    <a:pt x="430" y="45"/>
                  </a:lnTo>
                  <a:lnTo>
                    <a:pt x="427" y="47"/>
                  </a:lnTo>
                  <a:lnTo>
                    <a:pt x="424" y="48"/>
                  </a:lnTo>
                  <a:lnTo>
                    <a:pt x="422" y="50"/>
                  </a:lnTo>
                  <a:lnTo>
                    <a:pt x="420" y="50"/>
                  </a:lnTo>
                  <a:lnTo>
                    <a:pt x="419" y="52"/>
                  </a:lnTo>
                  <a:lnTo>
                    <a:pt x="417" y="52"/>
                  </a:lnTo>
                  <a:lnTo>
                    <a:pt x="416" y="52"/>
                  </a:lnTo>
                  <a:lnTo>
                    <a:pt x="414" y="50"/>
                  </a:lnTo>
                  <a:lnTo>
                    <a:pt x="412" y="48"/>
                  </a:lnTo>
                  <a:lnTo>
                    <a:pt x="411" y="47"/>
                  </a:lnTo>
                  <a:lnTo>
                    <a:pt x="411" y="42"/>
                  </a:lnTo>
                  <a:lnTo>
                    <a:pt x="408" y="37"/>
                  </a:lnTo>
                  <a:lnTo>
                    <a:pt x="408" y="34"/>
                  </a:lnTo>
                  <a:lnTo>
                    <a:pt x="406" y="33"/>
                  </a:lnTo>
                  <a:lnTo>
                    <a:pt x="405" y="30"/>
                  </a:lnTo>
                  <a:lnTo>
                    <a:pt x="403" y="28"/>
                  </a:lnTo>
                  <a:lnTo>
                    <a:pt x="401" y="26"/>
                  </a:lnTo>
                  <a:lnTo>
                    <a:pt x="398" y="25"/>
                  </a:lnTo>
                  <a:lnTo>
                    <a:pt x="395" y="23"/>
                  </a:lnTo>
                  <a:lnTo>
                    <a:pt x="392" y="23"/>
                  </a:lnTo>
                  <a:lnTo>
                    <a:pt x="389" y="23"/>
                  </a:lnTo>
                  <a:lnTo>
                    <a:pt x="386" y="25"/>
                  </a:lnTo>
                  <a:lnTo>
                    <a:pt x="384" y="25"/>
                  </a:lnTo>
                  <a:lnTo>
                    <a:pt x="381" y="26"/>
                  </a:lnTo>
                  <a:lnTo>
                    <a:pt x="375" y="30"/>
                  </a:lnTo>
                  <a:lnTo>
                    <a:pt x="370" y="33"/>
                  </a:lnTo>
                  <a:lnTo>
                    <a:pt x="364" y="36"/>
                  </a:lnTo>
                  <a:lnTo>
                    <a:pt x="356" y="39"/>
                  </a:lnTo>
                  <a:lnTo>
                    <a:pt x="354" y="41"/>
                  </a:lnTo>
                  <a:lnTo>
                    <a:pt x="351" y="42"/>
                  </a:lnTo>
                  <a:lnTo>
                    <a:pt x="346" y="42"/>
                  </a:lnTo>
                  <a:lnTo>
                    <a:pt x="343" y="42"/>
                  </a:lnTo>
                  <a:lnTo>
                    <a:pt x="340" y="42"/>
                  </a:lnTo>
                  <a:lnTo>
                    <a:pt x="338" y="41"/>
                  </a:lnTo>
                  <a:lnTo>
                    <a:pt x="337" y="39"/>
                  </a:lnTo>
                  <a:lnTo>
                    <a:pt x="334" y="37"/>
                  </a:lnTo>
                  <a:lnTo>
                    <a:pt x="334" y="34"/>
                  </a:lnTo>
                  <a:lnTo>
                    <a:pt x="330" y="33"/>
                  </a:lnTo>
                  <a:lnTo>
                    <a:pt x="329" y="30"/>
                  </a:lnTo>
                  <a:lnTo>
                    <a:pt x="326" y="30"/>
                  </a:lnTo>
                  <a:lnTo>
                    <a:pt x="321" y="28"/>
                  </a:lnTo>
                  <a:lnTo>
                    <a:pt x="318" y="26"/>
                  </a:lnTo>
                  <a:lnTo>
                    <a:pt x="313" y="25"/>
                  </a:lnTo>
                  <a:lnTo>
                    <a:pt x="310" y="25"/>
                  </a:lnTo>
                  <a:lnTo>
                    <a:pt x="303" y="25"/>
                  </a:lnTo>
                  <a:lnTo>
                    <a:pt x="297" y="23"/>
                  </a:lnTo>
                  <a:lnTo>
                    <a:pt x="289" y="23"/>
                  </a:lnTo>
                  <a:lnTo>
                    <a:pt x="283" y="22"/>
                  </a:lnTo>
                  <a:lnTo>
                    <a:pt x="275" y="20"/>
                  </a:lnTo>
                  <a:lnTo>
                    <a:pt x="264" y="17"/>
                  </a:lnTo>
                  <a:lnTo>
                    <a:pt x="262" y="17"/>
                  </a:lnTo>
                  <a:lnTo>
                    <a:pt x="261" y="15"/>
                  </a:lnTo>
                  <a:lnTo>
                    <a:pt x="259" y="14"/>
                  </a:lnTo>
                  <a:lnTo>
                    <a:pt x="259" y="12"/>
                  </a:lnTo>
                  <a:lnTo>
                    <a:pt x="256" y="9"/>
                  </a:lnTo>
                  <a:lnTo>
                    <a:pt x="256" y="7"/>
                  </a:lnTo>
                  <a:lnTo>
                    <a:pt x="255" y="4"/>
                  </a:lnTo>
                  <a:lnTo>
                    <a:pt x="251" y="4"/>
                  </a:lnTo>
                  <a:lnTo>
                    <a:pt x="251" y="3"/>
                  </a:lnTo>
                  <a:lnTo>
                    <a:pt x="248" y="1"/>
                  </a:lnTo>
                  <a:lnTo>
                    <a:pt x="247" y="1"/>
                  </a:lnTo>
                  <a:lnTo>
                    <a:pt x="243" y="0"/>
                  </a:lnTo>
                  <a:lnTo>
                    <a:pt x="242" y="1"/>
                  </a:lnTo>
                  <a:lnTo>
                    <a:pt x="239" y="1"/>
                  </a:lnTo>
                  <a:lnTo>
                    <a:pt x="236" y="1"/>
                  </a:lnTo>
                  <a:lnTo>
                    <a:pt x="234" y="9"/>
                  </a:lnTo>
                  <a:lnTo>
                    <a:pt x="232" y="17"/>
                  </a:lnTo>
                  <a:lnTo>
                    <a:pt x="231" y="23"/>
                  </a:lnTo>
                  <a:lnTo>
                    <a:pt x="231" y="30"/>
                  </a:lnTo>
                  <a:lnTo>
                    <a:pt x="231" y="33"/>
                  </a:lnTo>
                  <a:lnTo>
                    <a:pt x="231" y="34"/>
                  </a:lnTo>
                  <a:lnTo>
                    <a:pt x="231" y="37"/>
                  </a:lnTo>
                  <a:lnTo>
                    <a:pt x="231" y="42"/>
                  </a:lnTo>
                  <a:lnTo>
                    <a:pt x="231" y="44"/>
                  </a:lnTo>
                  <a:lnTo>
                    <a:pt x="229" y="45"/>
                  </a:lnTo>
                  <a:lnTo>
                    <a:pt x="228" y="48"/>
                  </a:lnTo>
                  <a:lnTo>
                    <a:pt x="226" y="50"/>
                  </a:lnTo>
                  <a:lnTo>
                    <a:pt x="221" y="55"/>
                  </a:lnTo>
                  <a:lnTo>
                    <a:pt x="215" y="61"/>
                  </a:lnTo>
                  <a:lnTo>
                    <a:pt x="210" y="64"/>
                  </a:lnTo>
                  <a:lnTo>
                    <a:pt x="204" y="69"/>
                  </a:lnTo>
                  <a:lnTo>
                    <a:pt x="201" y="71"/>
                  </a:lnTo>
                  <a:lnTo>
                    <a:pt x="196" y="71"/>
                  </a:lnTo>
                  <a:lnTo>
                    <a:pt x="190" y="67"/>
                  </a:lnTo>
                  <a:close/>
                </a:path>
              </a:pathLst>
            </a:custGeom>
            <a:solidFill>
              <a:srgbClr val="0070C0">
                <a:alpha val="10000"/>
              </a:srgbClr>
            </a:solidFill>
            <a:ln w="9525">
              <a:solidFill>
                <a:srgbClr val="FFFFFF">
                  <a:alpha val="0"/>
                </a:srgbClr>
              </a:solidFill>
              <a:round/>
              <a:headEnd/>
              <a:tailEnd/>
            </a:ln>
          </p:spPr>
          <p:txBody>
            <a:bodyPr lIns="91413" tIns="45707" rIns="91413" bIns="45707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372">
                <a:defRPr/>
              </a:pPr>
              <a:endParaRPr lang="ru-RU" sz="1700" dirty="0">
                <a:solidFill>
                  <a:srgbClr val="C7E0FB"/>
                </a:solidFill>
                <a:latin typeface="Arial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9" name="Freeform 4">
              <a:extLst>
                <a:ext uri="{FF2B5EF4-FFF2-40B4-BE49-F238E27FC236}">
                  <a16:creationId xmlns:a16="http://schemas.microsoft.com/office/drawing/2014/main" id="{8A0AF096-C10A-4762-869F-3D46193A8544}"/>
                </a:ext>
              </a:extLst>
            </p:cNvPr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 rot="389746">
              <a:off x="10050918" y="3975866"/>
              <a:ext cx="6042084" cy="6513441"/>
            </a:xfrm>
            <a:custGeom>
              <a:avLst/>
              <a:gdLst>
                <a:gd name="T0" fmla="*/ 2147483647 w 2198"/>
                <a:gd name="T1" fmla="*/ 2147483647 h 2583"/>
                <a:gd name="T2" fmla="*/ 2147483647 w 2198"/>
                <a:gd name="T3" fmla="*/ 2147483647 h 2583"/>
                <a:gd name="T4" fmla="*/ 2147483647 w 2198"/>
                <a:gd name="T5" fmla="*/ 2147483647 h 2583"/>
                <a:gd name="T6" fmla="*/ 2147483647 w 2198"/>
                <a:gd name="T7" fmla="*/ 2147483647 h 2583"/>
                <a:gd name="T8" fmla="*/ 2147483647 w 2198"/>
                <a:gd name="T9" fmla="*/ 2147483647 h 2583"/>
                <a:gd name="T10" fmla="*/ 2147483647 w 2198"/>
                <a:gd name="T11" fmla="*/ 2147483647 h 2583"/>
                <a:gd name="T12" fmla="*/ 2147483647 w 2198"/>
                <a:gd name="T13" fmla="*/ 2147483647 h 2583"/>
                <a:gd name="T14" fmla="*/ 2147483647 w 2198"/>
                <a:gd name="T15" fmla="*/ 2147483647 h 2583"/>
                <a:gd name="T16" fmla="*/ 2147483647 w 2198"/>
                <a:gd name="T17" fmla="*/ 2147483647 h 2583"/>
                <a:gd name="T18" fmla="*/ 2147483647 w 2198"/>
                <a:gd name="T19" fmla="*/ 2147483647 h 2583"/>
                <a:gd name="T20" fmla="*/ 2147483647 w 2198"/>
                <a:gd name="T21" fmla="*/ 2147483647 h 2583"/>
                <a:gd name="T22" fmla="*/ 2147483647 w 2198"/>
                <a:gd name="T23" fmla="*/ 2147483647 h 2583"/>
                <a:gd name="T24" fmla="*/ 2147483647 w 2198"/>
                <a:gd name="T25" fmla="*/ 2147483647 h 2583"/>
                <a:gd name="T26" fmla="*/ 2147483647 w 2198"/>
                <a:gd name="T27" fmla="*/ 2147483647 h 2583"/>
                <a:gd name="T28" fmla="*/ 2147483647 w 2198"/>
                <a:gd name="T29" fmla="*/ 2147483647 h 2583"/>
                <a:gd name="T30" fmla="*/ 2147483647 w 2198"/>
                <a:gd name="T31" fmla="*/ 2147483647 h 2583"/>
                <a:gd name="T32" fmla="*/ 2147483647 w 2198"/>
                <a:gd name="T33" fmla="*/ 2147483647 h 2583"/>
                <a:gd name="T34" fmla="*/ 2147483647 w 2198"/>
                <a:gd name="T35" fmla="*/ 2147483647 h 2583"/>
                <a:gd name="T36" fmla="*/ 2147483647 w 2198"/>
                <a:gd name="T37" fmla="*/ 2147483647 h 2583"/>
                <a:gd name="T38" fmla="*/ 2147483647 w 2198"/>
                <a:gd name="T39" fmla="*/ 2147483647 h 2583"/>
                <a:gd name="T40" fmla="*/ 2147483647 w 2198"/>
                <a:gd name="T41" fmla="*/ 2147483647 h 2583"/>
                <a:gd name="T42" fmla="*/ 2147483647 w 2198"/>
                <a:gd name="T43" fmla="*/ 2147483647 h 2583"/>
                <a:gd name="T44" fmla="*/ 2147483647 w 2198"/>
                <a:gd name="T45" fmla="*/ 2147483647 h 2583"/>
                <a:gd name="T46" fmla="*/ 2147483647 w 2198"/>
                <a:gd name="T47" fmla="*/ 2147483647 h 2583"/>
                <a:gd name="T48" fmla="*/ 2147483647 w 2198"/>
                <a:gd name="T49" fmla="*/ 2147483647 h 2583"/>
                <a:gd name="T50" fmla="*/ 2147483647 w 2198"/>
                <a:gd name="T51" fmla="*/ 2147483647 h 2583"/>
                <a:gd name="T52" fmla="*/ 2147483647 w 2198"/>
                <a:gd name="T53" fmla="*/ 2147483647 h 2583"/>
                <a:gd name="T54" fmla="*/ 2147483647 w 2198"/>
                <a:gd name="T55" fmla="*/ 2147483647 h 2583"/>
                <a:gd name="T56" fmla="*/ 2147483647 w 2198"/>
                <a:gd name="T57" fmla="*/ 2147483647 h 2583"/>
                <a:gd name="T58" fmla="*/ 2147483647 w 2198"/>
                <a:gd name="T59" fmla="*/ 2147483647 h 2583"/>
                <a:gd name="T60" fmla="*/ 2147483647 w 2198"/>
                <a:gd name="T61" fmla="*/ 2147483647 h 2583"/>
                <a:gd name="T62" fmla="*/ 2147483647 w 2198"/>
                <a:gd name="T63" fmla="*/ 2147483647 h 2583"/>
                <a:gd name="T64" fmla="*/ 2147483647 w 2198"/>
                <a:gd name="T65" fmla="*/ 2147483647 h 2583"/>
                <a:gd name="T66" fmla="*/ 2147483647 w 2198"/>
                <a:gd name="T67" fmla="*/ 2147483647 h 2583"/>
                <a:gd name="T68" fmla="*/ 2147483647 w 2198"/>
                <a:gd name="T69" fmla="*/ 2147483647 h 2583"/>
                <a:gd name="T70" fmla="*/ 2147483647 w 2198"/>
                <a:gd name="T71" fmla="*/ 2147483647 h 2583"/>
                <a:gd name="T72" fmla="*/ 2147483647 w 2198"/>
                <a:gd name="T73" fmla="*/ 2147483647 h 2583"/>
                <a:gd name="T74" fmla="*/ 2147483647 w 2198"/>
                <a:gd name="T75" fmla="*/ 2147483647 h 2583"/>
                <a:gd name="T76" fmla="*/ 2147483647 w 2198"/>
                <a:gd name="T77" fmla="*/ 2147483647 h 2583"/>
                <a:gd name="T78" fmla="*/ 2147483647 w 2198"/>
                <a:gd name="T79" fmla="*/ 2147483647 h 2583"/>
                <a:gd name="T80" fmla="*/ 2147483647 w 2198"/>
                <a:gd name="T81" fmla="*/ 2147483647 h 2583"/>
                <a:gd name="T82" fmla="*/ 2147483647 w 2198"/>
                <a:gd name="T83" fmla="*/ 2147483647 h 2583"/>
                <a:gd name="T84" fmla="*/ 2147483647 w 2198"/>
                <a:gd name="T85" fmla="*/ 2147483647 h 2583"/>
                <a:gd name="T86" fmla="*/ 2147483647 w 2198"/>
                <a:gd name="T87" fmla="*/ 2147483647 h 2583"/>
                <a:gd name="T88" fmla="*/ 2147483647 w 2198"/>
                <a:gd name="T89" fmla="*/ 2147483647 h 2583"/>
                <a:gd name="T90" fmla="*/ 2147483647 w 2198"/>
                <a:gd name="T91" fmla="*/ 2147483647 h 2583"/>
                <a:gd name="T92" fmla="*/ 2147483647 w 2198"/>
                <a:gd name="T93" fmla="*/ 2147483647 h 2583"/>
                <a:gd name="T94" fmla="*/ 2147483647 w 2198"/>
                <a:gd name="T95" fmla="*/ 2147483647 h 2583"/>
                <a:gd name="T96" fmla="*/ 2147483647 w 2198"/>
                <a:gd name="T97" fmla="*/ 2147483647 h 2583"/>
                <a:gd name="T98" fmla="*/ 2147483647 w 2198"/>
                <a:gd name="T99" fmla="*/ 2147483647 h 2583"/>
                <a:gd name="T100" fmla="*/ 2147483647 w 2198"/>
                <a:gd name="T101" fmla="*/ 2147483647 h 2583"/>
                <a:gd name="T102" fmla="*/ 2147483647 w 2198"/>
                <a:gd name="T103" fmla="*/ 2147483647 h 2583"/>
                <a:gd name="T104" fmla="*/ 2147483647 w 2198"/>
                <a:gd name="T105" fmla="*/ 2147483647 h 2583"/>
                <a:gd name="T106" fmla="*/ 2147483647 w 2198"/>
                <a:gd name="T107" fmla="*/ 2147483647 h 2583"/>
                <a:gd name="T108" fmla="*/ 2147483647 w 2198"/>
                <a:gd name="T109" fmla="*/ 2147483647 h 2583"/>
                <a:gd name="T110" fmla="*/ 2147483647 w 2198"/>
                <a:gd name="T111" fmla="*/ 2147483647 h 2583"/>
                <a:gd name="T112" fmla="*/ 2147483647 w 2198"/>
                <a:gd name="T113" fmla="*/ 2147483647 h 2583"/>
                <a:gd name="T114" fmla="*/ 2147483647 w 2198"/>
                <a:gd name="T115" fmla="*/ 2147483647 h 2583"/>
                <a:gd name="T116" fmla="*/ 2147483647 w 2198"/>
                <a:gd name="T117" fmla="*/ 2147483647 h 2583"/>
                <a:gd name="T118" fmla="*/ 2147483647 w 2198"/>
                <a:gd name="T119" fmla="*/ 2147483647 h 2583"/>
                <a:gd name="T120" fmla="*/ 2147483647 w 2198"/>
                <a:gd name="T121" fmla="*/ 2147483647 h 2583"/>
                <a:gd name="T122" fmla="*/ 2147483647 w 2198"/>
                <a:gd name="T123" fmla="*/ 2147483647 h 2583"/>
                <a:gd name="T124" fmla="*/ 2147483647 w 2198"/>
                <a:gd name="T125" fmla="*/ 2147483647 h 258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198"/>
                <a:gd name="T190" fmla="*/ 0 h 2583"/>
                <a:gd name="T191" fmla="*/ 2198 w 2198"/>
                <a:gd name="T192" fmla="*/ 2583 h 258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198" h="2583">
                  <a:moveTo>
                    <a:pt x="1934" y="1637"/>
                  </a:moveTo>
                  <a:lnTo>
                    <a:pt x="1934" y="1639"/>
                  </a:lnTo>
                  <a:lnTo>
                    <a:pt x="1932" y="1637"/>
                  </a:lnTo>
                  <a:lnTo>
                    <a:pt x="1929" y="1634"/>
                  </a:lnTo>
                  <a:lnTo>
                    <a:pt x="1924" y="1631"/>
                  </a:lnTo>
                  <a:lnTo>
                    <a:pt x="1918" y="1628"/>
                  </a:lnTo>
                  <a:lnTo>
                    <a:pt x="1912" y="1623"/>
                  </a:lnTo>
                  <a:lnTo>
                    <a:pt x="1905" y="1618"/>
                  </a:lnTo>
                  <a:lnTo>
                    <a:pt x="1901" y="1615"/>
                  </a:lnTo>
                  <a:lnTo>
                    <a:pt x="1899" y="1612"/>
                  </a:lnTo>
                  <a:lnTo>
                    <a:pt x="1896" y="1609"/>
                  </a:lnTo>
                  <a:lnTo>
                    <a:pt x="1894" y="1607"/>
                  </a:lnTo>
                  <a:lnTo>
                    <a:pt x="1893" y="1604"/>
                  </a:lnTo>
                  <a:lnTo>
                    <a:pt x="1891" y="1593"/>
                  </a:lnTo>
                  <a:lnTo>
                    <a:pt x="1888" y="1583"/>
                  </a:lnTo>
                  <a:lnTo>
                    <a:pt x="1885" y="1579"/>
                  </a:lnTo>
                  <a:lnTo>
                    <a:pt x="1885" y="1574"/>
                  </a:lnTo>
                  <a:lnTo>
                    <a:pt x="1883" y="1572"/>
                  </a:lnTo>
                  <a:lnTo>
                    <a:pt x="1880" y="1571"/>
                  </a:lnTo>
                  <a:lnTo>
                    <a:pt x="1880" y="1569"/>
                  </a:lnTo>
                  <a:lnTo>
                    <a:pt x="1877" y="1566"/>
                  </a:lnTo>
                  <a:lnTo>
                    <a:pt x="1858" y="1566"/>
                  </a:lnTo>
                  <a:lnTo>
                    <a:pt x="1858" y="1571"/>
                  </a:lnTo>
                  <a:lnTo>
                    <a:pt x="1856" y="1574"/>
                  </a:lnTo>
                  <a:lnTo>
                    <a:pt x="1855" y="1577"/>
                  </a:lnTo>
                  <a:lnTo>
                    <a:pt x="1853" y="1580"/>
                  </a:lnTo>
                  <a:lnTo>
                    <a:pt x="1852" y="1582"/>
                  </a:lnTo>
                  <a:lnTo>
                    <a:pt x="1850" y="1583"/>
                  </a:lnTo>
                  <a:lnTo>
                    <a:pt x="1845" y="1583"/>
                  </a:lnTo>
                  <a:lnTo>
                    <a:pt x="1841" y="1583"/>
                  </a:lnTo>
                  <a:lnTo>
                    <a:pt x="1839" y="1583"/>
                  </a:lnTo>
                  <a:lnTo>
                    <a:pt x="1834" y="1583"/>
                  </a:lnTo>
                  <a:lnTo>
                    <a:pt x="1833" y="1583"/>
                  </a:lnTo>
                  <a:lnTo>
                    <a:pt x="1829" y="1582"/>
                  </a:lnTo>
                  <a:lnTo>
                    <a:pt x="1826" y="1580"/>
                  </a:lnTo>
                  <a:lnTo>
                    <a:pt x="1826" y="1579"/>
                  </a:lnTo>
                  <a:lnTo>
                    <a:pt x="1825" y="1577"/>
                  </a:lnTo>
                  <a:lnTo>
                    <a:pt x="1822" y="1575"/>
                  </a:lnTo>
                  <a:lnTo>
                    <a:pt x="1818" y="1572"/>
                  </a:lnTo>
                  <a:lnTo>
                    <a:pt x="1817" y="1568"/>
                  </a:lnTo>
                  <a:lnTo>
                    <a:pt x="1814" y="1563"/>
                  </a:lnTo>
                  <a:lnTo>
                    <a:pt x="1811" y="1558"/>
                  </a:lnTo>
                  <a:lnTo>
                    <a:pt x="1809" y="1553"/>
                  </a:lnTo>
                  <a:lnTo>
                    <a:pt x="1806" y="1549"/>
                  </a:lnTo>
                  <a:lnTo>
                    <a:pt x="1803" y="1546"/>
                  </a:lnTo>
                  <a:lnTo>
                    <a:pt x="1798" y="1541"/>
                  </a:lnTo>
                  <a:lnTo>
                    <a:pt x="1796" y="1539"/>
                  </a:lnTo>
                  <a:lnTo>
                    <a:pt x="1793" y="1538"/>
                  </a:lnTo>
                  <a:lnTo>
                    <a:pt x="1792" y="1536"/>
                  </a:lnTo>
                  <a:lnTo>
                    <a:pt x="1788" y="1534"/>
                  </a:lnTo>
                  <a:lnTo>
                    <a:pt x="1785" y="1534"/>
                  </a:lnTo>
                  <a:lnTo>
                    <a:pt x="1784" y="1534"/>
                  </a:lnTo>
                  <a:lnTo>
                    <a:pt x="1781" y="1533"/>
                  </a:lnTo>
                  <a:lnTo>
                    <a:pt x="1776" y="1533"/>
                  </a:lnTo>
                  <a:lnTo>
                    <a:pt x="1765" y="1534"/>
                  </a:lnTo>
                  <a:lnTo>
                    <a:pt x="1757" y="1534"/>
                  </a:lnTo>
                  <a:lnTo>
                    <a:pt x="1752" y="1534"/>
                  </a:lnTo>
                  <a:lnTo>
                    <a:pt x="1750" y="1536"/>
                  </a:lnTo>
                  <a:lnTo>
                    <a:pt x="1747" y="1538"/>
                  </a:lnTo>
                  <a:lnTo>
                    <a:pt x="1744" y="1539"/>
                  </a:lnTo>
                  <a:lnTo>
                    <a:pt x="1741" y="1541"/>
                  </a:lnTo>
                  <a:lnTo>
                    <a:pt x="1739" y="1542"/>
                  </a:lnTo>
                  <a:lnTo>
                    <a:pt x="1736" y="1544"/>
                  </a:lnTo>
                  <a:lnTo>
                    <a:pt x="1735" y="1546"/>
                  </a:lnTo>
                  <a:lnTo>
                    <a:pt x="1735" y="1547"/>
                  </a:lnTo>
                  <a:lnTo>
                    <a:pt x="1732" y="1550"/>
                  </a:lnTo>
                  <a:lnTo>
                    <a:pt x="1732" y="1552"/>
                  </a:lnTo>
                  <a:lnTo>
                    <a:pt x="1730" y="1555"/>
                  </a:lnTo>
                  <a:lnTo>
                    <a:pt x="1730" y="1561"/>
                  </a:lnTo>
                  <a:lnTo>
                    <a:pt x="1727" y="1566"/>
                  </a:lnTo>
                  <a:lnTo>
                    <a:pt x="1727" y="1572"/>
                  </a:lnTo>
                  <a:lnTo>
                    <a:pt x="1725" y="1580"/>
                  </a:lnTo>
                  <a:lnTo>
                    <a:pt x="1724" y="1588"/>
                  </a:lnTo>
                  <a:lnTo>
                    <a:pt x="1724" y="1596"/>
                  </a:lnTo>
                  <a:lnTo>
                    <a:pt x="1722" y="1604"/>
                  </a:lnTo>
                  <a:lnTo>
                    <a:pt x="1720" y="1613"/>
                  </a:lnTo>
                  <a:lnTo>
                    <a:pt x="1719" y="1620"/>
                  </a:lnTo>
                  <a:lnTo>
                    <a:pt x="1716" y="1624"/>
                  </a:lnTo>
                  <a:lnTo>
                    <a:pt x="1714" y="1628"/>
                  </a:lnTo>
                  <a:lnTo>
                    <a:pt x="1711" y="1632"/>
                  </a:lnTo>
                  <a:lnTo>
                    <a:pt x="1706" y="1640"/>
                  </a:lnTo>
                  <a:lnTo>
                    <a:pt x="1702" y="1648"/>
                  </a:lnTo>
                  <a:lnTo>
                    <a:pt x="1695" y="1656"/>
                  </a:lnTo>
                  <a:lnTo>
                    <a:pt x="1690" y="1662"/>
                  </a:lnTo>
                  <a:lnTo>
                    <a:pt x="1689" y="1667"/>
                  </a:lnTo>
                  <a:lnTo>
                    <a:pt x="1686" y="1672"/>
                  </a:lnTo>
                  <a:lnTo>
                    <a:pt x="1686" y="1676"/>
                  </a:lnTo>
                  <a:lnTo>
                    <a:pt x="1684" y="1681"/>
                  </a:lnTo>
                  <a:lnTo>
                    <a:pt x="1681" y="1681"/>
                  </a:lnTo>
                  <a:lnTo>
                    <a:pt x="1678" y="1680"/>
                  </a:lnTo>
                  <a:lnTo>
                    <a:pt x="1676" y="1678"/>
                  </a:lnTo>
                  <a:lnTo>
                    <a:pt x="1673" y="1678"/>
                  </a:lnTo>
                  <a:lnTo>
                    <a:pt x="1670" y="1675"/>
                  </a:lnTo>
                  <a:lnTo>
                    <a:pt x="1667" y="1670"/>
                  </a:lnTo>
                  <a:lnTo>
                    <a:pt x="1664" y="1667"/>
                  </a:lnTo>
                  <a:lnTo>
                    <a:pt x="1660" y="1664"/>
                  </a:lnTo>
                  <a:lnTo>
                    <a:pt x="1659" y="1662"/>
                  </a:lnTo>
                  <a:lnTo>
                    <a:pt x="1657" y="1661"/>
                  </a:lnTo>
                  <a:lnTo>
                    <a:pt x="1656" y="1661"/>
                  </a:lnTo>
                  <a:lnTo>
                    <a:pt x="1654" y="1661"/>
                  </a:lnTo>
                  <a:lnTo>
                    <a:pt x="1651" y="1661"/>
                  </a:lnTo>
                  <a:lnTo>
                    <a:pt x="1649" y="1661"/>
                  </a:lnTo>
                  <a:lnTo>
                    <a:pt x="1646" y="1662"/>
                  </a:lnTo>
                  <a:lnTo>
                    <a:pt x="1643" y="1662"/>
                  </a:lnTo>
                  <a:lnTo>
                    <a:pt x="1638" y="1665"/>
                  </a:lnTo>
                  <a:lnTo>
                    <a:pt x="1634" y="1669"/>
                  </a:lnTo>
                  <a:lnTo>
                    <a:pt x="1629" y="1673"/>
                  </a:lnTo>
                  <a:lnTo>
                    <a:pt x="1624" y="1678"/>
                  </a:lnTo>
                  <a:lnTo>
                    <a:pt x="1619" y="1683"/>
                  </a:lnTo>
                  <a:lnTo>
                    <a:pt x="1616" y="1687"/>
                  </a:lnTo>
                  <a:lnTo>
                    <a:pt x="1611" y="1692"/>
                  </a:lnTo>
                  <a:lnTo>
                    <a:pt x="1607" y="1697"/>
                  </a:lnTo>
                  <a:lnTo>
                    <a:pt x="1602" y="1702"/>
                  </a:lnTo>
                  <a:lnTo>
                    <a:pt x="1597" y="1706"/>
                  </a:lnTo>
                  <a:lnTo>
                    <a:pt x="1594" y="1708"/>
                  </a:lnTo>
                  <a:lnTo>
                    <a:pt x="1593" y="1710"/>
                  </a:lnTo>
                  <a:lnTo>
                    <a:pt x="1588" y="1711"/>
                  </a:lnTo>
                  <a:lnTo>
                    <a:pt x="1586" y="1713"/>
                  </a:lnTo>
                  <a:lnTo>
                    <a:pt x="1583" y="1714"/>
                  </a:lnTo>
                  <a:lnTo>
                    <a:pt x="1580" y="1714"/>
                  </a:lnTo>
                  <a:lnTo>
                    <a:pt x="1575" y="1714"/>
                  </a:lnTo>
                  <a:lnTo>
                    <a:pt x="1574" y="1714"/>
                  </a:lnTo>
                  <a:lnTo>
                    <a:pt x="1567" y="1714"/>
                  </a:lnTo>
                  <a:lnTo>
                    <a:pt x="1566" y="1714"/>
                  </a:lnTo>
                  <a:lnTo>
                    <a:pt x="1562" y="1713"/>
                  </a:lnTo>
                  <a:lnTo>
                    <a:pt x="1559" y="1711"/>
                  </a:lnTo>
                  <a:lnTo>
                    <a:pt x="1558" y="1711"/>
                  </a:lnTo>
                  <a:lnTo>
                    <a:pt x="1555" y="1710"/>
                  </a:lnTo>
                  <a:lnTo>
                    <a:pt x="1555" y="1706"/>
                  </a:lnTo>
                  <a:lnTo>
                    <a:pt x="1553" y="1705"/>
                  </a:lnTo>
                  <a:lnTo>
                    <a:pt x="1551" y="1702"/>
                  </a:lnTo>
                  <a:lnTo>
                    <a:pt x="1551" y="1700"/>
                  </a:lnTo>
                  <a:lnTo>
                    <a:pt x="1550" y="1697"/>
                  </a:lnTo>
                  <a:lnTo>
                    <a:pt x="1550" y="1695"/>
                  </a:lnTo>
                  <a:lnTo>
                    <a:pt x="1550" y="1689"/>
                  </a:lnTo>
                  <a:lnTo>
                    <a:pt x="1550" y="1684"/>
                  </a:lnTo>
                  <a:lnTo>
                    <a:pt x="1550" y="1673"/>
                  </a:lnTo>
                  <a:lnTo>
                    <a:pt x="1550" y="1661"/>
                  </a:lnTo>
                  <a:lnTo>
                    <a:pt x="1550" y="1651"/>
                  </a:lnTo>
                  <a:lnTo>
                    <a:pt x="1550" y="1642"/>
                  </a:lnTo>
                  <a:lnTo>
                    <a:pt x="1550" y="1632"/>
                  </a:lnTo>
                  <a:lnTo>
                    <a:pt x="1550" y="1621"/>
                  </a:lnTo>
                  <a:lnTo>
                    <a:pt x="1550" y="1610"/>
                  </a:lnTo>
                  <a:lnTo>
                    <a:pt x="1550" y="1596"/>
                  </a:lnTo>
                  <a:lnTo>
                    <a:pt x="1550" y="1591"/>
                  </a:lnTo>
                  <a:lnTo>
                    <a:pt x="1551" y="1585"/>
                  </a:lnTo>
                  <a:lnTo>
                    <a:pt x="1553" y="1580"/>
                  </a:lnTo>
                  <a:lnTo>
                    <a:pt x="1555" y="1575"/>
                  </a:lnTo>
                  <a:lnTo>
                    <a:pt x="1555" y="1571"/>
                  </a:lnTo>
                  <a:lnTo>
                    <a:pt x="1558" y="1566"/>
                  </a:lnTo>
                  <a:lnTo>
                    <a:pt x="1558" y="1561"/>
                  </a:lnTo>
                  <a:lnTo>
                    <a:pt x="1559" y="1555"/>
                  </a:lnTo>
                  <a:lnTo>
                    <a:pt x="1550" y="1550"/>
                  </a:lnTo>
                  <a:lnTo>
                    <a:pt x="1540" y="1546"/>
                  </a:lnTo>
                  <a:lnTo>
                    <a:pt x="1536" y="1542"/>
                  </a:lnTo>
                  <a:lnTo>
                    <a:pt x="1532" y="1541"/>
                  </a:lnTo>
                  <a:lnTo>
                    <a:pt x="1529" y="1536"/>
                  </a:lnTo>
                  <a:lnTo>
                    <a:pt x="1525" y="1534"/>
                  </a:lnTo>
                  <a:lnTo>
                    <a:pt x="1521" y="1530"/>
                  </a:lnTo>
                  <a:lnTo>
                    <a:pt x="1520" y="1527"/>
                  </a:lnTo>
                  <a:lnTo>
                    <a:pt x="1518" y="1522"/>
                  </a:lnTo>
                  <a:lnTo>
                    <a:pt x="1515" y="1520"/>
                  </a:lnTo>
                  <a:lnTo>
                    <a:pt x="1514" y="1514"/>
                  </a:lnTo>
                  <a:lnTo>
                    <a:pt x="1514" y="1511"/>
                  </a:lnTo>
                  <a:lnTo>
                    <a:pt x="1514" y="1508"/>
                  </a:lnTo>
                  <a:lnTo>
                    <a:pt x="1512" y="1501"/>
                  </a:lnTo>
                  <a:lnTo>
                    <a:pt x="1512" y="1500"/>
                  </a:lnTo>
                  <a:lnTo>
                    <a:pt x="1512" y="1495"/>
                  </a:lnTo>
                  <a:lnTo>
                    <a:pt x="1512" y="1489"/>
                  </a:lnTo>
                  <a:lnTo>
                    <a:pt x="1512" y="1481"/>
                  </a:lnTo>
                  <a:lnTo>
                    <a:pt x="1512" y="1479"/>
                  </a:lnTo>
                  <a:lnTo>
                    <a:pt x="1512" y="1476"/>
                  </a:lnTo>
                  <a:lnTo>
                    <a:pt x="1510" y="1475"/>
                  </a:lnTo>
                  <a:lnTo>
                    <a:pt x="1509" y="1471"/>
                  </a:lnTo>
                  <a:lnTo>
                    <a:pt x="1507" y="1471"/>
                  </a:lnTo>
                  <a:lnTo>
                    <a:pt x="1506" y="1468"/>
                  </a:lnTo>
                  <a:lnTo>
                    <a:pt x="1502" y="1468"/>
                  </a:lnTo>
                  <a:lnTo>
                    <a:pt x="1501" y="1467"/>
                  </a:lnTo>
                  <a:lnTo>
                    <a:pt x="1496" y="1467"/>
                  </a:lnTo>
                  <a:lnTo>
                    <a:pt x="1491" y="1463"/>
                  </a:lnTo>
                  <a:lnTo>
                    <a:pt x="1490" y="1462"/>
                  </a:lnTo>
                  <a:lnTo>
                    <a:pt x="1487" y="1462"/>
                  </a:lnTo>
                  <a:lnTo>
                    <a:pt x="1487" y="1460"/>
                  </a:lnTo>
                  <a:lnTo>
                    <a:pt x="1483" y="1459"/>
                  </a:lnTo>
                  <a:lnTo>
                    <a:pt x="1483" y="1456"/>
                  </a:lnTo>
                  <a:lnTo>
                    <a:pt x="1482" y="1452"/>
                  </a:lnTo>
                  <a:lnTo>
                    <a:pt x="1480" y="1449"/>
                  </a:lnTo>
                  <a:lnTo>
                    <a:pt x="1480" y="1446"/>
                  </a:lnTo>
                  <a:lnTo>
                    <a:pt x="1479" y="1440"/>
                  </a:lnTo>
                  <a:lnTo>
                    <a:pt x="1479" y="1435"/>
                  </a:lnTo>
                  <a:lnTo>
                    <a:pt x="1477" y="1430"/>
                  </a:lnTo>
                  <a:lnTo>
                    <a:pt x="1476" y="1426"/>
                  </a:lnTo>
                  <a:lnTo>
                    <a:pt x="1476" y="1422"/>
                  </a:lnTo>
                  <a:lnTo>
                    <a:pt x="1474" y="1419"/>
                  </a:lnTo>
                  <a:lnTo>
                    <a:pt x="1474" y="1416"/>
                  </a:lnTo>
                  <a:lnTo>
                    <a:pt x="1471" y="1413"/>
                  </a:lnTo>
                  <a:lnTo>
                    <a:pt x="1471" y="1410"/>
                  </a:lnTo>
                  <a:lnTo>
                    <a:pt x="1468" y="1407"/>
                  </a:lnTo>
                  <a:lnTo>
                    <a:pt x="1466" y="1404"/>
                  </a:lnTo>
                  <a:lnTo>
                    <a:pt x="1465" y="1400"/>
                  </a:lnTo>
                  <a:lnTo>
                    <a:pt x="1463" y="1399"/>
                  </a:lnTo>
                  <a:lnTo>
                    <a:pt x="1460" y="1396"/>
                  </a:lnTo>
                  <a:lnTo>
                    <a:pt x="1458" y="1394"/>
                  </a:lnTo>
                  <a:lnTo>
                    <a:pt x="1455" y="1393"/>
                  </a:lnTo>
                  <a:lnTo>
                    <a:pt x="1452" y="1389"/>
                  </a:lnTo>
                  <a:lnTo>
                    <a:pt x="1450" y="1388"/>
                  </a:lnTo>
                  <a:lnTo>
                    <a:pt x="1446" y="1386"/>
                  </a:lnTo>
                  <a:lnTo>
                    <a:pt x="1442" y="1386"/>
                  </a:lnTo>
                  <a:lnTo>
                    <a:pt x="1435" y="1385"/>
                  </a:lnTo>
                  <a:lnTo>
                    <a:pt x="1425" y="1381"/>
                  </a:lnTo>
                  <a:lnTo>
                    <a:pt x="1425" y="1378"/>
                  </a:lnTo>
                  <a:lnTo>
                    <a:pt x="1427" y="1377"/>
                  </a:lnTo>
                  <a:lnTo>
                    <a:pt x="1428" y="1374"/>
                  </a:lnTo>
                  <a:lnTo>
                    <a:pt x="1430" y="1372"/>
                  </a:lnTo>
                  <a:lnTo>
                    <a:pt x="1431" y="1369"/>
                  </a:lnTo>
                  <a:lnTo>
                    <a:pt x="1433" y="1367"/>
                  </a:lnTo>
                  <a:lnTo>
                    <a:pt x="1435" y="1364"/>
                  </a:lnTo>
                  <a:lnTo>
                    <a:pt x="1435" y="1359"/>
                  </a:lnTo>
                  <a:lnTo>
                    <a:pt x="1435" y="1355"/>
                  </a:lnTo>
                  <a:lnTo>
                    <a:pt x="1435" y="1353"/>
                  </a:lnTo>
                  <a:lnTo>
                    <a:pt x="1433" y="1351"/>
                  </a:lnTo>
                  <a:lnTo>
                    <a:pt x="1430" y="1350"/>
                  </a:lnTo>
                  <a:lnTo>
                    <a:pt x="1417" y="1347"/>
                  </a:lnTo>
                  <a:lnTo>
                    <a:pt x="1417" y="1348"/>
                  </a:lnTo>
                  <a:lnTo>
                    <a:pt x="1417" y="1351"/>
                  </a:lnTo>
                  <a:lnTo>
                    <a:pt x="1414" y="1347"/>
                  </a:lnTo>
                  <a:lnTo>
                    <a:pt x="1412" y="1347"/>
                  </a:lnTo>
                  <a:lnTo>
                    <a:pt x="1404" y="1348"/>
                  </a:lnTo>
                  <a:lnTo>
                    <a:pt x="1398" y="1348"/>
                  </a:lnTo>
                  <a:lnTo>
                    <a:pt x="1395" y="1348"/>
                  </a:lnTo>
                  <a:lnTo>
                    <a:pt x="1392" y="1348"/>
                  </a:lnTo>
                  <a:lnTo>
                    <a:pt x="1389" y="1348"/>
                  </a:lnTo>
                  <a:lnTo>
                    <a:pt x="1386" y="1347"/>
                  </a:lnTo>
                  <a:lnTo>
                    <a:pt x="1379" y="1345"/>
                  </a:lnTo>
                  <a:lnTo>
                    <a:pt x="1373" y="1342"/>
                  </a:lnTo>
                  <a:lnTo>
                    <a:pt x="1371" y="1340"/>
                  </a:lnTo>
                  <a:lnTo>
                    <a:pt x="1368" y="1340"/>
                  </a:lnTo>
                  <a:lnTo>
                    <a:pt x="1365" y="1340"/>
                  </a:lnTo>
                  <a:lnTo>
                    <a:pt x="1363" y="1339"/>
                  </a:lnTo>
                  <a:lnTo>
                    <a:pt x="1354" y="1340"/>
                  </a:lnTo>
                  <a:lnTo>
                    <a:pt x="1346" y="1340"/>
                  </a:lnTo>
                  <a:lnTo>
                    <a:pt x="1343" y="1340"/>
                  </a:lnTo>
                  <a:lnTo>
                    <a:pt x="1338" y="1340"/>
                  </a:lnTo>
                  <a:lnTo>
                    <a:pt x="1333" y="1340"/>
                  </a:lnTo>
                  <a:lnTo>
                    <a:pt x="1329" y="1339"/>
                  </a:lnTo>
                  <a:lnTo>
                    <a:pt x="1329" y="1323"/>
                  </a:lnTo>
                  <a:lnTo>
                    <a:pt x="1329" y="1314"/>
                  </a:lnTo>
                  <a:lnTo>
                    <a:pt x="1329" y="1307"/>
                  </a:lnTo>
                  <a:lnTo>
                    <a:pt x="1329" y="1296"/>
                  </a:lnTo>
                  <a:lnTo>
                    <a:pt x="1330" y="1293"/>
                  </a:lnTo>
                  <a:lnTo>
                    <a:pt x="1330" y="1290"/>
                  </a:lnTo>
                  <a:lnTo>
                    <a:pt x="1330" y="1288"/>
                  </a:lnTo>
                  <a:lnTo>
                    <a:pt x="1332" y="1285"/>
                  </a:lnTo>
                  <a:lnTo>
                    <a:pt x="1335" y="1282"/>
                  </a:lnTo>
                  <a:lnTo>
                    <a:pt x="1338" y="1277"/>
                  </a:lnTo>
                  <a:lnTo>
                    <a:pt x="1340" y="1274"/>
                  </a:lnTo>
                  <a:lnTo>
                    <a:pt x="1343" y="1269"/>
                  </a:lnTo>
                  <a:lnTo>
                    <a:pt x="1344" y="1268"/>
                  </a:lnTo>
                  <a:lnTo>
                    <a:pt x="1344" y="1266"/>
                  </a:lnTo>
                  <a:lnTo>
                    <a:pt x="1346" y="1265"/>
                  </a:lnTo>
                  <a:lnTo>
                    <a:pt x="1346" y="1263"/>
                  </a:lnTo>
                  <a:lnTo>
                    <a:pt x="1344" y="1258"/>
                  </a:lnTo>
                  <a:lnTo>
                    <a:pt x="1344" y="1254"/>
                  </a:lnTo>
                  <a:lnTo>
                    <a:pt x="1343" y="1251"/>
                  </a:lnTo>
                  <a:lnTo>
                    <a:pt x="1341" y="1246"/>
                  </a:lnTo>
                  <a:lnTo>
                    <a:pt x="1338" y="1243"/>
                  </a:lnTo>
                  <a:lnTo>
                    <a:pt x="1335" y="1240"/>
                  </a:lnTo>
                  <a:lnTo>
                    <a:pt x="1332" y="1236"/>
                  </a:lnTo>
                  <a:lnTo>
                    <a:pt x="1330" y="1232"/>
                  </a:lnTo>
                  <a:lnTo>
                    <a:pt x="1324" y="1225"/>
                  </a:lnTo>
                  <a:lnTo>
                    <a:pt x="1318" y="1219"/>
                  </a:lnTo>
                  <a:lnTo>
                    <a:pt x="1314" y="1214"/>
                  </a:lnTo>
                  <a:lnTo>
                    <a:pt x="1313" y="1211"/>
                  </a:lnTo>
                  <a:lnTo>
                    <a:pt x="1311" y="1206"/>
                  </a:lnTo>
                  <a:lnTo>
                    <a:pt x="1310" y="1202"/>
                  </a:lnTo>
                  <a:lnTo>
                    <a:pt x="1310" y="1198"/>
                  </a:lnTo>
                  <a:lnTo>
                    <a:pt x="1310" y="1197"/>
                  </a:lnTo>
                  <a:lnTo>
                    <a:pt x="1310" y="1195"/>
                  </a:lnTo>
                  <a:lnTo>
                    <a:pt x="1310" y="1192"/>
                  </a:lnTo>
                  <a:lnTo>
                    <a:pt x="1310" y="1187"/>
                  </a:lnTo>
                  <a:lnTo>
                    <a:pt x="1311" y="1184"/>
                  </a:lnTo>
                  <a:lnTo>
                    <a:pt x="1311" y="1180"/>
                  </a:lnTo>
                  <a:lnTo>
                    <a:pt x="1313" y="1176"/>
                  </a:lnTo>
                  <a:lnTo>
                    <a:pt x="1313" y="1175"/>
                  </a:lnTo>
                  <a:lnTo>
                    <a:pt x="1313" y="1172"/>
                  </a:lnTo>
                  <a:lnTo>
                    <a:pt x="1313" y="1170"/>
                  </a:lnTo>
                  <a:lnTo>
                    <a:pt x="1311" y="1169"/>
                  </a:lnTo>
                  <a:lnTo>
                    <a:pt x="1311" y="1167"/>
                  </a:lnTo>
                  <a:lnTo>
                    <a:pt x="1311" y="1165"/>
                  </a:lnTo>
                  <a:lnTo>
                    <a:pt x="1310" y="1164"/>
                  </a:lnTo>
                  <a:lnTo>
                    <a:pt x="1308" y="1162"/>
                  </a:lnTo>
                  <a:lnTo>
                    <a:pt x="1305" y="1161"/>
                  </a:lnTo>
                  <a:lnTo>
                    <a:pt x="1302" y="1159"/>
                  </a:lnTo>
                  <a:lnTo>
                    <a:pt x="1291" y="1157"/>
                  </a:lnTo>
                  <a:lnTo>
                    <a:pt x="1283" y="1154"/>
                  </a:lnTo>
                  <a:lnTo>
                    <a:pt x="1284" y="1151"/>
                  </a:lnTo>
                  <a:lnTo>
                    <a:pt x="1284" y="1150"/>
                  </a:lnTo>
                  <a:lnTo>
                    <a:pt x="1286" y="1146"/>
                  </a:lnTo>
                  <a:lnTo>
                    <a:pt x="1289" y="1145"/>
                  </a:lnTo>
                  <a:lnTo>
                    <a:pt x="1292" y="1140"/>
                  </a:lnTo>
                  <a:lnTo>
                    <a:pt x="1297" y="1137"/>
                  </a:lnTo>
                  <a:lnTo>
                    <a:pt x="1302" y="1134"/>
                  </a:lnTo>
                  <a:lnTo>
                    <a:pt x="1307" y="1129"/>
                  </a:lnTo>
                  <a:lnTo>
                    <a:pt x="1308" y="1129"/>
                  </a:lnTo>
                  <a:lnTo>
                    <a:pt x="1310" y="1126"/>
                  </a:lnTo>
                  <a:lnTo>
                    <a:pt x="1310" y="1123"/>
                  </a:lnTo>
                  <a:lnTo>
                    <a:pt x="1310" y="1120"/>
                  </a:lnTo>
                  <a:lnTo>
                    <a:pt x="1310" y="1107"/>
                  </a:lnTo>
                  <a:lnTo>
                    <a:pt x="1310" y="1096"/>
                  </a:lnTo>
                  <a:lnTo>
                    <a:pt x="1308" y="1083"/>
                  </a:lnTo>
                  <a:lnTo>
                    <a:pt x="1307" y="1072"/>
                  </a:lnTo>
                  <a:lnTo>
                    <a:pt x="1305" y="1061"/>
                  </a:lnTo>
                  <a:lnTo>
                    <a:pt x="1302" y="1050"/>
                  </a:lnTo>
                  <a:lnTo>
                    <a:pt x="1297" y="1039"/>
                  </a:lnTo>
                  <a:lnTo>
                    <a:pt x="1294" y="1030"/>
                  </a:lnTo>
                  <a:lnTo>
                    <a:pt x="1291" y="1019"/>
                  </a:lnTo>
                  <a:lnTo>
                    <a:pt x="1286" y="1008"/>
                  </a:lnTo>
                  <a:lnTo>
                    <a:pt x="1283" y="998"/>
                  </a:lnTo>
                  <a:lnTo>
                    <a:pt x="1277" y="987"/>
                  </a:lnTo>
                  <a:lnTo>
                    <a:pt x="1272" y="978"/>
                  </a:lnTo>
                  <a:lnTo>
                    <a:pt x="1267" y="968"/>
                  </a:lnTo>
                  <a:lnTo>
                    <a:pt x="1261" y="959"/>
                  </a:lnTo>
                  <a:lnTo>
                    <a:pt x="1256" y="949"/>
                  </a:lnTo>
                  <a:lnTo>
                    <a:pt x="1259" y="948"/>
                  </a:lnTo>
                  <a:lnTo>
                    <a:pt x="1262" y="946"/>
                  </a:lnTo>
                  <a:lnTo>
                    <a:pt x="1265" y="943"/>
                  </a:lnTo>
                  <a:lnTo>
                    <a:pt x="1269" y="940"/>
                  </a:lnTo>
                  <a:lnTo>
                    <a:pt x="1273" y="935"/>
                  </a:lnTo>
                  <a:lnTo>
                    <a:pt x="1280" y="929"/>
                  </a:lnTo>
                  <a:lnTo>
                    <a:pt x="1284" y="922"/>
                  </a:lnTo>
                  <a:lnTo>
                    <a:pt x="1291" y="918"/>
                  </a:lnTo>
                  <a:lnTo>
                    <a:pt x="1292" y="915"/>
                  </a:lnTo>
                  <a:lnTo>
                    <a:pt x="1294" y="913"/>
                  </a:lnTo>
                  <a:lnTo>
                    <a:pt x="1297" y="911"/>
                  </a:lnTo>
                  <a:lnTo>
                    <a:pt x="1299" y="910"/>
                  </a:lnTo>
                  <a:lnTo>
                    <a:pt x="1302" y="910"/>
                  </a:lnTo>
                  <a:lnTo>
                    <a:pt x="1305" y="910"/>
                  </a:lnTo>
                  <a:lnTo>
                    <a:pt x="1307" y="908"/>
                  </a:lnTo>
                  <a:lnTo>
                    <a:pt x="1310" y="908"/>
                  </a:lnTo>
                  <a:lnTo>
                    <a:pt x="1314" y="908"/>
                  </a:lnTo>
                  <a:lnTo>
                    <a:pt x="1319" y="908"/>
                  </a:lnTo>
                  <a:lnTo>
                    <a:pt x="1321" y="908"/>
                  </a:lnTo>
                  <a:lnTo>
                    <a:pt x="1324" y="908"/>
                  </a:lnTo>
                  <a:lnTo>
                    <a:pt x="1325" y="907"/>
                  </a:lnTo>
                  <a:lnTo>
                    <a:pt x="1327" y="905"/>
                  </a:lnTo>
                  <a:lnTo>
                    <a:pt x="1329" y="902"/>
                  </a:lnTo>
                  <a:lnTo>
                    <a:pt x="1329" y="900"/>
                  </a:lnTo>
                  <a:lnTo>
                    <a:pt x="1329" y="897"/>
                  </a:lnTo>
                  <a:lnTo>
                    <a:pt x="1329" y="894"/>
                  </a:lnTo>
                  <a:lnTo>
                    <a:pt x="1327" y="891"/>
                  </a:lnTo>
                  <a:lnTo>
                    <a:pt x="1325" y="888"/>
                  </a:lnTo>
                  <a:lnTo>
                    <a:pt x="1325" y="885"/>
                  </a:lnTo>
                  <a:lnTo>
                    <a:pt x="1322" y="881"/>
                  </a:lnTo>
                  <a:lnTo>
                    <a:pt x="1321" y="878"/>
                  </a:lnTo>
                  <a:lnTo>
                    <a:pt x="1319" y="877"/>
                  </a:lnTo>
                  <a:lnTo>
                    <a:pt x="1319" y="874"/>
                  </a:lnTo>
                  <a:lnTo>
                    <a:pt x="1346" y="806"/>
                  </a:lnTo>
                  <a:lnTo>
                    <a:pt x="1349" y="803"/>
                  </a:lnTo>
                  <a:lnTo>
                    <a:pt x="1354" y="799"/>
                  </a:lnTo>
                  <a:lnTo>
                    <a:pt x="1359" y="798"/>
                  </a:lnTo>
                  <a:lnTo>
                    <a:pt x="1365" y="795"/>
                  </a:lnTo>
                  <a:lnTo>
                    <a:pt x="1367" y="793"/>
                  </a:lnTo>
                  <a:lnTo>
                    <a:pt x="1370" y="792"/>
                  </a:lnTo>
                  <a:lnTo>
                    <a:pt x="1373" y="790"/>
                  </a:lnTo>
                  <a:lnTo>
                    <a:pt x="1373" y="787"/>
                  </a:lnTo>
                  <a:lnTo>
                    <a:pt x="1376" y="785"/>
                  </a:lnTo>
                  <a:lnTo>
                    <a:pt x="1376" y="782"/>
                  </a:lnTo>
                  <a:lnTo>
                    <a:pt x="1378" y="779"/>
                  </a:lnTo>
                  <a:lnTo>
                    <a:pt x="1379" y="776"/>
                  </a:lnTo>
                  <a:lnTo>
                    <a:pt x="1378" y="773"/>
                  </a:lnTo>
                  <a:lnTo>
                    <a:pt x="1378" y="771"/>
                  </a:lnTo>
                  <a:lnTo>
                    <a:pt x="1376" y="769"/>
                  </a:lnTo>
                  <a:lnTo>
                    <a:pt x="1374" y="766"/>
                  </a:lnTo>
                  <a:lnTo>
                    <a:pt x="1373" y="763"/>
                  </a:lnTo>
                  <a:lnTo>
                    <a:pt x="1368" y="762"/>
                  </a:lnTo>
                  <a:lnTo>
                    <a:pt x="1365" y="758"/>
                  </a:lnTo>
                  <a:lnTo>
                    <a:pt x="1360" y="757"/>
                  </a:lnTo>
                  <a:lnTo>
                    <a:pt x="1359" y="754"/>
                  </a:lnTo>
                  <a:lnTo>
                    <a:pt x="1356" y="751"/>
                  </a:lnTo>
                  <a:lnTo>
                    <a:pt x="1354" y="749"/>
                  </a:lnTo>
                  <a:lnTo>
                    <a:pt x="1352" y="746"/>
                  </a:lnTo>
                  <a:lnTo>
                    <a:pt x="1352" y="743"/>
                  </a:lnTo>
                  <a:lnTo>
                    <a:pt x="1351" y="739"/>
                  </a:lnTo>
                  <a:lnTo>
                    <a:pt x="1351" y="733"/>
                  </a:lnTo>
                  <a:lnTo>
                    <a:pt x="1349" y="728"/>
                  </a:lnTo>
                  <a:lnTo>
                    <a:pt x="1349" y="721"/>
                  </a:lnTo>
                  <a:lnTo>
                    <a:pt x="1348" y="716"/>
                  </a:lnTo>
                  <a:lnTo>
                    <a:pt x="1348" y="713"/>
                  </a:lnTo>
                  <a:lnTo>
                    <a:pt x="1344" y="710"/>
                  </a:lnTo>
                  <a:lnTo>
                    <a:pt x="1344" y="708"/>
                  </a:lnTo>
                  <a:lnTo>
                    <a:pt x="1343" y="705"/>
                  </a:lnTo>
                  <a:lnTo>
                    <a:pt x="1340" y="702"/>
                  </a:lnTo>
                  <a:lnTo>
                    <a:pt x="1337" y="698"/>
                  </a:lnTo>
                  <a:lnTo>
                    <a:pt x="1333" y="695"/>
                  </a:lnTo>
                  <a:lnTo>
                    <a:pt x="1330" y="694"/>
                  </a:lnTo>
                  <a:lnTo>
                    <a:pt x="1325" y="689"/>
                  </a:lnTo>
                  <a:lnTo>
                    <a:pt x="1318" y="684"/>
                  </a:lnTo>
                  <a:lnTo>
                    <a:pt x="1311" y="680"/>
                  </a:lnTo>
                  <a:lnTo>
                    <a:pt x="1307" y="675"/>
                  </a:lnTo>
                  <a:lnTo>
                    <a:pt x="1305" y="672"/>
                  </a:lnTo>
                  <a:lnTo>
                    <a:pt x="1302" y="667"/>
                  </a:lnTo>
                  <a:lnTo>
                    <a:pt x="1299" y="664"/>
                  </a:lnTo>
                  <a:lnTo>
                    <a:pt x="1297" y="661"/>
                  </a:lnTo>
                  <a:lnTo>
                    <a:pt x="1295" y="656"/>
                  </a:lnTo>
                  <a:lnTo>
                    <a:pt x="1294" y="654"/>
                  </a:lnTo>
                  <a:lnTo>
                    <a:pt x="1292" y="651"/>
                  </a:lnTo>
                  <a:lnTo>
                    <a:pt x="1292" y="648"/>
                  </a:lnTo>
                  <a:lnTo>
                    <a:pt x="1291" y="642"/>
                  </a:lnTo>
                  <a:lnTo>
                    <a:pt x="1289" y="637"/>
                  </a:lnTo>
                  <a:lnTo>
                    <a:pt x="1289" y="635"/>
                  </a:lnTo>
                  <a:lnTo>
                    <a:pt x="1288" y="634"/>
                  </a:lnTo>
                  <a:lnTo>
                    <a:pt x="1286" y="631"/>
                  </a:lnTo>
                  <a:lnTo>
                    <a:pt x="1284" y="629"/>
                  </a:lnTo>
                  <a:lnTo>
                    <a:pt x="1283" y="628"/>
                  </a:lnTo>
                  <a:lnTo>
                    <a:pt x="1280" y="626"/>
                  </a:lnTo>
                  <a:lnTo>
                    <a:pt x="1277" y="624"/>
                  </a:lnTo>
                  <a:lnTo>
                    <a:pt x="1273" y="623"/>
                  </a:lnTo>
                  <a:lnTo>
                    <a:pt x="1277" y="615"/>
                  </a:lnTo>
                  <a:lnTo>
                    <a:pt x="1278" y="609"/>
                  </a:lnTo>
                  <a:lnTo>
                    <a:pt x="1281" y="605"/>
                  </a:lnTo>
                  <a:lnTo>
                    <a:pt x="1281" y="602"/>
                  </a:lnTo>
                  <a:lnTo>
                    <a:pt x="1283" y="599"/>
                  </a:lnTo>
                  <a:lnTo>
                    <a:pt x="1283" y="596"/>
                  </a:lnTo>
                  <a:lnTo>
                    <a:pt x="1283" y="593"/>
                  </a:lnTo>
                  <a:lnTo>
                    <a:pt x="1284" y="590"/>
                  </a:lnTo>
                  <a:lnTo>
                    <a:pt x="1284" y="586"/>
                  </a:lnTo>
                  <a:lnTo>
                    <a:pt x="1286" y="583"/>
                  </a:lnTo>
                  <a:lnTo>
                    <a:pt x="1286" y="580"/>
                  </a:lnTo>
                  <a:lnTo>
                    <a:pt x="1286" y="575"/>
                  </a:lnTo>
                  <a:lnTo>
                    <a:pt x="1281" y="575"/>
                  </a:lnTo>
                  <a:lnTo>
                    <a:pt x="1278" y="572"/>
                  </a:lnTo>
                  <a:lnTo>
                    <a:pt x="1275" y="571"/>
                  </a:lnTo>
                  <a:lnTo>
                    <a:pt x="1270" y="569"/>
                  </a:lnTo>
                  <a:lnTo>
                    <a:pt x="1267" y="568"/>
                  </a:lnTo>
                  <a:lnTo>
                    <a:pt x="1262" y="569"/>
                  </a:lnTo>
                  <a:lnTo>
                    <a:pt x="1258" y="569"/>
                  </a:lnTo>
                  <a:lnTo>
                    <a:pt x="1256" y="572"/>
                  </a:lnTo>
                  <a:lnTo>
                    <a:pt x="1251" y="572"/>
                  </a:lnTo>
                  <a:lnTo>
                    <a:pt x="1250" y="575"/>
                  </a:lnTo>
                  <a:lnTo>
                    <a:pt x="1248" y="575"/>
                  </a:lnTo>
                  <a:lnTo>
                    <a:pt x="1246" y="577"/>
                  </a:lnTo>
                  <a:lnTo>
                    <a:pt x="1245" y="580"/>
                  </a:lnTo>
                  <a:lnTo>
                    <a:pt x="1245" y="582"/>
                  </a:lnTo>
                  <a:lnTo>
                    <a:pt x="1245" y="583"/>
                  </a:lnTo>
                  <a:lnTo>
                    <a:pt x="1246" y="585"/>
                  </a:lnTo>
                  <a:lnTo>
                    <a:pt x="1248" y="588"/>
                  </a:lnTo>
                  <a:lnTo>
                    <a:pt x="1251" y="591"/>
                  </a:lnTo>
                  <a:lnTo>
                    <a:pt x="1258" y="598"/>
                  </a:lnTo>
                  <a:lnTo>
                    <a:pt x="1264" y="602"/>
                  </a:lnTo>
                  <a:lnTo>
                    <a:pt x="1265" y="604"/>
                  </a:lnTo>
                  <a:lnTo>
                    <a:pt x="1265" y="605"/>
                  </a:lnTo>
                  <a:lnTo>
                    <a:pt x="1267" y="607"/>
                  </a:lnTo>
                  <a:lnTo>
                    <a:pt x="1267" y="609"/>
                  </a:lnTo>
                  <a:lnTo>
                    <a:pt x="1265" y="610"/>
                  </a:lnTo>
                  <a:lnTo>
                    <a:pt x="1264" y="612"/>
                  </a:lnTo>
                  <a:lnTo>
                    <a:pt x="1262" y="615"/>
                  </a:lnTo>
                  <a:lnTo>
                    <a:pt x="1261" y="618"/>
                  </a:lnTo>
                  <a:lnTo>
                    <a:pt x="1258" y="623"/>
                  </a:lnTo>
                  <a:lnTo>
                    <a:pt x="1256" y="626"/>
                  </a:lnTo>
                  <a:lnTo>
                    <a:pt x="1251" y="631"/>
                  </a:lnTo>
                  <a:lnTo>
                    <a:pt x="1245" y="637"/>
                  </a:lnTo>
                  <a:lnTo>
                    <a:pt x="1240" y="642"/>
                  </a:lnTo>
                  <a:lnTo>
                    <a:pt x="1234" y="645"/>
                  </a:lnTo>
                  <a:lnTo>
                    <a:pt x="1228" y="650"/>
                  </a:lnTo>
                  <a:lnTo>
                    <a:pt x="1223" y="654"/>
                  </a:lnTo>
                  <a:lnTo>
                    <a:pt x="1210" y="659"/>
                  </a:lnTo>
                  <a:lnTo>
                    <a:pt x="1199" y="667"/>
                  </a:lnTo>
                  <a:lnTo>
                    <a:pt x="1194" y="669"/>
                  </a:lnTo>
                  <a:lnTo>
                    <a:pt x="1190" y="673"/>
                  </a:lnTo>
                  <a:lnTo>
                    <a:pt x="1185" y="676"/>
                  </a:lnTo>
                  <a:lnTo>
                    <a:pt x="1182" y="681"/>
                  </a:lnTo>
                  <a:lnTo>
                    <a:pt x="1182" y="676"/>
                  </a:lnTo>
                  <a:lnTo>
                    <a:pt x="1182" y="672"/>
                  </a:lnTo>
                  <a:lnTo>
                    <a:pt x="1183" y="667"/>
                  </a:lnTo>
                  <a:lnTo>
                    <a:pt x="1186" y="662"/>
                  </a:lnTo>
                  <a:lnTo>
                    <a:pt x="1188" y="656"/>
                  </a:lnTo>
                  <a:lnTo>
                    <a:pt x="1191" y="650"/>
                  </a:lnTo>
                  <a:lnTo>
                    <a:pt x="1194" y="643"/>
                  </a:lnTo>
                  <a:lnTo>
                    <a:pt x="1198" y="637"/>
                  </a:lnTo>
                  <a:lnTo>
                    <a:pt x="1215" y="609"/>
                  </a:lnTo>
                  <a:lnTo>
                    <a:pt x="1237" y="577"/>
                  </a:lnTo>
                  <a:lnTo>
                    <a:pt x="1248" y="561"/>
                  </a:lnTo>
                  <a:lnTo>
                    <a:pt x="1258" y="544"/>
                  </a:lnTo>
                  <a:lnTo>
                    <a:pt x="1262" y="536"/>
                  </a:lnTo>
                  <a:lnTo>
                    <a:pt x="1267" y="528"/>
                  </a:lnTo>
                  <a:lnTo>
                    <a:pt x="1270" y="519"/>
                  </a:lnTo>
                  <a:lnTo>
                    <a:pt x="1277" y="511"/>
                  </a:lnTo>
                  <a:lnTo>
                    <a:pt x="1280" y="503"/>
                  </a:lnTo>
                  <a:lnTo>
                    <a:pt x="1283" y="493"/>
                  </a:lnTo>
                  <a:lnTo>
                    <a:pt x="1286" y="486"/>
                  </a:lnTo>
                  <a:lnTo>
                    <a:pt x="1289" y="476"/>
                  </a:lnTo>
                  <a:lnTo>
                    <a:pt x="1291" y="468"/>
                  </a:lnTo>
                  <a:lnTo>
                    <a:pt x="1292" y="459"/>
                  </a:lnTo>
                  <a:lnTo>
                    <a:pt x="1294" y="449"/>
                  </a:lnTo>
                  <a:lnTo>
                    <a:pt x="1294" y="441"/>
                  </a:lnTo>
                  <a:lnTo>
                    <a:pt x="1294" y="438"/>
                  </a:lnTo>
                  <a:lnTo>
                    <a:pt x="1292" y="435"/>
                  </a:lnTo>
                  <a:lnTo>
                    <a:pt x="1292" y="432"/>
                  </a:lnTo>
                  <a:lnTo>
                    <a:pt x="1291" y="429"/>
                  </a:lnTo>
                  <a:lnTo>
                    <a:pt x="1288" y="421"/>
                  </a:lnTo>
                  <a:lnTo>
                    <a:pt x="1284" y="413"/>
                  </a:lnTo>
                  <a:lnTo>
                    <a:pt x="1280" y="405"/>
                  </a:lnTo>
                  <a:lnTo>
                    <a:pt x="1273" y="396"/>
                  </a:lnTo>
                  <a:lnTo>
                    <a:pt x="1269" y="388"/>
                  </a:lnTo>
                  <a:lnTo>
                    <a:pt x="1261" y="381"/>
                  </a:lnTo>
                  <a:lnTo>
                    <a:pt x="1254" y="374"/>
                  </a:lnTo>
                  <a:lnTo>
                    <a:pt x="1248" y="367"/>
                  </a:lnTo>
                  <a:lnTo>
                    <a:pt x="1240" y="363"/>
                  </a:lnTo>
                  <a:lnTo>
                    <a:pt x="1232" y="356"/>
                  </a:lnTo>
                  <a:lnTo>
                    <a:pt x="1229" y="355"/>
                  </a:lnTo>
                  <a:lnTo>
                    <a:pt x="1224" y="353"/>
                  </a:lnTo>
                  <a:lnTo>
                    <a:pt x="1223" y="350"/>
                  </a:lnTo>
                  <a:lnTo>
                    <a:pt x="1218" y="350"/>
                  </a:lnTo>
                  <a:lnTo>
                    <a:pt x="1215" y="347"/>
                  </a:lnTo>
                  <a:lnTo>
                    <a:pt x="1212" y="347"/>
                  </a:lnTo>
                  <a:lnTo>
                    <a:pt x="1209" y="347"/>
                  </a:lnTo>
                  <a:lnTo>
                    <a:pt x="1205" y="347"/>
                  </a:lnTo>
                  <a:lnTo>
                    <a:pt x="1196" y="347"/>
                  </a:lnTo>
                  <a:lnTo>
                    <a:pt x="1183" y="347"/>
                  </a:lnTo>
                  <a:lnTo>
                    <a:pt x="1177" y="348"/>
                  </a:lnTo>
                  <a:lnTo>
                    <a:pt x="1171" y="350"/>
                  </a:lnTo>
                  <a:lnTo>
                    <a:pt x="1167" y="350"/>
                  </a:lnTo>
                  <a:lnTo>
                    <a:pt x="1166" y="351"/>
                  </a:lnTo>
                  <a:lnTo>
                    <a:pt x="1163" y="353"/>
                  </a:lnTo>
                  <a:lnTo>
                    <a:pt x="1161" y="355"/>
                  </a:lnTo>
                  <a:lnTo>
                    <a:pt x="1160" y="361"/>
                  </a:lnTo>
                  <a:lnTo>
                    <a:pt x="1158" y="366"/>
                  </a:lnTo>
                  <a:lnTo>
                    <a:pt x="1158" y="369"/>
                  </a:lnTo>
                  <a:lnTo>
                    <a:pt x="1156" y="374"/>
                  </a:lnTo>
                  <a:lnTo>
                    <a:pt x="1153" y="375"/>
                  </a:lnTo>
                  <a:lnTo>
                    <a:pt x="1152" y="378"/>
                  </a:lnTo>
                  <a:lnTo>
                    <a:pt x="1150" y="380"/>
                  </a:lnTo>
                  <a:lnTo>
                    <a:pt x="1147" y="380"/>
                  </a:lnTo>
                  <a:lnTo>
                    <a:pt x="1145" y="381"/>
                  </a:lnTo>
                  <a:lnTo>
                    <a:pt x="1142" y="381"/>
                  </a:lnTo>
                  <a:lnTo>
                    <a:pt x="1141" y="381"/>
                  </a:lnTo>
                  <a:lnTo>
                    <a:pt x="1137" y="381"/>
                  </a:lnTo>
                  <a:lnTo>
                    <a:pt x="1133" y="381"/>
                  </a:lnTo>
                  <a:lnTo>
                    <a:pt x="1130" y="381"/>
                  </a:lnTo>
                  <a:lnTo>
                    <a:pt x="1128" y="381"/>
                  </a:lnTo>
                  <a:lnTo>
                    <a:pt x="1128" y="380"/>
                  </a:lnTo>
                  <a:lnTo>
                    <a:pt x="1130" y="377"/>
                  </a:lnTo>
                  <a:lnTo>
                    <a:pt x="1131" y="374"/>
                  </a:lnTo>
                  <a:lnTo>
                    <a:pt x="1134" y="367"/>
                  </a:lnTo>
                  <a:lnTo>
                    <a:pt x="1136" y="363"/>
                  </a:lnTo>
                  <a:lnTo>
                    <a:pt x="1137" y="358"/>
                  </a:lnTo>
                  <a:lnTo>
                    <a:pt x="1141" y="353"/>
                  </a:lnTo>
                  <a:lnTo>
                    <a:pt x="1141" y="350"/>
                  </a:lnTo>
                  <a:lnTo>
                    <a:pt x="1141" y="348"/>
                  </a:lnTo>
                  <a:lnTo>
                    <a:pt x="1141" y="347"/>
                  </a:lnTo>
                  <a:lnTo>
                    <a:pt x="1139" y="344"/>
                  </a:lnTo>
                  <a:lnTo>
                    <a:pt x="1137" y="342"/>
                  </a:lnTo>
                  <a:lnTo>
                    <a:pt x="1136" y="340"/>
                  </a:lnTo>
                  <a:lnTo>
                    <a:pt x="1134" y="339"/>
                  </a:lnTo>
                  <a:lnTo>
                    <a:pt x="1131" y="337"/>
                  </a:lnTo>
                  <a:lnTo>
                    <a:pt x="1128" y="336"/>
                  </a:lnTo>
                  <a:lnTo>
                    <a:pt x="1123" y="334"/>
                  </a:lnTo>
                  <a:lnTo>
                    <a:pt x="1120" y="334"/>
                  </a:lnTo>
                  <a:lnTo>
                    <a:pt x="1114" y="334"/>
                  </a:lnTo>
                  <a:lnTo>
                    <a:pt x="1107" y="334"/>
                  </a:lnTo>
                  <a:lnTo>
                    <a:pt x="1100" y="334"/>
                  </a:lnTo>
                  <a:lnTo>
                    <a:pt x="1092" y="336"/>
                  </a:lnTo>
                  <a:lnTo>
                    <a:pt x="1082" y="337"/>
                  </a:lnTo>
                  <a:lnTo>
                    <a:pt x="1082" y="336"/>
                  </a:lnTo>
                  <a:lnTo>
                    <a:pt x="1081" y="336"/>
                  </a:lnTo>
                  <a:lnTo>
                    <a:pt x="1081" y="334"/>
                  </a:lnTo>
                  <a:lnTo>
                    <a:pt x="1082" y="333"/>
                  </a:lnTo>
                  <a:lnTo>
                    <a:pt x="1084" y="333"/>
                  </a:lnTo>
                  <a:lnTo>
                    <a:pt x="1089" y="329"/>
                  </a:lnTo>
                  <a:lnTo>
                    <a:pt x="1096" y="325"/>
                  </a:lnTo>
                  <a:lnTo>
                    <a:pt x="1100" y="323"/>
                  </a:lnTo>
                  <a:lnTo>
                    <a:pt x="1101" y="320"/>
                  </a:lnTo>
                  <a:lnTo>
                    <a:pt x="1103" y="320"/>
                  </a:lnTo>
                  <a:lnTo>
                    <a:pt x="1103" y="318"/>
                  </a:lnTo>
                  <a:lnTo>
                    <a:pt x="1104" y="317"/>
                  </a:lnTo>
                  <a:lnTo>
                    <a:pt x="1104" y="314"/>
                  </a:lnTo>
                  <a:lnTo>
                    <a:pt x="1104" y="312"/>
                  </a:lnTo>
                  <a:lnTo>
                    <a:pt x="1104" y="309"/>
                  </a:lnTo>
                  <a:lnTo>
                    <a:pt x="1103" y="307"/>
                  </a:lnTo>
                  <a:lnTo>
                    <a:pt x="1103" y="306"/>
                  </a:lnTo>
                  <a:lnTo>
                    <a:pt x="1100" y="303"/>
                  </a:lnTo>
                  <a:lnTo>
                    <a:pt x="1098" y="301"/>
                  </a:lnTo>
                  <a:lnTo>
                    <a:pt x="1095" y="298"/>
                  </a:lnTo>
                  <a:lnTo>
                    <a:pt x="1092" y="296"/>
                  </a:lnTo>
                  <a:lnTo>
                    <a:pt x="1087" y="295"/>
                  </a:lnTo>
                  <a:lnTo>
                    <a:pt x="1082" y="293"/>
                  </a:lnTo>
                  <a:lnTo>
                    <a:pt x="1079" y="292"/>
                  </a:lnTo>
                  <a:lnTo>
                    <a:pt x="1074" y="292"/>
                  </a:lnTo>
                  <a:lnTo>
                    <a:pt x="1071" y="292"/>
                  </a:lnTo>
                  <a:lnTo>
                    <a:pt x="1068" y="292"/>
                  </a:lnTo>
                  <a:lnTo>
                    <a:pt x="1066" y="292"/>
                  </a:lnTo>
                  <a:lnTo>
                    <a:pt x="1063" y="292"/>
                  </a:lnTo>
                  <a:lnTo>
                    <a:pt x="1062" y="292"/>
                  </a:lnTo>
                  <a:lnTo>
                    <a:pt x="1058" y="293"/>
                  </a:lnTo>
                  <a:lnTo>
                    <a:pt x="1055" y="295"/>
                  </a:lnTo>
                  <a:lnTo>
                    <a:pt x="1055" y="296"/>
                  </a:lnTo>
                  <a:lnTo>
                    <a:pt x="1054" y="299"/>
                  </a:lnTo>
                  <a:lnTo>
                    <a:pt x="1052" y="301"/>
                  </a:lnTo>
                  <a:lnTo>
                    <a:pt x="1051" y="304"/>
                  </a:lnTo>
                  <a:lnTo>
                    <a:pt x="1047" y="307"/>
                  </a:lnTo>
                  <a:lnTo>
                    <a:pt x="1046" y="312"/>
                  </a:lnTo>
                  <a:lnTo>
                    <a:pt x="1043" y="318"/>
                  </a:lnTo>
                  <a:lnTo>
                    <a:pt x="1038" y="326"/>
                  </a:lnTo>
                  <a:lnTo>
                    <a:pt x="1033" y="334"/>
                  </a:lnTo>
                  <a:lnTo>
                    <a:pt x="1030" y="342"/>
                  </a:lnTo>
                  <a:lnTo>
                    <a:pt x="1025" y="350"/>
                  </a:lnTo>
                  <a:lnTo>
                    <a:pt x="1021" y="355"/>
                  </a:lnTo>
                  <a:lnTo>
                    <a:pt x="1019" y="358"/>
                  </a:lnTo>
                  <a:lnTo>
                    <a:pt x="1017" y="359"/>
                  </a:lnTo>
                  <a:lnTo>
                    <a:pt x="1017" y="361"/>
                  </a:lnTo>
                  <a:lnTo>
                    <a:pt x="1017" y="363"/>
                  </a:lnTo>
                  <a:lnTo>
                    <a:pt x="1017" y="366"/>
                  </a:lnTo>
                  <a:lnTo>
                    <a:pt x="1017" y="369"/>
                  </a:lnTo>
                  <a:lnTo>
                    <a:pt x="1021" y="377"/>
                  </a:lnTo>
                  <a:lnTo>
                    <a:pt x="1024" y="383"/>
                  </a:lnTo>
                  <a:lnTo>
                    <a:pt x="1025" y="388"/>
                  </a:lnTo>
                  <a:lnTo>
                    <a:pt x="1025" y="391"/>
                  </a:lnTo>
                  <a:lnTo>
                    <a:pt x="1025" y="394"/>
                  </a:lnTo>
                  <a:lnTo>
                    <a:pt x="1025" y="396"/>
                  </a:lnTo>
                  <a:lnTo>
                    <a:pt x="1024" y="399"/>
                  </a:lnTo>
                  <a:lnTo>
                    <a:pt x="1024" y="400"/>
                  </a:lnTo>
                  <a:lnTo>
                    <a:pt x="1022" y="402"/>
                  </a:lnTo>
                  <a:lnTo>
                    <a:pt x="1021" y="404"/>
                  </a:lnTo>
                  <a:lnTo>
                    <a:pt x="1019" y="405"/>
                  </a:lnTo>
                  <a:lnTo>
                    <a:pt x="1016" y="407"/>
                  </a:lnTo>
                  <a:lnTo>
                    <a:pt x="1014" y="408"/>
                  </a:lnTo>
                  <a:lnTo>
                    <a:pt x="1011" y="410"/>
                  </a:lnTo>
                  <a:lnTo>
                    <a:pt x="1008" y="411"/>
                  </a:lnTo>
                  <a:lnTo>
                    <a:pt x="1005" y="411"/>
                  </a:lnTo>
                  <a:lnTo>
                    <a:pt x="1000" y="410"/>
                  </a:lnTo>
                  <a:lnTo>
                    <a:pt x="997" y="408"/>
                  </a:lnTo>
                  <a:lnTo>
                    <a:pt x="992" y="408"/>
                  </a:lnTo>
                  <a:lnTo>
                    <a:pt x="989" y="408"/>
                  </a:lnTo>
                  <a:lnTo>
                    <a:pt x="987" y="408"/>
                  </a:lnTo>
                  <a:lnTo>
                    <a:pt x="984" y="408"/>
                  </a:lnTo>
                  <a:lnTo>
                    <a:pt x="984" y="410"/>
                  </a:lnTo>
                  <a:lnTo>
                    <a:pt x="983" y="411"/>
                  </a:lnTo>
                  <a:lnTo>
                    <a:pt x="981" y="413"/>
                  </a:lnTo>
                  <a:lnTo>
                    <a:pt x="981" y="415"/>
                  </a:lnTo>
                  <a:lnTo>
                    <a:pt x="983" y="416"/>
                  </a:lnTo>
                  <a:lnTo>
                    <a:pt x="983" y="418"/>
                  </a:lnTo>
                  <a:lnTo>
                    <a:pt x="984" y="419"/>
                  </a:lnTo>
                  <a:lnTo>
                    <a:pt x="984" y="421"/>
                  </a:lnTo>
                  <a:lnTo>
                    <a:pt x="987" y="424"/>
                  </a:lnTo>
                  <a:lnTo>
                    <a:pt x="989" y="427"/>
                  </a:lnTo>
                  <a:lnTo>
                    <a:pt x="995" y="434"/>
                  </a:lnTo>
                  <a:lnTo>
                    <a:pt x="1003" y="441"/>
                  </a:lnTo>
                  <a:lnTo>
                    <a:pt x="997" y="440"/>
                  </a:lnTo>
                  <a:lnTo>
                    <a:pt x="992" y="437"/>
                  </a:lnTo>
                  <a:lnTo>
                    <a:pt x="987" y="437"/>
                  </a:lnTo>
                  <a:lnTo>
                    <a:pt x="984" y="435"/>
                  </a:lnTo>
                  <a:lnTo>
                    <a:pt x="979" y="435"/>
                  </a:lnTo>
                  <a:lnTo>
                    <a:pt x="975" y="437"/>
                  </a:lnTo>
                  <a:lnTo>
                    <a:pt x="972" y="441"/>
                  </a:lnTo>
                  <a:lnTo>
                    <a:pt x="962" y="451"/>
                  </a:lnTo>
                  <a:lnTo>
                    <a:pt x="956" y="456"/>
                  </a:lnTo>
                  <a:lnTo>
                    <a:pt x="951" y="460"/>
                  </a:lnTo>
                  <a:lnTo>
                    <a:pt x="948" y="462"/>
                  </a:lnTo>
                  <a:lnTo>
                    <a:pt x="946" y="463"/>
                  </a:lnTo>
                  <a:lnTo>
                    <a:pt x="943" y="463"/>
                  </a:lnTo>
                  <a:lnTo>
                    <a:pt x="942" y="463"/>
                  </a:lnTo>
                  <a:lnTo>
                    <a:pt x="940" y="463"/>
                  </a:lnTo>
                  <a:lnTo>
                    <a:pt x="940" y="462"/>
                  </a:lnTo>
                  <a:lnTo>
                    <a:pt x="938" y="462"/>
                  </a:lnTo>
                  <a:lnTo>
                    <a:pt x="938" y="460"/>
                  </a:lnTo>
                  <a:lnTo>
                    <a:pt x="940" y="459"/>
                  </a:lnTo>
                  <a:lnTo>
                    <a:pt x="942" y="454"/>
                  </a:lnTo>
                  <a:lnTo>
                    <a:pt x="943" y="448"/>
                  </a:lnTo>
                  <a:lnTo>
                    <a:pt x="946" y="445"/>
                  </a:lnTo>
                  <a:lnTo>
                    <a:pt x="946" y="441"/>
                  </a:lnTo>
                  <a:lnTo>
                    <a:pt x="946" y="440"/>
                  </a:lnTo>
                  <a:lnTo>
                    <a:pt x="946" y="437"/>
                  </a:lnTo>
                  <a:lnTo>
                    <a:pt x="946" y="435"/>
                  </a:lnTo>
                  <a:lnTo>
                    <a:pt x="946" y="434"/>
                  </a:lnTo>
                  <a:lnTo>
                    <a:pt x="945" y="434"/>
                  </a:lnTo>
                  <a:lnTo>
                    <a:pt x="943" y="432"/>
                  </a:lnTo>
                  <a:lnTo>
                    <a:pt x="942" y="432"/>
                  </a:lnTo>
                  <a:lnTo>
                    <a:pt x="940" y="432"/>
                  </a:lnTo>
                  <a:lnTo>
                    <a:pt x="935" y="437"/>
                  </a:lnTo>
                  <a:lnTo>
                    <a:pt x="931" y="440"/>
                  </a:lnTo>
                  <a:lnTo>
                    <a:pt x="927" y="441"/>
                  </a:lnTo>
                  <a:lnTo>
                    <a:pt x="923" y="445"/>
                  </a:lnTo>
                  <a:lnTo>
                    <a:pt x="919" y="445"/>
                  </a:lnTo>
                  <a:lnTo>
                    <a:pt x="915" y="448"/>
                  </a:lnTo>
                  <a:lnTo>
                    <a:pt x="913" y="448"/>
                  </a:lnTo>
                  <a:lnTo>
                    <a:pt x="910" y="449"/>
                  </a:lnTo>
                  <a:lnTo>
                    <a:pt x="897" y="451"/>
                  </a:lnTo>
                  <a:lnTo>
                    <a:pt x="886" y="452"/>
                  </a:lnTo>
                  <a:lnTo>
                    <a:pt x="880" y="454"/>
                  </a:lnTo>
                  <a:lnTo>
                    <a:pt x="875" y="454"/>
                  </a:lnTo>
                  <a:lnTo>
                    <a:pt x="872" y="454"/>
                  </a:lnTo>
                  <a:lnTo>
                    <a:pt x="870" y="456"/>
                  </a:lnTo>
                  <a:lnTo>
                    <a:pt x="869" y="456"/>
                  </a:lnTo>
                  <a:lnTo>
                    <a:pt x="869" y="457"/>
                  </a:lnTo>
                  <a:lnTo>
                    <a:pt x="869" y="459"/>
                  </a:lnTo>
                  <a:lnTo>
                    <a:pt x="870" y="460"/>
                  </a:lnTo>
                  <a:lnTo>
                    <a:pt x="872" y="462"/>
                  </a:lnTo>
                  <a:lnTo>
                    <a:pt x="875" y="467"/>
                  </a:lnTo>
                  <a:lnTo>
                    <a:pt x="878" y="471"/>
                  </a:lnTo>
                  <a:lnTo>
                    <a:pt x="880" y="473"/>
                  </a:lnTo>
                  <a:lnTo>
                    <a:pt x="880" y="475"/>
                  </a:lnTo>
                  <a:lnTo>
                    <a:pt x="880" y="476"/>
                  </a:lnTo>
                  <a:lnTo>
                    <a:pt x="878" y="478"/>
                  </a:lnTo>
                  <a:lnTo>
                    <a:pt x="877" y="478"/>
                  </a:lnTo>
                  <a:lnTo>
                    <a:pt x="877" y="479"/>
                  </a:lnTo>
                  <a:lnTo>
                    <a:pt x="874" y="481"/>
                  </a:lnTo>
                  <a:lnTo>
                    <a:pt x="872" y="482"/>
                  </a:lnTo>
                  <a:lnTo>
                    <a:pt x="869" y="482"/>
                  </a:lnTo>
                  <a:lnTo>
                    <a:pt x="866" y="484"/>
                  </a:lnTo>
                  <a:lnTo>
                    <a:pt x="856" y="486"/>
                  </a:lnTo>
                  <a:lnTo>
                    <a:pt x="848" y="489"/>
                  </a:lnTo>
                  <a:lnTo>
                    <a:pt x="839" y="490"/>
                  </a:lnTo>
                  <a:lnTo>
                    <a:pt x="829" y="495"/>
                  </a:lnTo>
                  <a:lnTo>
                    <a:pt x="825" y="495"/>
                  </a:lnTo>
                  <a:lnTo>
                    <a:pt x="820" y="498"/>
                  </a:lnTo>
                  <a:lnTo>
                    <a:pt x="815" y="501"/>
                  </a:lnTo>
                  <a:lnTo>
                    <a:pt x="812" y="503"/>
                  </a:lnTo>
                  <a:lnTo>
                    <a:pt x="806" y="508"/>
                  </a:lnTo>
                  <a:lnTo>
                    <a:pt x="799" y="512"/>
                  </a:lnTo>
                  <a:lnTo>
                    <a:pt x="795" y="516"/>
                  </a:lnTo>
                  <a:lnTo>
                    <a:pt x="790" y="522"/>
                  </a:lnTo>
                  <a:lnTo>
                    <a:pt x="779" y="528"/>
                  </a:lnTo>
                  <a:lnTo>
                    <a:pt x="771" y="538"/>
                  </a:lnTo>
                  <a:lnTo>
                    <a:pt x="765" y="547"/>
                  </a:lnTo>
                  <a:lnTo>
                    <a:pt x="757" y="557"/>
                  </a:lnTo>
                  <a:lnTo>
                    <a:pt x="750" y="564"/>
                  </a:lnTo>
                  <a:lnTo>
                    <a:pt x="744" y="575"/>
                  </a:lnTo>
                  <a:lnTo>
                    <a:pt x="742" y="577"/>
                  </a:lnTo>
                  <a:lnTo>
                    <a:pt x="741" y="580"/>
                  </a:lnTo>
                  <a:lnTo>
                    <a:pt x="741" y="582"/>
                  </a:lnTo>
                  <a:lnTo>
                    <a:pt x="739" y="585"/>
                  </a:lnTo>
                  <a:lnTo>
                    <a:pt x="741" y="590"/>
                  </a:lnTo>
                  <a:lnTo>
                    <a:pt x="741" y="593"/>
                  </a:lnTo>
                  <a:lnTo>
                    <a:pt x="741" y="596"/>
                  </a:lnTo>
                  <a:lnTo>
                    <a:pt x="742" y="601"/>
                  </a:lnTo>
                  <a:lnTo>
                    <a:pt x="746" y="609"/>
                  </a:lnTo>
                  <a:lnTo>
                    <a:pt x="749" y="618"/>
                  </a:lnTo>
                  <a:lnTo>
                    <a:pt x="750" y="626"/>
                  </a:lnTo>
                  <a:lnTo>
                    <a:pt x="754" y="634"/>
                  </a:lnTo>
                  <a:lnTo>
                    <a:pt x="757" y="642"/>
                  </a:lnTo>
                  <a:lnTo>
                    <a:pt x="758" y="646"/>
                  </a:lnTo>
                  <a:lnTo>
                    <a:pt x="758" y="648"/>
                  </a:lnTo>
                  <a:lnTo>
                    <a:pt x="758" y="651"/>
                  </a:lnTo>
                  <a:lnTo>
                    <a:pt x="758" y="653"/>
                  </a:lnTo>
                  <a:lnTo>
                    <a:pt x="758" y="654"/>
                  </a:lnTo>
                  <a:lnTo>
                    <a:pt x="757" y="654"/>
                  </a:lnTo>
                  <a:lnTo>
                    <a:pt x="754" y="654"/>
                  </a:lnTo>
                  <a:lnTo>
                    <a:pt x="752" y="653"/>
                  </a:lnTo>
                  <a:lnTo>
                    <a:pt x="749" y="651"/>
                  </a:lnTo>
                  <a:lnTo>
                    <a:pt x="746" y="648"/>
                  </a:lnTo>
                  <a:lnTo>
                    <a:pt x="741" y="645"/>
                  </a:lnTo>
                  <a:lnTo>
                    <a:pt x="736" y="642"/>
                  </a:lnTo>
                  <a:lnTo>
                    <a:pt x="725" y="643"/>
                  </a:lnTo>
                  <a:lnTo>
                    <a:pt x="717" y="645"/>
                  </a:lnTo>
                  <a:lnTo>
                    <a:pt x="709" y="646"/>
                  </a:lnTo>
                  <a:lnTo>
                    <a:pt x="701" y="646"/>
                  </a:lnTo>
                  <a:lnTo>
                    <a:pt x="687" y="648"/>
                  </a:lnTo>
                  <a:lnTo>
                    <a:pt x="676" y="648"/>
                  </a:lnTo>
                  <a:lnTo>
                    <a:pt x="663" y="648"/>
                  </a:lnTo>
                  <a:lnTo>
                    <a:pt x="654" y="648"/>
                  </a:lnTo>
                  <a:lnTo>
                    <a:pt x="643" y="648"/>
                  </a:lnTo>
                  <a:lnTo>
                    <a:pt x="630" y="646"/>
                  </a:lnTo>
                  <a:lnTo>
                    <a:pt x="622" y="648"/>
                  </a:lnTo>
                  <a:lnTo>
                    <a:pt x="616" y="648"/>
                  </a:lnTo>
                  <a:lnTo>
                    <a:pt x="610" y="648"/>
                  </a:lnTo>
                  <a:lnTo>
                    <a:pt x="603" y="651"/>
                  </a:lnTo>
                  <a:lnTo>
                    <a:pt x="600" y="653"/>
                  </a:lnTo>
                  <a:lnTo>
                    <a:pt x="596" y="656"/>
                  </a:lnTo>
                  <a:lnTo>
                    <a:pt x="594" y="656"/>
                  </a:lnTo>
                  <a:lnTo>
                    <a:pt x="592" y="659"/>
                  </a:lnTo>
                  <a:lnTo>
                    <a:pt x="591" y="662"/>
                  </a:lnTo>
                  <a:lnTo>
                    <a:pt x="589" y="664"/>
                  </a:lnTo>
                  <a:lnTo>
                    <a:pt x="589" y="665"/>
                  </a:lnTo>
                  <a:lnTo>
                    <a:pt x="589" y="667"/>
                  </a:lnTo>
                  <a:lnTo>
                    <a:pt x="589" y="670"/>
                  </a:lnTo>
                  <a:lnTo>
                    <a:pt x="589" y="675"/>
                  </a:lnTo>
                  <a:lnTo>
                    <a:pt x="589" y="680"/>
                  </a:lnTo>
                  <a:lnTo>
                    <a:pt x="592" y="686"/>
                  </a:lnTo>
                  <a:lnTo>
                    <a:pt x="594" y="692"/>
                  </a:lnTo>
                  <a:lnTo>
                    <a:pt x="597" y="700"/>
                  </a:lnTo>
                  <a:lnTo>
                    <a:pt x="602" y="708"/>
                  </a:lnTo>
                  <a:lnTo>
                    <a:pt x="602" y="710"/>
                  </a:lnTo>
                  <a:lnTo>
                    <a:pt x="602" y="713"/>
                  </a:lnTo>
                  <a:lnTo>
                    <a:pt x="602" y="716"/>
                  </a:lnTo>
                  <a:lnTo>
                    <a:pt x="602" y="719"/>
                  </a:lnTo>
                  <a:lnTo>
                    <a:pt x="599" y="728"/>
                  </a:lnTo>
                  <a:lnTo>
                    <a:pt x="597" y="736"/>
                  </a:lnTo>
                  <a:lnTo>
                    <a:pt x="597" y="741"/>
                  </a:lnTo>
                  <a:lnTo>
                    <a:pt x="597" y="744"/>
                  </a:lnTo>
                  <a:lnTo>
                    <a:pt x="597" y="749"/>
                  </a:lnTo>
                  <a:lnTo>
                    <a:pt x="599" y="754"/>
                  </a:lnTo>
                  <a:lnTo>
                    <a:pt x="600" y="754"/>
                  </a:lnTo>
                  <a:lnTo>
                    <a:pt x="602" y="757"/>
                  </a:lnTo>
                  <a:lnTo>
                    <a:pt x="602" y="758"/>
                  </a:lnTo>
                  <a:lnTo>
                    <a:pt x="605" y="760"/>
                  </a:lnTo>
                  <a:lnTo>
                    <a:pt x="608" y="762"/>
                  </a:lnTo>
                  <a:lnTo>
                    <a:pt x="610" y="763"/>
                  </a:lnTo>
                  <a:lnTo>
                    <a:pt x="613" y="765"/>
                  </a:lnTo>
                  <a:lnTo>
                    <a:pt x="616" y="766"/>
                  </a:lnTo>
                  <a:lnTo>
                    <a:pt x="618" y="766"/>
                  </a:lnTo>
                  <a:lnTo>
                    <a:pt x="618" y="765"/>
                  </a:lnTo>
                  <a:lnTo>
                    <a:pt x="619" y="765"/>
                  </a:lnTo>
                  <a:lnTo>
                    <a:pt x="621" y="766"/>
                  </a:lnTo>
                  <a:lnTo>
                    <a:pt x="622" y="766"/>
                  </a:lnTo>
                  <a:lnTo>
                    <a:pt x="622" y="769"/>
                  </a:lnTo>
                  <a:lnTo>
                    <a:pt x="626" y="774"/>
                  </a:lnTo>
                  <a:lnTo>
                    <a:pt x="629" y="782"/>
                  </a:lnTo>
                  <a:lnTo>
                    <a:pt x="629" y="784"/>
                  </a:lnTo>
                  <a:lnTo>
                    <a:pt x="630" y="788"/>
                  </a:lnTo>
                  <a:lnTo>
                    <a:pt x="630" y="792"/>
                  </a:lnTo>
                  <a:lnTo>
                    <a:pt x="632" y="795"/>
                  </a:lnTo>
                  <a:lnTo>
                    <a:pt x="633" y="795"/>
                  </a:lnTo>
                  <a:lnTo>
                    <a:pt x="635" y="796"/>
                  </a:lnTo>
                  <a:lnTo>
                    <a:pt x="637" y="796"/>
                  </a:lnTo>
                  <a:lnTo>
                    <a:pt x="638" y="796"/>
                  </a:lnTo>
                  <a:lnTo>
                    <a:pt x="638" y="795"/>
                  </a:lnTo>
                  <a:lnTo>
                    <a:pt x="641" y="795"/>
                  </a:lnTo>
                  <a:lnTo>
                    <a:pt x="646" y="803"/>
                  </a:lnTo>
                  <a:lnTo>
                    <a:pt x="651" y="810"/>
                  </a:lnTo>
                  <a:lnTo>
                    <a:pt x="652" y="812"/>
                  </a:lnTo>
                  <a:lnTo>
                    <a:pt x="654" y="817"/>
                  </a:lnTo>
                  <a:lnTo>
                    <a:pt x="656" y="820"/>
                  </a:lnTo>
                  <a:lnTo>
                    <a:pt x="656" y="823"/>
                  </a:lnTo>
                  <a:lnTo>
                    <a:pt x="656" y="825"/>
                  </a:lnTo>
                  <a:lnTo>
                    <a:pt x="656" y="829"/>
                  </a:lnTo>
                  <a:lnTo>
                    <a:pt x="654" y="833"/>
                  </a:lnTo>
                  <a:lnTo>
                    <a:pt x="652" y="836"/>
                  </a:lnTo>
                  <a:lnTo>
                    <a:pt x="649" y="840"/>
                  </a:lnTo>
                  <a:lnTo>
                    <a:pt x="646" y="845"/>
                  </a:lnTo>
                  <a:lnTo>
                    <a:pt x="643" y="848"/>
                  </a:lnTo>
                  <a:lnTo>
                    <a:pt x="638" y="853"/>
                  </a:lnTo>
                  <a:lnTo>
                    <a:pt x="641" y="863"/>
                  </a:lnTo>
                  <a:lnTo>
                    <a:pt x="648" y="878"/>
                  </a:lnTo>
                  <a:lnTo>
                    <a:pt x="651" y="889"/>
                  </a:lnTo>
                  <a:lnTo>
                    <a:pt x="654" y="899"/>
                  </a:lnTo>
                  <a:lnTo>
                    <a:pt x="654" y="904"/>
                  </a:lnTo>
                  <a:lnTo>
                    <a:pt x="654" y="907"/>
                  </a:lnTo>
                  <a:lnTo>
                    <a:pt x="654" y="911"/>
                  </a:lnTo>
                  <a:lnTo>
                    <a:pt x="654" y="915"/>
                  </a:lnTo>
                  <a:lnTo>
                    <a:pt x="649" y="921"/>
                  </a:lnTo>
                  <a:lnTo>
                    <a:pt x="646" y="927"/>
                  </a:lnTo>
                  <a:lnTo>
                    <a:pt x="643" y="932"/>
                  </a:lnTo>
                  <a:lnTo>
                    <a:pt x="638" y="937"/>
                  </a:lnTo>
                  <a:lnTo>
                    <a:pt x="637" y="940"/>
                  </a:lnTo>
                  <a:lnTo>
                    <a:pt x="635" y="941"/>
                  </a:lnTo>
                  <a:lnTo>
                    <a:pt x="633" y="943"/>
                  </a:lnTo>
                  <a:lnTo>
                    <a:pt x="630" y="943"/>
                  </a:lnTo>
                  <a:lnTo>
                    <a:pt x="629" y="941"/>
                  </a:lnTo>
                  <a:lnTo>
                    <a:pt x="629" y="940"/>
                  </a:lnTo>
                  <a:lnTo>
                    <a:pt x="627" y="938"/>
                  </a:lnTo>
                  <a:lnTo>
                    <a:pt x="626" y="935"/>
                  </a:lnTo>
                  <a:lnTo>
                    <a:pt x="622" y="930"/>
                  </a:lnTo>
                  <a:lnTo>
                    <a:pt x="629" y="919"/>
                  </a:lnTo>
                  <a:lnTo>
                    <a:pt x="632" y="908"/>
                  </a:lnTo>
                  <a:lnTo>
                    <a:pt x="635" y="899"/>
                  </a:lnTo>
                  <a:lnTo>
                    <a:pt x="637" y="891"/>
                  </a:lnTo>
                  <a:lnTo>
                    <a:pt x="637" y="885"/>
                  </a:lnTo>
                  <a:lnTo>
                    <a:pt x="637" y="878"/>
                  </a:lnTo>
                  <a:lnTo>
                    <a:pt x="637" y="877"/>
                  </a:lnTo>
                  <a:lnTo>
                    <a:pt x="637" y="875"/>
                  </a:lnTo>
                  <a:lnTo>
                    <a:pt x="635" y="874"/>
                  </a:lnTo>
                  <a:lnTo>
                    <a:pt x="633" y="874"/>
                  </a:lnTo>
                  <a:lnTo>
                    <a:pt x="632" y="874"/>
                  </a:lnTo>
                  <a:lnTo>
                    <a:pt x="630" y="874"/>
                  </a:lnTo>
                  <a:lnTo>
                    <a:pt x="629" y="874"/>
                  </a:lnTo>
                  <a:lnTo>
                    <a:pt x="629" y="875"/>
                  </a:lnTo>
                  <a:lnTo>
                    <a:pt x="626" y="877"/>
                  </a:lnTo>
                  <a:lnTo>
                    <a:pt x="626" y="878"/>
                  </a:lnTo>
                  <a:lnTo>
                    <a:pt x="622" y="880"/>
                  </a:lnTo>
                  <a:lnTo>
                    <a:pt x="619" y="886"/>
                  </a:lnTo>
                  <a:lnTo>
                    <a:pt x="616" y="896"/>
                  </a:lnTo>
                  <a:lnTo>
                    <a:pt x="613" y="905"/>
                  </a:lnTo>
                  <a:lnTo>
                    <a:pt x="608" y="918"/>
                  </a:lnTo>
                  <a:lnTo>
                    <a:pt x="608" y="911"/>
                  </a:lnTo>
                  <a:lnTo>
                    <a:pt x="610" y="902"/>
                  </a:lnTo>
                  <a:lnTo>
                    <a:pt x="613" y="892"/>
                  </a:lnTo>
                  <a:lnTo>
                    <a:pt x="616" y="880"/>
                  </a:lnTo>
                  <a:lnTo>
                    <a:pt x="618" y="869"/>
                  </a:lnTo>
                  <a:lnTo>
                    <a:pt x="621" y="858"/>
                  </a:lnTo>
                  <a:lnTo>
                    <a:pt x="622" y="853"/>
                  </a:lnTo>
                  <a:lnTo>
                    <a:pt x="624" y="848"/>
                  </a:lnTo>
                  <a:lnTo>
                    <a:pt x="626" y="845"/>
                  </a:lnTo>
                  <a:lnTo>
                    <a:pt x="627" y="844"/>
                  </a:lnTo>
                  <a:lnTo>
                    <a:pt x="633" y="833"/>
                  </a:lnTo>
                  <a:lnTo>
                    <a:pt x="638" y="823"/>
                  </a:lnTo>
                  <a:lnTo>
                    <a:pt x="638" y="820"/>
                  </a:lnTo>
                  <a:lnTo>
                    <a:pt x="641" y="817"/>
                  </a:lnTo>
                  <a:lnTo>
                    <a:pt x="641" y="814"/>
                  </a:lnTo>
                  <a:lnTo>
                    <a:pt x="641" y="812"/>
                  </a:lnTo>
                  <a:lnTo>
                    <a:pt x="641" y="810"/>
                  </a:lnTo>
                  <a:lnTo>
                    <a:pt x="641" y="809"/>
                  </a:lnTo>
                  <a:lnTo>
                    <a:pt x="640" y="807"/>
                  </a:lnTo>
                  <a:lnTo>
                    <a:pt x="638" y="807"/>
                  </a:lnTo>
                  <a:lnTo>
                    <a:pt x="638" y="806"/>
                  </a:lnTo>
                  <a:lnTo>
                    <a:pt x="637" y="806"/>
                  </a:lnTo>
                  <a:lnTo>
                    <a:pt x="635" y="806"/>
                  </a:lnTo>
                  <a:lnTo>
                    <a:pt x="633" y="806"/>
                  </a:lnTo>
                  <a:lnTo>
                    <a:pt x="626" y="807"/>
                  </a:lnTo>
                  <a:lnTo>
                    <a:pt x="616" y="807"/>
                  </a:lnTo>
                  <a:lnTo>
                    <a:pt x="613" y="807"/>
                  </a:lnTo>
                  <a:lnTo>
                    <a:pt x="611" y="807"/>
                  </a:lnTo>
                  <a:lnTo>
                    <a:pt x="608" y="807"/>
                  </a:lnTo>
                  <a:lnTo>
                    <a:pt x="607" y="806"/>
                  </a:lnTo>
                  <a:lnTo>
                    <a:pt x="605" y="804"/>
                  </a:lnTo>
                  <a:lnTo>
                    <a:pt x="603" y="803"/>
                  </a:lnTo>
                  <a:lnTo>
                    <a:pt x="602" y="801"/>
                  </a:lnTo>
                  <a:lnTo>
                    <a:pt x="602" y="798"/>
                  </a:lnTo>
                  <a:lnTo>
                    <a:pt x="599" y="793"/>
                  </a:lnTo>
                  <a:lnTo>
                    <a:pt x="596" y="788"/>
                  </a:lnTo>
                  <a:lnTo>
                    <a:pt x="594" y="784"/>
                  </a:lnTo>
                  <a:lnTo>
                    <a:pt x="591" y="781"/>
                  </a:lnTo>
                  <a:lnTo>
                    <a:pt x="586" y="774"/>
                  </a:lnTo>
                  <a:lnTo>
                    <a:pt x="581" y="769"/>
                  </a:lnTo>
                  <a:lnTo>
                    <a:pt x="575" y="763"/>
                  </a:lnTo>
                  <a:lnTo>
                    <a:pt x="569" y="758"/>
                  </a:lnTo>
                  <a:lnTo>
                    <a:pt x="561" y="751"/>
                  </a:lnTo>
                  <a:lnTo>
                    <a:pt x="551" y="743"/>
                  </a:lnTo>
                  <a:lnTo>
                    <a:pt x="551" y="744"/>
                  </a:lnTo>
                  <a:lnTo>
                    <a:pt x="550" y="744"/>
                  </a:lnTo>
                  <a:lnTo>
                    <a:pt x="547" y="746"/>
                  </a:lnTo>
                  <a:lnTo>
                    <a:pt x="543" y="746"/>
                  </a:lnTo>
                  <a:lnTo>
                    <a:pt x="542" y="749"/>
                  </a:lnTo>
                  <a:lnTo>
                    <a:pt x="540" y="751"/>
                  </a:lnTo>
                  <a:lnTo>
                    <a:pt x="540" y="752"/>
                  </a:lnTo>
                  <a:lnTo>
                    <a:pt x="542" y="755"/>
                  </a:lnTo>
                  <a:lnTo>
                    <a:pt x="542" y="758"/>
                  </a:lnTo>
                  <a:lnTo>
                    <a:pt x="542" y="763"/>
                  </a:lnTo>
                  <a:lnTo>
                    <a:pt x="543" y="766"/>
                  </a:lnTo>
                  <a:lnTo>
                    <a:pt x="543" y="768"/>
                  </a:lnTo>
                  <a:lnTo>
                    <a:pt x="547" y="769"/>
                  </a:lnTo>
                  <a:lnTo>
                    <a:pt x="548" y="771"/>
                  </a:lnTo>
                  <a:lnTo>
                    <a:pt x="551" y="773"/>
                  </a:lnTo>
                  <a:lnTo>
                    <a:pt x="554" y="774"/>
                  </a:lnTo>
                  <a:lnTo>
                    <a:pt x="558" y="776"/>
                  </a:lnTo>
                  <a:lnTo>
                    <a:pt x="562" y="776"/>
                  </a:lnTo>
                  <a:lnTo>
                    <a:pt x="564" y="777"/>
                  </a:lnTo>
                  <a:lnTo>
                    <a:pt x="567" y="779"/>
                  </a:lnTo>
                  <a:lnTo>
                    <a:pt x="570" y="781"/>
                  </a:lnTo>
                  <a:lnTo>
                    <a:pt x="572" y="784"/>
                  </a:lnTo>
                  <a:lnTo>
                    <a:pt x="575" y="785"/>
                  </a:lnTo>
                  <a:lnTo>
                    <a:pt x="575" y="790"/>
                  </a:lnTo>
                  <a:lnTo>
                    <a:pt x="577" y="792"/>
                  </a:lnTo>
                  <a:lnTo>
                    <a:pt x="577" y="798"/>
                  </a:lnTo>
                  <a:lnTo>
                    <a:pt x="577" y="803"/>
                  </a:lnTo>
                  <a:lnTo>
                    <a:pt x="575" y="807"/>
                  </a:lnTo>
                  <a:lnTo>
                    <a:pt x="575" y="810"/>
                  </a:lnTo>
                  <a:lnTo>
                    <a:pt x="572" y="812"/>
                  </a:lnTo>
                  <a:lnTo>
                    <a:pt x="570" y="815"/>
                  </a:lnTo>
                  <a:lnTo>
                    <a:pt x="567" y="815"/>
                  </a:lnTo>
                  <a:lnTo>
                    <a:pt x="566" y="817"/>
                  </a:lnTo>
                  <a:lnTo>
                    <a:pt x="559" y="820"/>
                  </a:lnTo>
                  <a:lnTo>
                    <a:pt x="554" y="822"/>
                  </a:lnTo>
                  <a:lnTo>
                    <a:pt x="553" y="823"/>
                  </a:lnTo>
                  <a:lnTo>
                    <a:pt x="551" y="825"/>
                  </a:lnTo>
                  <a:lnTo>
                    <a:pt x="551" y="826"/>
                  </a:lnTo>
                  <a:lnTo>
                    <a:pt x="551" y="829"/>
                  </a:lnTo>
                  <a:lnTo>
                    <a:pt x="551" y="833"/>
                  </a:lnTo>
                  <a:lnTo>
                    <a:pt x="551" y="836"/>
                  </a:lnTo>
                  <a:lnTo>
                    <a:pt x="553" y="839"/>
                  </a:lnTo>
                  <a:lnTo>
                    <a:pt x="554" y="842"/>
                  </a:lnTo>
                  <a:lnTo>
                    <a:pt x="559" y="847"/>
                  </a:lnTo>
                  <a:lnTo>
                    <a:pt x="564" y="853"/>
                  </a:lnTo>
                  <a:lnTo>
                    <a:pt x="566" y="856"/>
                  </a:lnTo>
                  <a:lnTo>
                    <a:pt x="569" y="859"/>
                  </a:lnTo>
                  <a:lnTo>
                    <a:pt x="570" y="864"/>
                  </a:lnTo>
                  <a:lnTo>
                    <a:pt x="572" y="867"/>
                  </a:lnTo>
                  <a:lnTo>
                    <a:pt x="575" y="870"/>
                  </a:lnTo>
                  <a:lnTo>
                    <a:pt x="575" y="875"/>
                  </a:lnTo>
                  <a:lnTo>
                    <a:pt x="577" y="880"/>
                  </a:lnTo>
                  <a:lnTo>
                    <a:pt x="577" y="886"/>
                  </a:lnTo>
                  <a:lnTo>
                    <a:pt x="577" y="891"/>
                  </a:lnTo>
                  <a:lnTo>
                    <a:pt x="577" y="894"/>
                  </a:lnTo>
                  <a:lnTo>
                    <a:pt x="575" y="897"/>
                  </a:lnTo>
                  <a:lnTo>
                    <a:pt x="575" y="902"/>
                  </a:lnTo>
                  <a:lnTo>
                    <a:pt x="573" y="904"/>
                  </a:lnTo>
                  <a:lnTo>
                    <a:pt x="572" y="907"/>
                  </a:lnTo>
                  <a:lnTo>
                    <a:pt x="570" y="910"/>
                  </a:lnTo>
                  <a:lnTo>
                    <a:pt x="569" y="911"/>
                  </a:lnTo>
                  <a:lnTo>
                    <a:pt x="564" y="916"/>
                  </a:lnTo>
                  <a:lnTo>
                    <a:pt x="561" y="919"/>
                  </a:lnTo>
                  <a:lnTo>
                    <a:pt x="556" y="921"/>
                  </a:lnTo>
                  <a:lnTo>
                    <a:pt x="551" y="924"/>
                  </a:lnTo>
                  <a:lnTo>
                    <a:pt x="547" y="927"/>
                  </a:lnTo>
                  <a:lnTo>
                    <a:pt x="542" y="930"/>
                  </a:lnTo>
                  <a:lnTo>
                    <a:pt x="536" y="932"/>
                  </a:lnTo>
                  <a:lnTo>
                    <a:pt x="532" y="937"/>
                  </a:lnTo>
                  <a:lnTo>
                    <a:pt x="531" y="938"/>
                  </a:lnTo>
                  <a:lnTo>
                    <a:pt x="529" y="940"/>
                  </a:lnTo>
                  <a:lnTo>
                    <a:pt x="528" y="943"/>
                  </a:lnTo>
                  <a:lnTo>
                    <a:pt x="526" y="946"/>
                  </a:lnTo>
                  <a:lnTo>
                    <a:pt x="526" y="949"/>
                  </a:lnTo>
                  <a:lnTo>
                    <a:pt x="524" y="952"/>
                  </a:lnTo>
                  <a:lnTo>
                    <a:pt x="524" y="957"/>
                  </a:lnTo>
                  <a:lnTo>
                    <a:pt x="524" y="960"/>
                  </a:lnTo>
                  <a:lnTo>
                    <a:pt x="524" y="965"/>
                  </a:lnTo>
                  <a:lnTo>
                    <a:pt x="526" y="968"/>
                  </a:lnTo>
                  <a:lnTo>
                    <a:pt x="528" y="973"/>
                  </a:lnTo>
                  <a:lnTo>
                    <a:pt x="529" y="976"/>
                  </a:lnTo>
                  <a:lnTo>
                    <a:pt x="534" y="981"/>
                  </a:lnTo>
                  <a:lnTo>
                    <a:pt x="536" y="984"/>
                  </a:lnTo>
                  <a:lnTo>
                    <a:pt x="539" y="989"/>
                  </a:lnTo>
                  <a:lnTo>
                    <a:pt x="543" y="993"/>
                  </a:lnTo>
                  <a:lnTo>
                    <a:pt x="548" y="997"/>
                  </a:lnTo>
                  <a:lnTo>
                    <a:pt x="551" y="1000"/>
                  </a:lnTo>
                  <a:lnTo>
                    <a:pt x="556" y="1003"/>
                  </a:lnTo>
                  <a:lnTo>
                    <a:pt x="561" y="1006"/>
                  </a:lnTo>
                  <a:lnTo>
                    <a:pt x="566" y="1008"/>
                  </a:lnTo>
                  <a:lnTo>
                    <a:pt x="569" y="1009"/>
                  </a:lnTo>
                  <a:lnTo>
                    <a:pt x="573" y="1011"/>
                  </a:lnTo>
                  <a:lnTo>
                    <a:pt x="577" y="1011"/>
                  </a:lnTo>
                  <a:lnTo>
                    <a:pt x="580" y="1011"/>
                  </a:lnTo>
                  <a:lnTo>
                    <a:pt x="583" y="1011"/>
                  </a:lnTo>
                  <a:lnTo>
                    <a:pt x="584" y="1009"/>
                  </a:lnTo>
                  <a:lnTo>
                    <a:pt x="586" y="1009"/>
                  </a:lnTo>
                  <a:lnTo>
                    <a:pt x="588" y="1009"/>
                  </a:lnTo>
                  <a:lnTo>
                    <a:pt x="589" y="1009"/>
                  </a:lnTo>
                  <a:lnTo>
                    <a:pt x="592" y="1009"/>
                  </a:lnTo>
                  <a:lnTo>
                    <a:pt x="596" y="1014"/>
                  </a:lnTo>
                  <a:lnTo>
                    <a:pt x="599" y="1017"/>
                  </a:lnTo>
                  <a:lnTo>
                    <a:pt x="602" y="1020"/>
                  </a:lnTo>
                  <a:lnTo>
                    <a:pt x="607" y="1025"/>
                  </a:lnTo>
                  <a:lnTo>
                    <a:pt x="608" y="1025"/>
                  </a:lnTo>
                  <a:lnTo>
                    <a:pt x="610" y="1028"/>
                  </a:lnTo>
                  <a:lnTo>
                    <a:pt x="611" y="1030"/>
                  </a:lnTo>
                  <a:lnTo>
                    <a:pt x="613" y="1033"/>
                  </a:lnTo>
                  <a:lnTo>
                    <a:pt x="615" y="1036"/>
                  </a:lnTo>
                  <a:lnTo>
                    <a:pt x="616" y="1039"/>
                  </a:lnTo>
                  <a:lnTo>
                    <a:pt x="616" y="1042"/>
                  </a:lnTo>
                  <a:lnTo>
                    <a:pt x="616" y="1047"/>
                  </a:lnTo>
                  <a:lnTo>
                    <a:pt x="616" y="1050"/>
                  </a:lnTo>
                  <a:lnTo>
                    <a:pt x="616" y="1055"/>
                  </a:lnTo>
                  <a:lnTo>
                    <a:pt x="616" y="1057"/>
                  </a:lnTo>
                  <a:lnTo>
                    <a:pt x="616" y="1060"/>
                  </a:lnTo>
                  <a:lnTo>
                    <a:pt x="613" y="1063"/>
                  </a:lnTo>
                  <a:lnTo>
                    <a:pt x="611" y="1064"/>
                  </a:lnTo>
                  <a:lnTo>
                    <a:pt x="610" y="1068"/>
                  </a:lnTo>
                  <a:lnTo>
                    <a:pt x="607" y="1069"/>
                  </a:lnTo>
                  <a:lnTo>
                    <a:pt x="608" y="1079"/>
                  </a:lnTo>
                  <a:lnTo>
                    <a:pt x="610" y="1083"/>
                  </a:lnTo>
                  <a:lnTo>
                    <a:pt x="608" y="1079"/>
                  </a:lnTo>
                  <a:lnTo>
                    <a:pt x="610" y="1083"/>
                  </a:lnTo>
                  <a:lnTo>
                    <a:pt x="608" y="1083"/>
                  </a:lnTo>
                  <a:lnTo>
                    <a:pt x="608" y="1088"/>
                  </a:lnTo>
                  <a:lnTo>
                    <a:pt x="608" y="1091"/>
                  </a:lnTo>
                  <a:lnTo>
                    <a:pt x="607" y="1094"/>
                  </a:lnTo>
                  <a:lnTo>
                    <a:pt x="605" y="1098"/>
                  </a:lnTo>
                  <a:lnTo>
                    <a:pt x="602" y="1101"/>
                  </a:lnTo>
                  <a:lnTo>
                    <a:pt x="600" y="1104"/>
                  </a:lnTo>
                  <a:lnTo>
                    <a:pt x="597" y="1109"/>
                  </a:lnTo>
                  <a:lnTo>
                    <a:pt x="596" y="1110"/>
                  </a:lnTo>
                  <a:lnTo>
                    <a:pt x="589" y="1112"/>
                  </a:lnTo>
                  <a:lnTo>
                    <a:pt x="584" y="1112"/>
                  </a:lnTo>
                  <a:lnTo>
                    <a:pt x="581" y="1113"/>
                  </a:lnTo>
                  <a:lnTo>
                    <a:pt x="580" y="1115"/>
                  </a:lnTo>
                  <a:lnTo>
                    <a:pt x="580" y="1116"/>
                  </a:lnTo>
                  <a:lnTo>
                    <a:pt x="580" y="1118"/>
                  </a:lnTo>
                  <a:lnTo>
                    <a:pt x="580" y="1120"/>
                  </a:lnTo>
                  <a:lnTo>
                    <a:pt x="580" y="1121"/>
                  </a:lnTo>
                  <a:lnTo>
                    <a:pt x="580" y="1129"/>
                  </a:lnTo>
                  <a:lnTo>
                    <a:pt x="581" y="1137"/>
                  </a:lnTo>
                  <a:lnTo>
                    <a:pt x="584" y="1148"/>
                  </a:lnTo>
                  <a:lnTo>
                    <a:pt x="586" y="1159"/>
                  </a:lnTo>
                  <a:lnTo>
                    <a:pt x="588" y="1170"/>
                  </a:lnTo>
                  <a:lnTo>
                    <a:pt x="589" y="1178"/>
                  </a:lnTo>
                  <a:lnTo>
                    <a:pt x="592" y="1183"/>
                  </a:lnTo>
                  <a:lnTo>
                    <a:pt x="597" y="1189"/>
                  </a:lnTo>
                  <a:lnTo>
                    <a:pt x="603" y="1192"/>
                  </a:lnTo>
                  <a:lnTo>
                    <a:pt x="605" y="1194"/>
                  </a:lnTo>
                  <a:lnTo>
                    <a:pt x="605" y="1195"/>
                  </a:lnTo>
                  <a:lnTo>
                    <a:pt x="607" y="1197"/>
                  </a:lnTo>
                  <a:lnTo>
                    <a:pt x="608" y="1198"/>
                  </a:lnTo>
                  <a:lnTo>
                    <a:pt x="608" y="1200"/>
                  </a:lnTo>
                  <a:lnTo>
                    <a:pt x="608" y="1203"/>
                  </a:lnTo>
                  <a:lnTo>
                    <a:pt x="608" y="1206"/>
                  </a:lnTo>
                  <a:lnTo>
                    <a:pt x="608" y="1210"/>
                  </a:lnTo>
                  <a:lnTo>
                    <a:pt x="608" y="1221"/>
                  </a:lnTo>
                  <a:lnTo>
                    <a:pt x="608" y="1232"/>
                  </a:lnTo>
                  <a:lnTo>
                    <a:pt x="608" y="1244"/>
                  </a:lnTo>
                  <a:lnTo>
                    <a:pt x="608" y="1260"/>
                  </a:lnTo>
                  <a:lnTo>
                    <a:pt x="608" y="1265"/>
                  </a:lnTo>
                  <a:lnTo>
                    <a:pt x="610" y="1266"/>
                  </a:lnTo>
                  <a:lnTo>
                    <a:pt x="610" y="1271"/>
                  </a:lnTo>
                  <a:lnTo>
                    <a:pt x="611" y="1274"/>
                  </a:lnTo>
                  <a:lnTo>
                    <a:pt x="613" y="1277"/>
                  </a:lnTo>
                  <a:lnTo>
                    <a:pt x="616" y="1279"/>
                  </a:lnTo>
                  <a:lnTo>
                    <a:pt x="618" y="1282"/>
                  </a:lnTo>
                  <a:lnTo>
                    <a:pt x="621" y="1284"/>
                  </a:lnTo>
                  <a:lnTo>
                    <a:pt x="626" y="1287"/>
                  </a:lnTo>
                  <a:lnTo>
                    <a:pt x="630" y="1292"/>
                  </a:lnTo>
                  <a:lnTo>
                    <a:pt x="637" y="1295"/>
                  </a:lnTo>
                  <a:lnTo>
                    <a:pt x="643" y="1298"/>
                  </a:lnTo>
                  <a:lnTo>
                    <a:pt x="643" y="1334"/>
                  </a:lnTo>
                  <a:lnTo>
                    <a:pt x="643" y="1336"/>
                  </a:lnTo>
                  <a:lnTo>
                    <a:pt x="640" y="1340"/>
                  </a:lnTo>
                  <a:lnTo>
                    <a:pt x="638" y="1342"/>
                  </a:lnTo>
                  <a:lnTo>
                    <a:pt x="638" y="1345"/>
                  </a:lnTo>
                  <a:lnTo>
                    <a:pt x="637" y="1347"/>
                  </a:lnTo>
                  <a:lnTo>
                    <a:pt x="637" y="1348"/>
                  </a:lnTo>
                  <a:lnTo>
                    <a:pt x="637" y="1351"/>
                  </a:lnTo>
                  <a:lnTo>
                    <a:pt x="638" y="1353"/>
                  </a:lnTo>
                  <a:lnTo>
                    <a:pt x="640" y="1356"/>
                  </a:lnTo>
                  <a:lnTo>
                    <a:pt x="643" y="1358"/>
                  </a:lnTo>
                  <a:lnTo>
                    <a:pt x="645" y="1359"/>
                  </a:lnTo>
                  <a:lnTo>
                    <a:pt x="648" y="1361"/>
                  </a:lnTo>
                  <a:lnTo>
                    <a:pt x="651" y="1364"/>
                  </a:lnTo>
                  <a:lnTo>
                    <a:pt x="656" y="1366"/>
                  </a:lnTo>
                  <a:lnTo>
                    <a:pt x="663" y="1367"/>
                  </a:lnTo>
                  <a:lnTo>
                    <a:pt x="670" y="1369"/>
                  </a:lnTo>
                  <a:lnTo>
                    <a:pt x="678" y="1372"/>
                  </a:lnTo>
                  <a:lnTo>
                    <a:pt x="684" y="1372"/>
                  </a:lnTo>
                  <a:lnTo>
                    <a:pt x="684" y="1380"/>
                  </a:lnTo>
                  <a:lnTo>
                    <a:pt x="684" y="1389"/>
                  </a:lnTo>
                  <a:lnTo>
                    <a:pt x="687" y="1399"/>
                  </a:lnTo>
                  <a:lnTo>
                    <a:pt x="687" y="1408"/>
                  </a:lnTo>
                  <a:lnTo>
                    <a:pt x="687" y="1415"/>
                  </a:lnTo>
                  <a:lnTo>
                    <a:pt x="686" y="1419"/>
                  </a:lnTo>
                  <a:lnTo>
                    <a:pt x="684" y="1424"/>
                  </a:lnTo>
                  <a:lnTo>
                    <a:pt x="682" y="1427"/>
                  </a:lnTo>
                  <a:lnTo>
                    <a:pt x="679" y="1430"/>
                  </a:lnTo>
                  <a:lnTo>
                    <a:pt x="676" y="1434"/>
                  </a:lnTo>
                  <a:lnTo>
                    <a:pt x="675" y="1435"/>
                  </a:lnTo>
                  <a:lnTo>
                    <a:pt x="670" y="1438"/>
                  </a:lnTo>
                  <a:lnTo>
                    <a:pt x="667" y="1440"/>
                  </a:lnTo>
                  <a:lnTo>
                    <a:pt x="663" y="1443"/>
                  </a:lnTo>
                  <a:lnTo>
                    <a:pt x="662" y="1446"/>
                  </a:lnTo>
                  <a:lnTo>
                    <a:pt x="659" y="1449"/>
                  </a:lnTo>
                  <a:lnTo>
                    <a:pt x="656" y="1452"/>
                  </a:lnTo>
                  <a:lnTo>
                    <a:pt x="656" y="1456"/>
                  </a:lnTo>
                  <a:lnTo>
                    <a:pt x="654" y="1460"/>
                  </a:lnTo>
                  <a:lnTo>
                    <a:pt x="654" y="1467"/>
                  </a:lnTo>
                  <a:lnTo>
                    <a:pt x="654" y="1468"/>
                  </a:lnTo>
                  <a:lnTo>
                    <a:pt x="654" y="1471"/>
                  </a:lnTo>
                  <a:lnTo>
                    <a:pt x="654" y="1473"/>
                  </a:lnTo>
                  <a:lnTo>
                    <a:pt x="656" y="1475"/>
                  </a:lnTo>
                  <a:lnTo>
                    <a:pt x="657" y="1479"/>
                  </a:lnTo>
                  <a:lnTo>
                    <a:pt x="660" y="1482"/>
                  </a:lnTo>
                  <a:lnTo>
                    <a:pt x="662" y="1487"/>
                  </a:lnTo>
                  <a:lnTo>
                    <a:pt x="663" y="1492"/>
                  </a:lnTo>
                  <a:lnTo>
                    <a:pt x="665" y="1493"/>
                  </a:lnTo>
                  <a:lnTo>
                    <a:pt x="667" y="1497"/>
                  </a:lnTo>
                  <a:lnTo>
                    <a:pt x="667" y="1500"/>
                  </a:lnTo>
                  <a:lnTo>
                    <a:pt x="667" y="1501"/>
                  </a:lnTo>
                  <a:lnTo>
                    <a:pt x="667" y="1504"/>
                  </a:lnTo>
                  <a:lnTo>
                    <a:pt x="667" y="1508"/>
                  </a:lnTo>
                  <a:lnTo>
                    <a:pt x="663" y="1509"/>
                  </a:lnTo>
                  <a:lnTo>
                    <a:pt x="663" y="1512"/>
                  </a:lnTo>
                  <a:lnTo>
                    <a:pt x="660" y="1517"/>
                  </a:lnTo>
                  <a:lnTo>
                    <a:pt x="656" y="1520"/>
                  </a:lnTo>
                  <a:lnTo>
                    <a:pt x="651" y="1525"/>
                  </a:lnTo>
                  <a:lnTo>
                    <a:pt x="648" y="1528"/>
                  </a:lnTo>
                  <a:lnTo>
                    <a:pt x="646" y="1530"/>
                  </a:lnTo>
                  <a:lnTo>
                    <a:pt x="643" y="1533"/>
                  </a:lnTo>
                  <a:lnTo>
                    <a:pt x="643" y="1534"/>
                  </a:lnTo>
                  <a:lnTo>
                    <a:pt x="643" y="1538"/>
                  </a:lnTo>
                  <a:lnTo>
                    <a:pt x="641" y="1546"/>
                  </a:lnTo>
                  <a:lnTo>
                    <a:pt x="641" y="1550"/>
                  </a:lnTo>
                  <a:lnTo>
                    <a:pt x="641" y="1553"/>
                  </a:lnTo>
                  <a:lnTo>
                    <a:pt x="640" y="1555"/>
                  </a:lnTo>
                  <a:lnTo>
                    <a:pt x="638" y="1558"/>
                  </a:lnTo>
                  <a:lnTo>
                    <a:pt x="637" y="1560"/>
                  </a:lnTo>
                  <a:lnTo>
                    <a:pt x="635" y="1561"/>
                  </a:lnTo>
                  <a:lnTo>
                    <a:pt x="633" y="1561"/>
                  </a:lnTo>
                  <a:lnTo>
                    <a:pt x="630" y="1561"/>
                  </a:lnTo>
                  <a:lnTo>
                    <a:pt x="629" y="1561"/>
                  </a:lnTo>
                  <a:lnTo>
                    <a:pt x="627" y="1561"/>
                  </a:lnTo>
                  <a:lnTo>
                    <a:pt x="626" y="1561"/>
                  </a:lnTo>
                  <a:lnTo>
                    <a:pt x="622" y="1561"/>
                  </a:lnTo>
                  <a:lnTo>
                    <a:pt x="622" y="1568"/>
                  </a:lnTo>
                  <a:lnTo>
                    <a:pt x="624" y="1574"/>
                  </a:lnTo>
                  <a:lnTo>
                    <a:pt x="626" y="1579"/>
                  </a:lnTo>
                  <a:lnTo>
                    <a:pt x="626" y="1583"/>
                  </a:lnTo>
                  <a:lnTo>
                    <a:pt x="629" y="1588"/>
                  </a:lnTo>
                  <a:lnTo>
                    <a:pt x="630" y="1594"/>
                  </a:lnTo>
                  <a:lnTo>
                    <a:pt x="633" y="1599"/>
                  </a:lnTo>
                  <a:lnTo>
                    <a:pt x="637" y="1602"/>
                  </a:lnTo>
                  <a:lnTo>
                    <a:pt x="638" y="1607"/>
                  </a:lnTo>
                  <a:lnTo>
                    <a:pt x="643" y="1609"/>
                  </a:lnTo>
                  <a:lnTo>
                    <a:pt x="646" y="1613"/>
                  </a:lnTo>
                  <a:lnTo>
                    <a:pt x="651" y="1615"/>
                  </a:lnTo>
                  <a:lnTo>
                    <a:pt x="656" y="1616"/>
                  </a:lnTo>
                  <a:lnTo>
                    <a:pt x="659" y="1618"/>
                  </a:lnTo>
                  <a:lnTo>
                    <a:pt x="665" y="1620"/>
                  </a:lnTo>
                  <a:lnTo>
                    <a:pt x="670" y="1620"/>
                  </a:lnTo>
                  <a:lnTo>
                    <a:pt x="670" y="1623"/>
                  </a:lnTo>
                  <a:lnTo>
                    <a:pt x="670" y="1628"/>
                  </a:lnTo>
                  <a:lnTo>
                    <a:pt x="670" y="1629"/>
                  </a:lnTo>
                  <a:lnTo>
                    <a:pt x="670" y="1632"/>
                  </a:lnTo>
                  <a:lnTo>
                    <a:pt x="668" y="1635"/>
                  </a:lnTo>
                  <a:lnTo>
                    <a:pt x="667" y="1637"/>
                  </a:lnTo>
                  <a:lnTo>
                    <a:pt x="665" y="1640"/>
                  </a:lnTo>
                  <a:lnTo>
                    <a:pt x="663" y="1642"/>
                  </a:lnTo>
                  <a:lnTo>
                    <a:pt x="662" y="1643"/>
                  </a:lnTo>
                  <a:lnTo>
                    <a:pt x="659" y="1645"/>
                  </a:lnTo>
                  <a:lnTo>
                    <a:pt x="656" y="1648"/>
                  </a:lnTo>
                  <a:lnTo>
                    <a:pt x="654" y="1648"/>
                  </a:lnTo>
                  <a:lnTo>
                    <a:pt x="649" y="1650"/>
                  </a:lnTo>
                  <a:lnTo>
                    <a:pt x="643" y="1653"/>
                  </a:lnTo>
                  <a:lnTo>
                    <a:pt x="637" y="1656"/>
                  </a:lnTo>
                  <a:lnTo>
                    <a:pt x="630" y="1657"/>
                  </a:lnTo>
                  <a:lnTo>
                    <a:pt x="626" y="1659"/>
                  </a:lnTo>
                  <a:lnTo>
                    <a:pt x="621" y="1662"/>
                  </a:lnTo>
                  <a:lnTo>
                    <a:pt x="618" y="1662"/>
                  </a:lnTo>
                  <a:lnTo>
                    <a:pt x="616" y="1665"/>
                  </a:lnTo>
                  <a:lnTo>
                    <a:pt x="616" y="1667"/>
                  </a:lnTo>
                  <a:lnTo>
                    <a:pt x="613" y="1669"/>
                  </a:lnTo>
                  <a:lnTo>
                    <a:pt x="611" y="1670"/>
                  </a:lnTo>
                  <a:lnTo>
                    <a:pt x="611" y="1673"/>
                  </a:lnTo>
                  <a:lnTo>
                    <a:pt x="610" y="1675"/>
                  </a:lnTo>
                  <a:lnTo>
                    <a:pt x="610" y="1678"/>
                  </a:lnTo>
                  <a:lnTo>
                    <a:pt x="608" y="1678"/>
                  </a:lnTo>
                  <a:lnTo>
                    <a:pt x="605" y="1676"/>
                  </a:lnTo>
                  <a:lnTo>
                    <a:pt x="603" y="1675"/>
                  </a:lnTo>
                  <a:lnTo>
                    <a:pt x="602" y="1675"/>
                  </a:lnTo>
                  <a:lnTo>
                    <a:pt x="597" y="1672"/>
                  </a:lnTo>
                  <a:lnTo>
                    <a:pt x="596" y="1669"/>
                  </a:lnTo>
                  <a:lnTo>
                    <a:pt x="591" y="1665"/>
                  </a:lnTo>
                  <a:lnTo>
                    <a:pt x="588" y="1664"/>
                  </a:lnTo>
                  <a:lnTo>
                    <a:pt x="584" y="1662"/>
                  </a:lnTo>
                  <a:lnTo>
                    <a:pt x="583" y="1661"/>
                  </a:lnTo>
                  <a:lnTo>
                    <a:pt x="580" y="1661"/>
                  </a:lnTo>
                  <a:lnTo>
                    <a:pt x="575" y="1661"/>
                  </a:lnTo>
                  <a:lnTo>
                    <a:pt x="570" y="1662"/>
                  </a:lnTo>
                  <a:lnTo>
                    <a:pt x="567" y="1664"/>
                  </a:lnTo>
                  <a:lnTo>
                    <a:pt x="562" y="1665"/>
                  </a:lnTo>
                  <a:lnTo>
                    <a:pt x="559" y="1667"/>
                  </a:lnTo>
                  <a:lnTo>
                    <a:pt x="556" y="1670"/>
                  </a:lnTo>
                  <a:lnTo>
                    <a:pt x="554" y="1672"/>
                  </a:lnTo>
                  <a:lnTo>
                    <a:pt x="551" y="1675"/>
                  </a:lnTo>
                  <a:lnTo>
                    <a:pt x="547" y="1680"/>
                  </a:lnTo>
                  <a:lnTo>
                    <a:pt x="542" y="1684"/>
                  </a:lnTo>
                  <a:lnTo>
                    <a:pt x="539" y="1686"/>
                  </a:lnTo>
                  <a:lnTo>
                    <a:pt x="536" y="1687"/>
                  </a:lnTo>
                  <a:lnTo>
                    <a:pt x="532" y="1689"/>
                  </a:lnTo>
                  <a:lnTo>
                    <a:pt x="529" y="1689"/>
                  </a:lnTo>
                  <a:lnTo>
                    <a:pt x="526" y="1689"/>
                  </a:lnTo>
                  <a:lnTo>
                    <a:pt x="521" y="1687"/>
                  </a:lnTo>
                  <a:lnTo>
                    <a:pt x="517" y="1686"/>
                  </a:lnTo>
                  <a:lnTo>
                    <a:pt x="513" y="1686"/>
                  </a:lnTo>
                  <a:lnTo>
                    <a:pt x="507" y="1681"/>
                  </a:lnTo>
                  <a:lnTo>
                    <a:pt x="501" y="1678"/>
                  </a:lnTo>
                  <a:lnTo>
                    <a:pt x="498" y="1675"/>
                  </a:lnTo>
                  <a:lnTo>
                    <a:pt x="494" y="1673"/>
                  </a:lnTo>
                  <a:lnTo>
                    <a:pt x="491" y="1670"/>
                  </a:lnTo>
                  <a:lnTo>
                    <a:pt x="488" y="1670"/>
                  </a:lnTo>
                  <a:lnTo>
                    <a:pt x="485" y="1669"/>
                  </a:lnTo>
                  <a:lnTo>
                    <a:pt x="480" y="1667"/>
                  </a:lnTo>
                  <a:lnTo>
                    <a:pt x="474" y="1665"/>
                  </a:lnTo>
                  <a:lnTo>
                    <a:pt x="469" y="1665"/>
                  </a:lnTo>
                  <a:lnTo>
                    <a:pt x="463" y="1665"/>
                  </a:lnTo>
                  <a:lnTo>
                    <a:pt x="457" y="1665"/>
                  </a:lnTo>
                  <a:lnTo>
                    <a:pt x="450" y="1665"/>
                  </a:lnTo>
                  <a:lnTo>
                    <a:pt x="444" y="1664"/>
                  </a:lnTo>
                  <a:lnTo>
                    <a:pt x="439" y="1662"/>
                  </a:lnTo>
                  <a:lnTo>
                    <a:pt x="433" y="1661"/>
                  </a:lnTo>
                  <a:lnTo>
                    <a:pt x="428" y="1657"/>
                  </a:lnTo>
                  <a:lnTo>
                    <a:pt x="423" y="1653"/>
                  </a:lnTo>
                  <a:lnTo>
                    <a:pt x="390" y="1653"/>
                  </a:lnTo>
                  <a:lnTo>
                    <a:pt x="385" y="1651"/>
                  </a:lnTo>
                  <a:lnTo>
                    <a:pt x="378" y="1648"/>
                  </a:lnTo>
                  <a:lnTo>
                    <a:pt x="373" y="1646"/>
                  </a:lnTo>
                  <a:lnTo>
                    <a:pt x="368" y="1645"/>
                  </a:lnTo>
                  <a:lnTo>
                    <a:pt x="365" y="1643"/>
                  </a:lnTo>
                  <a:lnTo>
                    <a:pt x="359" y="1643"/>
                  </a:lnTo>
                  <a:lnTo>
                    <a:pt x="357" y="1643"/>
                  </a:lnTo>
                  <a:lnTo>
                    <a:pt x="354" y="1645"/>
                  </a:lnTo>
                  <a:lnTo>
                    <a:pt x="352" y="1645"/>
                  </a:lnTo>
                  <a:lnTo>
                    <a:pt x="349" y="1646"/>
                  </a:lnTo>
                  <a:lnTo>
                    <a:pt x="346" y="1648"/>
                  </a:lnTo>
                  <a:lnTo>
                    <a:pt x="344" y="1650"/>
                  </a:lnTo>
                  <a:lnTo>
                    <a:pt x="343" y="1651"/>
                  </a:lnTo>
                  <a:lnTo>
                    <a:pt x="341" y="1653"/>
                  </a:lnTo>
                  <a:lnTo>
                    <a:pt x="336" y="1657"/>
                  </a:lnTo>
                  <a:lnTo>
                    <a:pt x="333" y="1662"/>
                  </a:lnTo>
                  <a:lnTo>
                    <a:pt x="332" y="1669"/>
                  </a:lnTo>
                  <a:lnTo>
                    <a:pt x="329" y="1675"/>
                  </a:lnTo>
                  <a:lnTo>
                    <a:pt x="324" y="1687"/>
                  </a:lnTo>
                  <a:lnTo>
                    <a:pt x="319" y="1702"/>
                  </a:lnTo>
                  <a:lnTo>
                    <a:pt x="317" y="1706"/>
                  </a:lnTo>
                  <a:lnTo>
                    <a:pt x="316" y="1711"/>
                  </a:lnTo>
                  <a:lnTo>
                    <a:pt x="313" y="1716"/>
                  </a:lnTo>
                  <a:lnTo>
                    <a:pt x="310" y="1721"/>
                  </a:lnTo>
                  <a:lnTo>
                    <a:pt x="308" y="1724"/>
                  </a:lnTo>
                  <a:lnTo>
                    <a:pt x="306" y="1725"/>
                  </a:lnTo>
                  <a:lnTo>
                    <a:pt x="303" y="1727"/>
                  </a:lnTo>
                  <a:lnTo>
                    <a:pt x="302" y="1728"/>
                  </a:lnTo>
                  <a:lnTo>
                    <a:pt x="295" y="1732"/>
                  </a:lnTo>
                  <a:lnTo>
                    <a:pt x="291" y="1733"/>
                  </a:lnTo>
                  <a:lnTo>
                    <a:pt x="284" y="1736"/>
                  </a:lnTo>
                  <a:lnTo>
                    <a:pt x="280" y="1740"/>
                  </a:lnTo>
                  <a:lnTo>
                    <a:pt x="278" y="1740"/>
                  </a:lnTo>
                  <a:lnTo>
                    <a:pt x="275" y="1743"/>
                  </a:lnTo>
                  <a:lnTo>
                    <a:pt x="272" y="1746"/>
                  </a:lnTo>
                  <a:lnTo>
                    <a:pt x="272" y="1749"/>
                  </a:lnTo>
                  <a:lnTo>
                    <a:pt x="269" y="1752"/>
                  </a:lnTo>
                  <a:lnTo>
                    <a:pt x="267" y="1757"/>
                  </a:lnTo>
                  <a:lnTo>
                    <a:pt x="265" y="1762"/>
                  </a:lnTo>
                  <a:lnTo>
                    <a:pt x="264" y="1766"/>
                  </a:lnTo>
                  <a:lnTo>
                    <a:pt x="262" y="1773"/>
                  </a:lnTo>
                  <a:lnTo>
                    <a:pt x="259" y="1777"/>
                  </a:lnTo>
                  <a:lnTo>
                    <a:pt x="257" y="1782"/>
                  </a:lnTo>
                  <a:lnTo>
                    <a:pt x="254" y="1788"/>
                  </a:lnTo>
                  <a:lnTo>
                    <a:pt x="242" y="1785"/>
                  </a:lnTo>
                  <a:lnTo>
                    <a:pt x="242" y="1788"/>
                  </a:lnTo>
                  <a:lnTo>
                    <a:pt x="234" y="1799"/>
                  </a:lnTo>
                  <a:lnTo>
                    <a:pt x="232" y="1803"/>
                  </a:lnTo>
                  <a:lnTo>
                    <a:pt x="231" y="1807"/>
                  </a:lnTo>
                  <a:lnTo>
                    <a:pt x="229" y="1809"/>
                  </a:lnTo>
                  <a:lnTo>
                    <a:pt x="226" y="1810"/>
                  </a:lnTo>
                  <a:lnTo>
                    <a:pt x="223" y="1814"/>
                  </a:lnTo>
                  <a:lnTo>
                    <a:pt x="218" y="1815"/>
                  </a:lnTo>
                  <a:lnTo>
                    <a:pt x="213" y="1817"/>
                  </a:lnTo>
                  <a:lnTo>
                    <a:pt x="208" y="1818"/>
                  </a:lnTo>
                  <a:lnTo>
                    <a:pt x="205" y="1818"/>
                  </a:lnTo>
                  <a:lnTo>
                    <a:pt x="204" y="1818"/>
                  </a:lnTo>
                  <a:lnTo>
                    <a:pt x="201" y="1818"/>
                  </a:lnTo>
                  <a:lnTo>
                    <a:pt x="197" y="1818"/>
                  </a:lnTo>
                  <a:lnTo>
                    <a:pt x="193" y="1817"/>
                  </a:lnTo>
                  <a:lnTo>
                    <a:pt x="188" y="1815"/>
                  </a:lnTo>
                  <a:lnTo>
                    <a:pt x="183" y="1814"/>
                  </a:lnTo>
                  <a:lnTo>
                    <a:pt x="178" y="1810"/>
                  </a:lnTo>
                  <a:lnTo>
                    <a:pt x="175" y="1810"/>
                  </a:lnTo>
                  <a:lnTo>
                    <a:pt x="172" y="1810"/>
                  </a:lnTo>
                  <a:lnTo>
                    <a:pt x="171" y="1809"/>
                  </a:lnTo>
                  <a:lnTo>
                    <a:pt x="167" y="1809"/>
                  </a:lnTo>
                  <a:lnTo>
                    <a:pt x="164" y="1809"/>
                  </a:lnTo>
                  <a:lnTo>
                    <a:pt x="163" y="1810"/>
                  </a:lnTo>
                  <a:lnTo>
                    <a:pt x="159" y="1810"/>
                  </a:lnTo>
                  <a:lnTo>
                    <a:pt x="156" y="1812"/>
                  </a:lnTo>
                  <a:lnTo>
                    <a:pt x="155" y="1814"/>
                  </a:lnTo>
                  <a:lnTo>
                    <a:pt x="152" y="1814"/>
                  </a:lnTo>
                  <a:lnTo>
                    <a:pt x="148" y="1815"/>
                  </a:lnTo>
                  <a:lnTo>
                    <a:pt x="147" y="1815"/>
                  </a:lnTo>
                  <a:lnTo>
                    <a:pt x="144" y="1815"/>
                  </a:lnTo>
                  <a:lnTo>
                    <a:pt x="141" y="1814"/>
                  </a:lnTo>
                  <a:lnTo>
                    <a:pt x="136" y="1814"/>
                  </a:lnTo>
                  <a:lnTo>
                    <a:pt x="131" y="1810"/>
                  </a:lnTo>
                  <a:lnTo>
                    <a:pt x="122" y="1809"/>
                  </a:lnTo>
                  <a:lnTo>
                    <a:pt x="111" y="1803"/>
                  </a:lnTo>
                  <a:lnTo>
                    <a:pt x="99" y="1798"/>
                  </a:lnTo>
                  <a:lnTo>
                    <a:pt x="90" y="1795"/>
                  </a:lnTo>
                  <a:lnTo>
                    <a:pt x="88" y="1793"/>
                  </a:lnTo>
                  <a:lnTo>
                    <a:pt x="85" y="1790"/>
                  </a:lnTo>
                  <a:lnTo>
                    <a:pt x="84" y="1788"/>
                  </a:lnTo>
                  <a:lnTo>
                    <a:pt x="82" y="1787"/>
                  </a:lnTo>
                  <a:lnTo>
                    <a:pt x="82" y="1785"/>
                  </a:lnTo>
                  <a:lnTo>
                    <a:pt x="84" y="1784"/>
                  </a:lnTo>
                  <a:lnTo>
                    <a:pt x="85" y="1782"/>
                  </a:lnTo>
                  <a:lnTo>
                    <a:pt x="88" y="1781"/>
                  </a:lnTo>
                  <a:lnTo>
                    <a:pt x="88" y="1777"/>
                  </a:lnTo>
                  <a:lnTo>
                    <a:pt x="90" y="1776"/>
                  </a:lnTo>
                  <a:lnTo>
                    <a:pt x="90" y="1774"/>
                  </a:lnTo>
                  <a:lnTo>
                    <a:pt x="90" y="1773"/>
                  </a:lnTo>
                  <a:lnTo>
                    <a:pt x="90" y="1769"/>
                  </a:lnTo>
                  <a:lnTo>
                    <a:pt x="88" y="1768"/>
                  </a:lnTo>
                  <a:lnTo>
                    <a:pt x="88" y="1765"/>
                  </a:lnTo>
                  <a:lnTo>
                    <a:pt x="88" y="1763"/>
                  </a:lnTo>
                  <a:lnTo>
                    <a:pt x="85" y="1763"/>
                  </a:lnTo>
                  <a:lnTo>
                    <a:pt x="85" y="1762"/>
                  </a:lnTo>
                  <a:lnTo>
                    <a:pt x="82" y="1760"/>
                  </a:lnTo>
                  <a:lnTo>
                    <a:pt x="80" y="1762"/>
                  </a:lnTo>
                  <a:lnTo>
                    <a:pt x="77" y="1763"/>
                  </a:lnTo>
                  <a:lnTo>
                    <a:pt x="74" y="1763"/>
                  </a:lnTo>
                  <a:lnTo>
                    <a:pt x="71" y="1765"/>
                  </a:lnTo>
                  <a:lnTo>
                    <a:pt x="68" y="1768"/>
                  </a:lnTo>
                  <a:lnTo>
                    <a:pt x="65" y="1771"/>
                  </a:lnTo>
                  <a:lnTo>
                    <a:pt x="63" y="1774"/>
                  </a:lnTo>
                  <a:lnTo>
                    <a:pt x="60" y="1777"/>
                  </a:lnTo>
                  <a:lnTo>
                    <a:pt x="55" y="1784"/>
                  </a:lnTo>
                  <a:lnTo>
                    <a:pt x="52" y="1792"/>
                  </a:lnTo>
                  <a:lnTo>
                    <a:pt x="47" y="1798"/>
                  </a:lnTo>
                  <a:lnTo>
                    <a:pt x="44" y="1803"/>
                  </a:lnTo>
                  <a:lnTo>
                    <a:pt x="47" y="1809"/>
                  </a:lnTo>
                  <a:lnTo>
                    <a:pt x="47" y="1812"/>
                  </a:lnTo>
                  <a:lnTo>
                    <a:pt x="49" y="1815"/>
                  </a:lnTo>
                  <a:lnTo>
                    <a:pt x="49" y="1818"/>
                  </a:lnTo>
                  <a:lnTo>
                    <a:pt x="47" y="1822"/>
                  </a:lnTo>
                  <a:lnTo>
                    <a:pt x="47" y="1823"/>
                  </a:lnTo>
                  <a:lnTo>
                    <a:pt x="46" y="1825"/>
                  </a:lnTo>
                  <a:lnTo>
                    <a:pt x="44" y="1826"/>
                  </a:lnTo>
                  <a:lnTo>
                    <a:pt x="43" y="1829"/>
                  </a:lnTo>
                  <a:lnTo>
                    <a:pt x="39" y="1833"/>
                  </a:lnTo>
                  <a:lnTo>
                    <a:pt x="38" y="1834"/>
                  </a:lnTo>
                  <a:lnTo>
                    <a:pt x="36" y="1836"/>
                  </a:lnTo>
                  <a:lnTo>
                    <a:pt x="36" y="1839"/>
                  </a:lnTo>
                  <a:lnTo>
                    <a:pt x="35" y="1842"/>
                  </a:lnTo>
                  <a:lnTo>
                    <a:pt x="36" y="1844"/>
                  </a:lnTo>
                  <a:lnTo>
                    <a:pt x="36" y="1847"/>
                  </a:lnTo>
                  <a:lnTo>
                    <a:pt x="38" y="1850"/>
                  </a:lnTo>
                  <a:lnTo>
                    <a:pt x="39" y="1852"/>
                  </a:lnTo>
                  <a:lnTo>
                    <a:pt x="41" y="1853"/>
                  </a:lnTo>
                  <a:lnTo>
                    <a:pt x="43" y="1853"/>
                  </a:lnTo>
                  <a:lnTo>
                    <a:pt x="44" y="1855"/>
                  </a:lnTo>
                  <a:lnTo>
                    <a:pt x="47" y="1853"/>
                  </a:lnTo>
                  <a:lnTo>
                    <a:pt x="47" y="1852"/>
                  </a:lnTo>
                  <a:lnTo>
                    <a:pt x="49" y="1850"/>
                  </a:lnTo>
                  <a:lnTo>
                    <a:pt x="50" y="1848"/>
                  </a:lnTo>
                  <a:lnTo>
                    <a:pt x="52" y="1847"/>
                  </a:lnTo>
                  <a:lnTo>
                    <a:pt x="55" y="1847"/>
                  </a:lnTo>
                  <a:lnTo>
                    <a:pt x="57" y="1847"/>
                  </a:lnTo>
                  <a:lnTo>
                    <a:pt x="58" y="1847"/>
                  </a:lnTo>
                  <a:lnTo>
                    <a:pt x="60" y="1848"/>
                  </a:lnTo>
                  <a:lnTo>
                    <a:pt x="62" y="1850"/>
                  </a:lnTo>
                  <a:lnTo>
                    <a:pt x="63" y="1852"/>
                  </a:lnTo>
                  <a:lnTo>
                    <a:pt x="65" y="1853"/>
                  </a:lnTo>
                  <a:lnTo>
                    <a:pt x="66" y="1856"/>
                  </a:lnTo>
                  <a:lnTo>
                    <a:pt x="66" y="1858"/>
                  </a:lnTo>
                  <a:lnTo>
                    <a:pt x="69" y="1869"/>
                  </a:lnTo>
                  <a:lnTo>
                    <a:pt x="76" y="1880"/>
                  </a:lnTo>
                  <a:lnTo>
                    <a:pt x="76" y="1883"/>
                  </a:lnTo>
                  <a:lnTo>
                    <a:pt x="77" y="1885"/>
                  </a:lnTo>
                  <a:lnTo>
                    <a:pt x="77" y="1888"/>
                  </a:lnTo>
                  <a:lnTo>
                    <a:pt x="76" y="1889"/>
                  </a:lnTo>
                  <a:lnTo>
                    <a:pt x="76" y="1893"/>
                  </a:lnTo>
                  <a:lnTo>
                    <a:pt x="73" y="1893"/>
                  </a:lnTo>
                  <a:lnTo>
                    <a:pt x="69" y="1896"/>
                  </a:lnTo>
                  <a:lnTo>
                    <a:pt x="66" y="1896"/>
                  </a:lnTo>
                  <a:lnTo>
                    <a:pt x="62" y="1897"/>
                  </a:lnTo>
                  <a:lnTo>
                    <a:pt x="54" y="1900"/>
                  </a:lnTo>
                  <a:lnTo>
                    <a:pt x="44" y="1904"/>
                  </a:lnTo>
                  <a:lnTo>
                    <a:pt x="41" y="1905"/>
                  </a:lnTo>
                  <a:lnTo>
                    <a:pt x="38" y="1907"/>
                  </a:lnTo>
                  <a:lnTo>
                    <a:pt x="35" y="1910"/>
                  </a:lnTo>
                  <a:lnTo>
                    <a:pt x="32" y="1911"/>
                  </a:lnTo>
                  <a:lnTo>
                    <a:pt x="32" y="1916"/>
                  </a:lnTo>
                  <a:lnTo>
                    <a:pt x="30" y="1918"/>
                  </a:lnTo>
                  <a:lnTo>
                    <a:pt x="30" y="1924"/>
                  </a:lnTo>
                  <a:lnTo>
                    <a:pt x="30" y="1927"/>
                  </a:lnTo>
                  <a:lnTo>
                    <a:pt x="30" y="1930"/>
                  </a:lnTo>
                  <a:lnTo>
                    <a:pt x="28" y="1937"/>
                  </a:lnTo>
                  <a:lnTo>
                    <a:pt x="28" y="1938"/>
                  </a:lnTo>
                  <a:lnTo>
                    <a:pt x="27" y="1941"/>
                  </a:lnTo>
                  <a:lnTo>
                    <a:pt x="27" y="1943"/>
                  </a:lnTo>
                  <a:lnTo>
                    <a:pt x="22" y="1943"/>
                  </a:lnTo>
                  <a:lnTo>
                    <a:pt x="16" y="1943"/>
                  </a:lnTo>
                  <a:lnTo>
                    <a:pt x="14" y="1945"/>
                  </a:lnTo>
                  <a:lnTo>
                    <a:pt x="14" y="1946"/>
                  </a:lnTo>
                  <a:lnTo>
                    <a:pt x="13" y="1946"/>
                  </a:lnTo>
                  <a:lnTo>
                    <a:pt x="11" y="1948"/>
                  </a:lnTo>
                  <a:lnTo>
                    <a:pt x="11" y="1949"/>
                  </a:lnTo>
                  <a:lnTo>
                    <a:pt x="9" y="1951"/>
                  </a:lnTo>
                  <a:lnTo>
                    <a:pt x="9" y="1952"/>
                  </a:lnTo>
                  <a:lnTo>
                    <a:pt x="9" y="1956"/>
                  </a:lnTo>
                  <a:lnTo>
                    <a:pt x="9" y="1960"/>
                  </a:lnTo>
                  <a:lnTo>
                    <a:pt x="8" y="1965"/>
                  </a:lnTo>
                  <a:lnTo>
                    <a:pt x="8" y="1971"/>
                  </a:lnTo>
                  <a:lnTo>
                    <a:pt x="8" y="1976"/>
                  </a:lnTo>
                  <a:lnTo>
                    <a:pt x="6" y="1981"/>
                  </a:lnTo>
                  <a:lnTo>
                    <a:pt x="5" y="1987"/>
                  </a:lnTo>
                  <a:lnTo>
                    <a:pt x="3" y="1990"/>
                  </a:lnTo>
                  <a:lnTo>
                    <a:pt x="0" y="1995"/>
                  </a:lnTo>
                  <a:lnTo>
                    <a:pt x="1" y="1997"/>
                  </a:lnTo>
                  <a:lnTo>
                    <a:pt x="3" y="2001"/>
                  </a:lnTo>
                  <a:lnTo>
                    <a:pt x="6" y="2009"/>
                  </a:lnTo>
                  <a:lnTo>
                    <a:pt x="9" y="2017"/>
                  </a:lnTo>
                  <a:lnTo>
                    <a:pt x="14" y="2033"/>
                  </a:lnTo>
                  <a:lnTo>
                    <a:pt x="16" y="2044"/>
                  </a:lnTo>
                  <a:lnTo>
                    <a:pt x="16" y="2049"/>
                  </a:lnTo>
                  <a:lnTo>
                    <a:pt x="16" y="2053"/>
                  </a:lnTo>
                  <a:lnTo>
                    <a:pt x="14" y="2058"/>
                  </a:lnTo>
                  <a:lnTo>
                    <a:pt x="13" y="2063"/>
                  </a:lnTo>
                  <a:lnTo>
                    <a:pt x="11" y="2066"/>
                  </a:lnTo>
                  <a:lnTo>
                    <a:pt x="8" y="2069"/>
                  </a:lnTo>
                  <a:lnTo>
                    <a:pt x="3" y="2072"/>
                  </a:lnTo>
                  <a:lnTo>
                    <a:pt x="0" y="2074"/>
                  </a:lnTo>
                  <a:lnTo>
                    <a:pt x="0" y="2087"/>
                  </a:lnTo>
                  <a:lnTo>
                    <a:pt x="3" y="2087"/>
                  </a:lnTo>
                  <a:lnTo>
                    <a:pt x="6" y="2087"/>
                  </a:lnTo>
                  <a:lnTo>
                    <a:pt x="9" y="2088"/>
                  </a:lnTo>
                  <a:lnTo>
                    <a:pt x="11" y="2090"/>
                  </a:lnTo>
                  <a:lnTo>
                    <a:pt x="14" y="2090"/>
                  </a:lnTo>
                  <a:lnTo>
                    <a:pt x="16" y="2091"/>
                  </a:lnTo>
                  <a:lnTo>
                    <a:pt x="19" y="2091"/>
                  </a:lnTo>
                  <a:lnTo>
                    <a:pt x="20" y="2091"/>
                  </a:lnTo>
                  <a:lnTo>
                    <a:pt x="24" y="2091"/>
                  </a:lnTo>
                  <a:lnTo>
                    <a:pt x="25" y="2091"/>
                  </a:lnTo>
                  <a:lnTo>
                    <a:pt x="28" y="2090"/>
                  </a:lnTo>
                  <a:lnTo>
                    <a:pt x="30" y="2088"/>
                  </a:lnTo>
                  <a:lnTo>
                    <a:pt x="32" y="2087"/>
                  </a:lnTo>
                  <a:lnTo>
                    <a:pt x="35" y="2085"/>
                  </a:lnTo>
                  <a:lnTo>
                    <a:pt x="36" y="2085"/>
                  </a:lnTo>
                  <a:lnTo>
                    <a:pt x="39" y="2085"/>
                  </a:lnTo>
                  <a:lnTo>
                    <a:pt x="43" y="2085"/>
                  </a:lnTo>
                  <a:lnTo>
                    <a:pt x="44" y="2085"/>
                  </a:lnTo>
                  <a:lnTo>
                    <a:pt x="46" y="2087"/>
                  </a:lnTo>
                  <a:lnTo>
                    <a:pt x="47" y="2090"/>
                  </a:lnTo>
                  <a:lnTo>
                    <a:pt x="49" y="2093"/>
                  </a:lnTo>
                  <a:lnTo>
                    <a:pt x="52" y="2098"/>
                  </a:lnTo>
                  <a:lnTo>
                    <a:pt x="52" y="2104"/>
                  </a:lnTo>
                  <a:lnTo>
                    <a:pt x="55" y="2107"/>
                  </a:lnTo>
                  <a:lnTo>
                    <a:pt x="55" y="2110"/>
                  </a:lnTo>
                  <a:lnTo>
                    <a:pt x="57" y="2112"/>
                  </a:lnTo>
                  <a:lnTo>
                    <a:pt x="60" y="2112"/>
                  </a:lnTo>
                  <a:lnTo>
                    <a:pt x="62" y="2112"/>
                  </a:lnTo>
                  <a:lnTo>
                    <a:pt x="63" y="2112"/>
                  </a:lnTo>
                  <a:lnTo>
                    <a:pt x="65" y="2112"/>
                  </a:lnTo>
                  <a:lnTo>
                    <a:pt x="66" y="2110"/>
                  </a:lnTo>
                  <a:lnTo>
                    <a:pt x="69" y="2109"/>
                  </a:lnTo>
                  <a:lnTo>
                    <a:pt x="71" y="2105"/>
                  </a:lnTo>
                  <a:lnTo>
                    <a:pt x="73" y="2107"/>
                  </a:lnTo>
                  <a:lnTo>
                    <a:pt x="77" y="2113"/>
                  </a:lnTo>
                  <a:lnTo>
                    <a:pt x="84" y="2120"/>
                  </a:lnTo>
                  <a:lnTo>
                    <a:pt x="85" y="2121"/>
                  </a:lnTo>
                  <a:lnTo>
                    <a:pt x="90" y="2121"/>
                  </a:lnTo>
                  <a:lnTo>
                    <a:pt x="96" y="2121"/>
                  </a:lnTo>
                  <a:lnTo>
                    <a:pt x="98" y="2123"/>
                  </a:lnTo>
                  <a:lnTo>
                    <a:pt x="101" y="2123"/>
                  </a:lnTo>
                  <a:lnTo>
                    <a:pt x="103" y="2123"/>
                  </a:lnTo>
                  <a:lnTo>
                    <a:pt x="103" y="2124"/>
                  </a:lnTo>
                  <a:lnTo>
                    <a:pt x="103" y="2128"/>
                  </a:lnTo>
                  <a:lnTo>
                    <a:pt x="103" y="2129"/>
                  </a:lnTo>
                  <a:lnTo>
                    <a:pt x="101" y="2131"/>
                  </a:lnTo>
                  <a:lnTo>
                    <a:pt x="101" y="2132"/>
                  </a:lnTo>
                  <a:lnTo>
                    <a:pt x="98" y="2132"/>
                  </a:lnTo>
                  <a:lnTo>
                    <a:pt x="93" y="2135"/>
                  </a:lnTo>
                  <a:lnTo>
                    <a:pt x="90" y="2137"/>
                  </a:lnTo>
                  <a:lnTo>
                    <a:pt x="88" y="2139"/>
                  </a:lnTo>
                  <a:lnTo>
                    <a:pt x="85" y="2140"/>
                  </a:lnTo>
                  <a:lnTo>
                    <a:pt x="85" y="2143"/>
                  </a:lnTo>
                  <a:lnTo>
                    <a:pt x="85" y="2145"/>
                  </a:lnTo>
                  <a:lnTo>
                    <a:pt x="85" y="2148"/>
                  </a:lnTo>
                  <a:lnTo>
                    <a:pt x="85" y="2150"/>
                  </a:lnTo>
                  <a:lnTo>
                    <a:pt x="87" y="2151"/>
                  </a:lnTo>
                  <a:lnTo>
                    <a:pt x="88" y="2153"/>
                  </a:lnTo>
                  <a:lnTo>
                    <a:pt x="92" y="2153"/>
                  </a:lnTo>
                  <a:lnTo>
                    <a:pt x="93" y="2153"/>
                  </a:lnTo>
                  <a:lnTo>
                    <a:pt x="98" y="2153"/>
                  </a:lnTo>
                  <a:lnTo>
                    <a:pt x="101" y="2153"/>
                  </a:lnTo>
                  <a:lnTo>
                    <a:pt x="104" y="2153"/>
                  </a:lnTo>
                  <a:lnTo>
                    <a:pt x="107" y="2154"/>
                  </a:lnTo>
                  <a:lnTo>
                    <a:pt x="111" y="2156"/>
                  </a:lnTo>
                  <a:lnTo>
                    <a:pt x="112" y="2159"/>
                  </a:lnTo>
                  <a:lnTo>
                    <a:pt x="114" y="2161"/>
                  </a:lnTo>
                  <a:lnTo>
                    <a:pt x="117" y="2161"/>
                  </a:lnTo>
                  <a:lnTo>
                    <a:pt x="120" y="2162"/>
                  </a:lnTo>
                  <a:lnTo>
                    <a:pt x="122" y="2164"/>
                  </a:lnTo>
                  <a:lnTo>
                    <a:pt x="125" y="2162"/>
                  </a:lnTo>
                  <a:lnTo>
                    <a:pt x="126" y="2162"/>
                  </a:lnTo>
                  <a:lnTo>
                    <a:pt x="129" y="2161"/>
                  </a:lnTo>
                  <a:lnTo>
                    <a:pt x="131" y="2161"/>
                  </a:lnTo>
                  <a:lnTo>
                    <a:pt x="134" y="2159"/>
                  </a:lnTo>
                  <a:lnTo>
                    <a:pt x="139" y="2158"/>
                  </a:lnTo>
                  <a:lnTo>
                    <a:pt x="142" y="2154"/>
                  </a:lnTo>
                  <a:lnTo>
                    <a:pt x="145" y="2153"/>
                  </a:lnTo>
                  <a:lnTo>
                    <a:pt x="150" y="2151"/>
                  </a:lnTo>
                  <a:lnTo>
                    <a:pt x="155" y="2150"/>
                  </a:lnTo>
                  <a:lnTo>
                    <a:pt x="164" y="2145"/>
                  </a:lnTo>
                  <a:lnTo>
                    <a:pt x="172" y="2143"/>
                  </a:lnTo>
                  <a:lnTo>
                    <a:pt x="175" y="2142"/>
                  </a:lnTo>
                  <a:lnTo>
                    <a:pt x="177" y="2140"/>
                  </a:lnTo>
                  <a:lnTo>
                    <a:pt x="180" y="2140"/>
                  </a:lnTo>
                  <a:lnTo>
                    <a:pt x="182" y="2139"/>
                  </a:lnTo>
                  <a:lnTo>
                    <a:pt x="185" y="2139"/>
                  </a:lnTo>
                  <a:lnTo>
                    <a:pt x="193" y="2135"/>
                  </a:lnTo>
                  <a:lnTo>
                    <a:pt x="201" y="2134"/>
                  </a:lnTo>
                  <a:lnTo>
                    <a:pt x="207" y="2131"/>
                  </a:lnTo>
                  <a:lnTo>
                    <a:pt x="213" y="2129"/>
                  </a:lnTo>
                  <a:lnTo>
                    <a:pt x="220" y="2128"/>
                  </a:lnTo>
                  <a:lnTo>
                    <a:pt x="224" y="2128"/>
                  </a:lnTo>
                  <a:lnTo>
                    <a:pt x="227" y="2126"/>
                  </a:lnTo>
                  <a:lnTo>
                    <a:pt x="231" y="2126"/>
                  </a:lnTo>
                  <a:lnTo>
                    <a:pt x="235" y="2126"/>
                  </a:lnTo>
                  <a:lnTo>
                    <a:pt x="240" y="2126"/>
                  </a:lnTo>
                  <a:lnTo>
                    <a:pt x="243" y="2126"/>
                  </a:lnTo>
                  <a:lnTo>
                    <a:pt x="246" y="2126"/>
                  </a:lnTo>
                  <a:lnTo>
                    <a:pt x="248" y="2126"/>
                  </a:lnTo>
                  <a:lnTo>
                    <a:pt x="248" y="2131"/>
                  </a:lnTo>
                  <a:lnTo>
                    <a:pt x="246" y="2134"/>
                  </a:lnTo>
                  <a:lnTo>
                    <a:pt x="246" y="2135"/>
                  </a:lnTo>
                  <a:lnTo>
                    <a:pt x="245" y="2137"/>
                  </a:lnTo>
                  <a:lnTo>
                    <a:pt x="245" y="2139"/>
                  </a:lnTo>
                  <a:lnTo>
                    <a:pt x="243" y="2139"/>
                  </a:lnTo>
                  <a:lnTo>
                    <a:pt x="240" y="2140"/>
                  </a:lnTo>
                  <a:lnTo>
                    <a:pt x="237" y="2142"/>
                  </a:lnTo>
                  <a:lnTo>
                    <a:pt x="234" y="2143"/>
                  </a:lnTo>
                  <a:lnTo>
                    <a:pt x="229" y="2143"/>
                  </a:lnTo>
                  <a:lnTo>
                    <a:pt x="229" y="2156"/>
                  </a:lnTo>
                  <a:lnTo>
                    <a:pt x="235" y="2164"/>
                  </a:lnTo>
                  <a:lnTo>
                    <a:pt x="242" y="2170"/>
                  </a:lnTo>
                  <a:lnTo>
                    <a:pt x="248" y="2176"/>
                  </a:lnTo>
                  <a:lnTo>
                    <a:pt x="254" y="2183"/>
                  </a:lnTo>
                  <a:lnTo>
                    <a:pt x="259" y="2189"/>
                  </a:lnTo>
                  <a:lnTo>
                    <a:pt x="265" y="2197"/>
                  </a:lnTo>
                  <a:lnTo>
                    <a:pt x="267" y="2202"/>
                  </a:lnTo>
                  <a:lnTo>
                    <a:pt x="270" y="2205"/>
                  </a:lnTo>
                  <a:lnTo>
                    <a:pt x="272" y="2210"/>
                  </a:lnTo>
                  <a:lnTo>
                    <a:pt x="343" y="2415"/>
                  </a:lnTo>
                  <a:lnTo>
                    <a:pt x="344" y="2416"/>
                  </a:lnTo>
                  <a:lnTo>
                    <a:pt x="344" y="2418"/>
                  </a:lnTo>
                  <a:lnTo>
                    <a:pt x="344" y="2419"/>
                  </a:lnTo>
                  <a:lnTo>
                    <a:pt x="346" y="2421"/>
                  </a:lnTo>
                  <a:lnTo>
                    <a:pt x="348" y="2422"/>
                  </a:lnTo>
                  <a:lnTo>
                    <a:pt x="349" y="2424"/>
                  </a:lnTo>
                  <a:lnTo>
                    <a:pt x="351" y="2424"/>
                  </a:lnTo>
                  <a:lnTo>
                    <a:pt x="354" y="2424"/>
                  </a:lnTo>
                  <a:lnTo>
                    <a:pt x="357" y="2422"/>
                  </a:lnTo>
                  <a:lnTo>
                    <a:pt x="359" y="2421"/>
                  </a:lnTo>
                  <a:lnTo>
                    <a:pt x="362" y="2419"/>
                  </a:lnTo>
                  <a:lnTo>
                    <a:pt x="363" y="2416"/>
                  </a:lnTo>
                  <a:lnTo>
                    <a:pt x="365" y="2413"/>
                  </a:lnTo>
                  <a:lnTo>
                    <a:pt x="365" y="2411"/>
                  </a:lnTo>
                  <a:lnTo>
                    <a:pt x="366" y="2408"/>
                  </a:lnTo>
                  <a:lnTo>
                    <a:pt x="370" y="2402"/>
                  </a:lnTo>
                  <a:lnTo>
                    <a:pt x="373" y="2397"/>
                  </a:lnTo>
                  <a:lnTo>
                    <a:pt x="374" y="2396"/>
                  </a:lnTo>
                  <a:lnTo>
                    <a:pt x="378" y="2393"/>
                  </a:lnTo>
                  <a:lnTo>
                    <a:pt x="379" y="2393"/>
                  </a:lnTo>
                  <a:lnTo>
                    <a:pt x="382" y="2391"/>
                  </a:lnTo>
                  <a:lnTo>
                    <a:pt x="385" y="2393"/>
                  </a:lnTo>
                  <a:lnTo>
                    <a:pt x="387" y="2393"/>
                  </a:lnTo>
                  <a:lnTo>
                    <a:pt x="392" y="2396"/>
                  </a:lnTo>
                  <a:lnTo>
                    <a:pt x="395" y="2396"/>
                  </a:lnTo>
                  <a:lnTo>
                    <a:pt x="398" y="2399"/>
                  </a:lnTo>
                  <a:lnTo>
                    <a:pt x="400" y="2400"/>
                  </a:lnTo>
                  <a:lnTo>
                    <a:pt x="401" y="2402"/>
                  </a:lnTo>
                  <a:lnTo>
                    <a:pt x="403" y="2404"/>
                  </a:lnTo>
                  <a:lnTo>
                    <a:pt x="403" y="2405"/>
                  </a:lnTo>
                  <a:lnTo>
                    <a:pt x="403" y="2408"/>
                  </a:lnTo>
                  <a:lnTo>
                    <a:pt x="403" y="2410"/>
                  </a:lnTo>
                  <a:lnTo>
                    <a:pt x="403" y="2413"/>
                  </a:lnTo>
                  <a:lnTo>
                    <a:pt x="404" y="2415"/>
                  </a:lnTo>
                  <a:lnTo>
                    <a:pt x="406" y="2418"/>
                  </a:lnTo>
                  <a:lnTo>
                    <a:pt x="408" y="2421"/>
                  </a:lnTo>
                  <a:lnTo>
                    <a:pt x="411" y="2424"/>
                  </a:lnTo>
                  <a:lnTo>
                    <a:pt x="412" y="2427"/>
                  </a:lnTo>
                  <a:lnTo>
                    <a:pt x="414" y="2430"/>
                  </a:lnTo>
                  <a:lnTo>
                    <a:pt x="414" y="2434"/>
                  </a:lnTo>
                  <a:lnTo>
                    <a:pt x="414" y="2437"/>
                  </a:lnTo>
                  <a:lnTo>
                    <a:pt x="414" y="2441"/>
                  </a:lnTo>
                  <a:lnTo>
                    <a:pt x="415" y="2440"/>
                  </a:lnTo>
                  <a:lnTo>
                    <a:pt x="420" y="2440"/>
                  </a:lnTo>
                  <a:lnTo>
                    <a:pt x="423" y="2440"/>
                  </a:lnTo>
                  <a:lnTo>
                    <a:pt x="427" y="2440"/>
                  </a:lnTo>
                  <a:lnTo>
                    <a:pt x="434" y="2440"/>
                  </a:lnTo>
                  <a:lnTo>
                    <a:pt x="442" y="2441"/>
                  </a:lnTo>
                  <a:lnTo>
                    <a:pt x="447" y="2441"/>
                  </a:lnTo>
                  <a:lnTo>
                    <a:pt x="452" y="2440"/>
                  </a:lnTo>
                  <a:lnTo>
                    <a:pt x="455" y="2440"/>
                  </a:lnTo>
                  <a:lnTo>
                    <a:pt x="460" y="2440"/>
                  </a:lnTo>
                  <a:lnTo>
                    <a:pt x="466" y="2437"/>
                  </a:lnTo>
                  <a:lnTo>
                    <a:pt x="474" y="2435"/>
                  </a:lnTo>
                  <a:lnTo>
                    <a:pt x="480" y="2432"/>
                  </a:lnTo>
                  <a:lnTo>
                    <a:pt x="487" y="2432"/>
                  </a:lnTo>
                  <a:lnTo>
                    <a:pt x="493" y="2429"/>
                  </a:lnTo>
                  <a:lnTo>
                    <a:pt x="501" y="2429"/>
                  </a:lnTo>
                  <a:lnTo>
                    <a:pt x="504" y="2429"/>
                  </a:lnTo>
                  <a:lnTo>
                    <a:pt x="507" y="2430"/>
                  </a:lnTo>
                  <a:lnTo>
                    <a:pt x="510" y="2432"/>
                  </a:lnTo>
                  <a:lnTo>
                    <a:pt x="513" y="2432"/>
                  </a:lnTo>
                  <a:lnTo>
                    <a:pt x="518" y="2434"/>
                  </a:lnTo>
                  <a:lnTo>
                    <a:pt x="521" y="2437"/>
                  </a:lnTo>
                  <a:lnTo>
                    <a:pt x="523" y="2440"/>
                  </a:lnTo>
                  <a:lnTo>
                    <a:pt x="526" y="2441"/>
                  </a:lnTo>
                  <a:lnTo>
                    <a:pt x="528" y="2445"/>
                  </a:lnTo>
                  <a:lnTo>
                    <a:pt x="531" y="2446"/>
                  </a:lnTo>
                  <a:lnTo>
                    <a:pt x="534" y="2449"/>
                  </a:lnTo>
                  <a:lnTo>
                    <a:pt x="536" y="2452"/>
                  </a:lnTo>
                  <a:lnTo>
                    <a:pt x="539" y="2460"/>
                  </a:lnTo>
                  <a:lnTo>
                    <a:pt x="542" y="2465"/>
                  </a:lnTo>
                  <a:lnTo>
                    <a:pt x="545" y="2465"/>
                  </a:lnTo>
                  <a:lnTo>
                    <a:pt x="547" y="2465"/>
                  </a:lnTo>
                  <a:lnTo>
                    <a:pt x="543" y="2473"/>
                  </a:lnTo>
                  <a:lnTo>
                    <a:pt x="543" y="2476"/>
                  </a:lnTo>
                  <a:lnTo>
                    <a:pt x="545" y="2479"/>
                  </a:lnTo>
                  <a:lnTo>
                    <a:pt x="545" y="2482"/>
                  </a:lnTo>
                  <a:lnTo>
                    <a:pt x="547" y="2486"/>
                  </a:lnTo>
                  <a:lnTo>
                    <a:pt x="548" y="2487"/>
                  </a:lnTo>
                  <a:lnTo>
                    <a:pt x="550" y="2489"/>
                  </a:lnTo>
                  <a:lnTo>
                    <a:pt x="553" y="2490"/>
                  </a:lnTo>
                  <a:lnTo>
                    <a:pt x="554" y="2492"/>
                  </a:lnTo>
                  <a:lnTo>
                    <a:pt x="564" y="2497"/>
                  </a:lnTo>
                  <a:lnTo>
                    <a:pt x="575" y="2500"/>
                  </a:lnTo>
                  <a:lnTo>
                    <a:pt x="577" y="2501"/>
                  </a:lnTo>
                  <a:lnTo>
                    <a:pt x="578" y="2503"/>
                  </a:lnTo>
                  <a:lnTo>
                    <a:pt x="580" y="2503"/>
                  </a:lnTo>
                  <a:lnTo>
                    <a:pt x="580" y="2506"/>
                  </a:lnTo>
                  <a:lnTo>
                    <a:pt x="580" y="2509"/>
                  </a:lnTo>
                  <a:lnTo>
                    <a:pt x="581" y="2512"/>
                  </a:lnTo>
                  <a:lnTo>
                    <a:pt x="580" y="2519"/>
                  </a:lnTo>
                  <a:lnTo>
                    <a:pt x="580" y="2527"/>
                  </a:lnTo>
                  <a:lnTo>
                    <a:pt x="580" y="2530"/>
                  </a:lnTo>
                  <a:lnTo>
                    <a:pt x="580" y="2531"/>
                  </a:lnTo>
                  <a:lnTo>
                    <a:pt x="581" y="2534"/>
                  </a:lnTo>
                  <a:lnTo>
                    <a:pt x="584" y="2536"/>
                  </a:lnTo>
                  <a:lnTo>
                    <a:pt x="586" y="2539"/>
                  </a:lnTo>
                  <a:lnTo>
                    <a:pt x="588" y="2539"/>
                  </a:lnTo>
                  <a:lnTo>
                    <a:pt x="591" y="2541"/>
                  </a:lnTo>
                  <a:lnTo>
                    <a:pt x="594" y="2542"/>
                  </a:lnTo>
                  <a:lnTo>
                    <a:pt x="600" y="2544"/>
                  </a:lnTo>
                  <a:lnTo>
                    <a:pt x="605" y="2544"/>
                  </a:lnTo>
                  <a:lnTo>
                    <a:pt x="613" y="2546"/>
                  </a:lnTo>
                  <a:lnTo>
                    <a:pt x="618" y="2546"/>
                  </a:lnTo>
                  <a:lnTo>
                    <a:pt x="618" y="2549"/>
                  </a:lnTo>
                  <a:lnTo>
                    <a:pt x="619" y="2552"/>
                  </a:lnTo>
                  <a:lnTo>
                    <a:pt x="621" y="2553"/>
                  </a:lnTo>
                  <a:lnTo>
                    <a:pt x="622" y="2555"/>
                  </a:lnTo>
                  <a:lnTo>
                    <a:pt x="624" y="2557"/>
                  </a:lnTo>
                  <a:lnTo>
                    <a:pt x="626" y="2558"/>
                  </a:lnTo>
                  <a:lnTo>
                    <a:pt x="629" y="2558"/>
                  </a:lnTo>
                  <a:lnTo>
                    <a:pt x="630" y="2560"/>
                  </a:lnTo>
                  <a:lnTo>
                    <a:pt x="633" y="2558"/>
                  </a:lnTo>
                  <a:lnTo>
                    <a:pt x="637" y="2557"/>
                  </a:lnTo>
                  <a:lnTo>
                    <a:pt x="638" y="2557"/>
                  </a:lnTo>
                  <a:lnTo>
                    <a:pt x="641" y="2555"/>
                  </a:lnTo>
                  <a:lnTo>
                    <a:pt x="645" y="2552"/>
                  </a:lnTo>
                  <a:lnTo>
                    <a:pt x="648" y="2549"/>
                  </a:lnTo>
                  <a:lnTo>
                    <a:pt x="651" y="2544"/>
                  </a:lnTo>
                  <a:lnTo>
                    <a:pt x="656" y="2541"/>
                  </a:lnTo>
                  <a:lnTo>
                    <a:pt x="659" y="2539"/>
                  </a:lnTo>
                  <a:lnTo>
                    <a:pt x="660" y="2538"/>
                  </a:lnTo>
                  <a:lnTo>
                    <a:pt x="663" y="2536"/>
                  </a:lnTo>
                  <a:lnTo>
                    <a:pt x="667" y="2536"/>
                  </a:lnTo>
                  <a:lnTo>
                    <a:pt x="667" y="2542"/>
                  </a:lnTo>
                  <a:lnTo>
                    <a:pt x="667" y="2549"/>
                  </a:lnTo>
                  <a:lnTo>
                    <a:pt x="667" y="2553"/>
                  </a:lnTo>
                  <a:lnTo>
                    <a:pt x="667" y="2560"/>
                  </a:lnTo>
                  <a:lnTo>
                    <a:pt x="667" y="2561"/>
                  </a:lnTo>
                  <a:lnTo>
                    <a:pt x="667" y="2564"/>
                  </a:lnTo>
                  <a:lnTo>
                    <a:pt x="668" y="2566"/>
                  </a:lnTo>
                  <a:lnTo>
                    <a:pt x="670" y="2569"/>
                  </a:lnTo>
                  <a:lnTo>
                    <a:pt x="673" y="2572"/>
                  </a:lnTo>
                  <a:lnTo>
                    <a:pt x="675" y="2574"/>
                  </a:lnTo>
                  <a:lnTo>
                    <a:pt x="678" y="2577"/>
                  </a:lnTo>
                  <a:lnTo>
                    <a:pt x="679" y="2580"/>
                  </a:lnTo>
                  <a:lnTo>
                    <a:pt x="682" y="2582"/>
                  </a:lnTo>
                  <a:lnTo>
                    <a:pt x="687" y="2583"/>
                  </a:lnTo>
                  <a:lnTo>
                    <a:pt x="697" y="2583"/>
                  </a:lnTo>
                  <a:lnTo>
                    <a:pt x="701" y="2583"/>
                  </a:lnTo>
                  <a:lnTo>
                    <a:pt x="705" y="2582"/>
                  </a:lnTo>
                  <a:lnTo>
                    <a:pt x="709" y="2582"/>
                  </a:lnTo>
                  <a:lnTo>
                    <a:pt x="712" y="2580"/>
                  </a:lnTo>
                  <a:lnTo>
                    <a:pt x="716" y="2580"/>
                  </a:lnTo>
                  <a:lnTo>
                    <a:pt x="719" y="2577"/>
                  </a:lnTo>
                  <a:lnTo>
                    <a:pt x="722" y="2574"/>
                  </a:lnTo>
                  <a:lnTo>
                    <a:pt x="725" y="2572"/>
                  </a:lnTo>
                  <a:lnTo>
                    <a:pt x="725" y="2569"/>
                  </a:lnTo>
                  <a:lnTo>
                    <a:pt x="725" y="2568"/>
                  </a:lnTo>
                  <a:lnTo>
                    <a:pt x="727" y="2564"/>
                  </a:lnTo>
                  <a:lnTo>
                    <a:pt x="728" y="2561"/>
                  </a:lnTo>
                  <a:lnTo>
                    <a:pt x="730" y="2560"/>
                  </a:lnTo>
                  <a:lnTo>
                    <a:pt x="731" y="2558"/>
                  </a:lnTo>
                  <a:lnTo>
                    <a:pt x="733" y="2557"/>
                  </a:lnTo>
                  <a:lnTo>
                    <a:pt x="736" y="2555"/>
                  </a:lnTo>
                  <a:lnTo>
                    <a:pt x="741" y="2553"/>
                  </a:lnTo>
                  <a:lnTo>
                    <a:pt x="744" y="2552"/>
                  </a:lnTo>
                  <a:lnTo>
                    <a:pt x="749" y="2552"/>
                  </a:lnTo>
                  <a:lnTo>
                    <a:pt x="758" y="2552"/>
                  </a:lnTo>
                  <a:lnTo>
                    <a:pt x="766" y="2552"/>
                  </a:lnTo>
                  <a:lnTo>
                    <a:pt x="771" y="2550"/>
                  </a:lnTo>
                  <a:lnTo>
                    <a:pt x="776" y="2549"/>
                  </a:lnTo>
                  <a:lnTo>
                    <a:pt x="779" y="2549"/>
                  </a:lnTo>
                  <a:lnTo>
                    <a:pt x="782" y="2547"/>
                  </a:lnTo>
                  <a:lnTo>
                    <a:pt x="790" y="2544"/>
                  </a:lnTo>
                  <a:lnTo>
                    <a:pt x="796" y="2538"/>
                  </a:lnTo>
                  <a:lnTo>
                    <a:pt x="803" y="2533"/>
                  </a:lnTo>
                  <a:lnTo>
                    <a:pt x="807" y="2530"/>
                  </a:lnTo>
                  <a:lnTo>
                    <a:pt x="807" y="2531"/>
                  </a:lnTo>
                  <a:lnTo>
                    <a:pt x="823" y="2520"/>
                  </a:lnTo>
                  <a:lnTo>
                    <a:pt x="836" y="2511"/>
                  </a:lnTo>
                  <a:lnTo>
                    <a:pt x="848" y="2500"/>
                  </a:lnTo>
                  <a:lnTo>
                    <a:pt x="861" y="2492"/>
                  </a:lnTo>
                  <a:lnTo>
                    <a:pt x="872" y="2482"/>
                  </a:lnTo>
                  <a:lnTo>
                    <a:pt x="883" y="2476"/>
                  </a:lnTo>
                  <a:lnTo>
                    <a:pt x="889" y="2473"/>
                  </a:lnTo>
                  <a:lnTo>
                    <a:pt x="896" y="2470"/>
                  </a:lnTo>
                  <a:lnTo>
                    <a:pt x="900" y="2468"/>
                  </a:lnTo>
                  <a:lnTo>
                    <a:pt x="907" y="2467"/>
                  </a:lnTo>
                  <a:lnTo>
                    <a:pt x="912" y="2465"/>
                  </a:lnTo>
                  <a:lnTo>
                    <a:pt x="915" y="2464"/>
                  </a:lnTo>
                  <a:lnTo>
                    <a:pt x="919" y="2462"/>
                  </a:lnTo>
                  <a:lnTo>
                    <a:pt x="926" y="2462"/>
                  </a:lnTo>
                  <a:lnTo>
                    <a:pt x="935" y="2460"/>
                  </a:lnTo>
                  <a:lnTo>
                    <a:pt x="945" y="2460"/>
                  </a:lnTo>
                  <a:lnTo>
                    <a:pt x="956" y="2460"/>
                  </a:lnTo>
                  <a:lnTo>
                    <a:pt x="965" y="2462"/>
                  </a:lnTo>
                  <a:lnTo>
                    <a:pt x="976" y="2462"/>
                  </a:lnTo>
                  <a:lnTo>
                    <a:pt x="986" y="2464"/>
                  </a:lnTo>
                  <a:lnTo>
                    <a:pt x="994" y="2465"/>
                  </a:lnTo>
                  <a:lnTo>
                    <a:pt x="1003" y="2468"/>
                  </a:lnTo>
                  <a:lnTo>
                    <a:pt x="1011" y="2470"/>
                  </a:lnTo>
                  <a:lnTo>
                    <a:pt x="1017" y="2473"/>
                  </a:lnTo>
                  <a:lnTo>
                    <a:pt x="1021" y="2475"/>
                  </a:lnTo>
                  <a:lnTo>
                    <a:pt x="1022" y="2476"/>
                  </a:lnTo>
                  <a:lnTo>
                    <a:pt x="1025" y="2478"/>
                  </a:lnTo>
                  <a:lnTo>
                    <a:pt x="1027" y="2481"/>
                  </a:lnTo>
                  <a:lnTo>
                    <a:pt x="1028" y="2482"/>
                  </a:lnTo>
                  <a:lnTo>
                    <a:pt x="1028" y="2486"/>
                  </a:lnTo>
                  <a:lnTo>
                    <a:pt x="1028" y="2487"/>
                  </a:lnTo>
                  <a:lnTo>
                    <a:pt x="1028" y="2490"/>
                  </a:lnTo>
                  <a:lnTo>
                    <a:pt x="1028" y="2493"/>
                  </a:lnTo>
                  <a:lnTo>
                    <a:pt x="1028" y="2495"/>
                  </a:lnTo>
                  <a:lnTo>
                    <a:pt x="1030" y="2498"/>
                  </a:lnTo>
                  <a:lnTo>
                    <a:pt x="1030" y="2500"/>
                  </a:lnTo>
                  <a:lnTo>
                    <a:pt x="1032" y="2503"/>
                  </a:lnTo>
                  <a:lnTo>
                    <a:pt x="1033" y="2503"/>
                  </a:lnTo>
                  <a:lnTo>
                    <a:pt x="1035" y="2506"/>
                  </a:lnTo>
                  <a:lnTo>
                    <a:pt x="1036" y="2508"/>
                  </a:lnTo>
                  <a:lnTo>
                    <a:pt x="1038" y="2508"/>
                  </a:lnTo>
                  <a:lnTo>
                    <a:pt x="1041" y="2511"/>
                  </a:lnTo>
                  <a:lnTo>
                    <a:pt x="1043" y="2511"/>
                  </a:lnTo>
                  <a:lnTo>
                    <a:pt x="1049" y="2514"/>
                  </a:lnTo>
                  <a:lnTo>
                    <a:pt x="1055" y="2516"/>
                  </a:lnTo>
                  <a:lnTo>
                    <a:pt x="1062" y="2516"/>
                  </a:lnTo>
                  <a:lnTo>
                    <a:pt x="1068" y="2517"/>
                  </a:lnTo>
                  <a:lnTo>
                    <a:pt x="1076" y="2519"/>
                  </a:lnTo>
                  <a:lnTo>
                    <a:pt x="1082" y="2519"/>
                  </a:lnTo>
                  <a:lnTo>
                    <a:pt x="1098" y="2519"/>
                  </a:lnTo>
                  <a:lnTo>
                    <a:pt x="1114" y="2519"/>
                  </a:lnTo>
                  <a:lnTo>
                    <a:pt x="1125" y="2519"/>
                  </a:lnTo>
                  <a:lnTo>
                    <a:pt x="1137" y="2519"/>
                  </a:lnTo>
                  <a:lnTo>
                    <a:pt x="1149" y="2519"/>
                  </a:lnTo>
                  <a:lnTo>
                    <a:pt x="1158" y="2517"/>
                  </a:lnTo>
                  <a:lnTo>
                    <a:pt x="1167" y="2516"/>
                  </a:lnTo>
                  <a:lnTo>
                    <a:pt x="1177" y="2514"/>
                  </a:lnTo>
                  <a:lnTo>
                    <a:pt x="1183" y="2512"/>
                  </a:lnTo>
                  <a:lnTo>
                    <a:pt x="1191" y="2511"/>
                  </a:lnTo>
                  <a:lnTo>
                    <a:pt x="1194" y="2508"/>
                  </a:lnTo>
                  <a:lnTo>
                    <a:pt x="1198" y="2508"/>
                  </a:lnTo>
                  <a:lnTo>
                    <a:pt x="1201" y="2506"/>
                  </a:lnTo>
                  <a:lnTo>
                    <a:pt x="1204" y="2503"/>
                  </a:lnTo>
                  <a:lnTo>
                    <a:pt x="1207" y="2501"/>
                  </a:lnTo>
                  <a:lnTo>
                    <a:pt x="1209" y="2500"/>
                  </a:lnTo>
                  <a:lnTo>
                    <a:pt x="1210" y="2497"/>
                  </a:lnTo>
                  <a:lnTo>
                    <a:pt x="1212" y="2493"/>
                  </a:lnTo>
                  <a:lnTo>
                    <a:pt x="1215" y="2490"/>
                  </a:lnTo>
                  <a:lnTo>
                    <a:pt x="1215" y="2487"/>
                  </a:lnTo>
                  <a:lnTo>
                    <a:pt x="1216" y="2484"/>
                  </a:lnTo>
                  <a:lnTo>
                    <a:pt x="1218" y="2481"/>
                  </a:lnTo>
                  <a:lnTo>
                    <a:pt x="1218" y="2478"/>
                  </a:lnTo>
                  <a:lnTo>
                    <a:pt x="1220" y="2473"/>
                  </a:lnTo>
                  <a:lnTo>
                    <a:pt x="1220" y="2468"/>
                  </a:lnTo>
                  <a:lnTo>
                    <a:pt x="1220" y="2465"/>
                  </a:lnTo>
                  <a:lnTo>
                    <a:pt x="1220" y="2462"/>
                  </a:lnTo>
                  <a:lnTo>
                    <a:pt x="1218" y="2460"/>
                  </a:lnTo>
                  <a:lnTo>
                    <a:pt x="1216" y="2457"/>
                  </a:lnTo>
                  <a:lnTo>
                    <a:pt x="1215" y="2456"/>
                  </a:lnTo>
                  <a:lnTo>
                    <a:pt x="1210" y="2452"/>
                  </a:lnTo>
                  <a:lnTo>
                    <a:pt x="1205" y="2446"/>
                  </a:lnTo>
                  <a:lnTo>
                    <a:pt x="1202" y="2445"/>
                  </a:lnTo>
                  <a:lnTo>
                    <a:pt x="1201" y="2441"/>
                  </a:lnTo>
                  <a:lnTo>
                    <a:pt x="1198" y="2440"/>
                  </a:lnTo>
                  <a:lnTo>
                    <a:pt x="1196" y="2437"/>
                  </a:lnTo>
                  <a:lnTo>
                    <a:pt x="1194" y="2432"/>
                  </a:lnTo>
                  <a:lnTo>
                    <a:pt x="1193" y="2429"/>
                  </a:lnTo>
                  <a:lnTo>
                    <a:pt x="1191" y="2426"/>
                  </a:lnTo>
                  <a:lnTo>
                    <a:pt x="1191" y="2421"/>
                  </a:lnTo>
                  <a:lnTo>
                    <a:pt x="1191" y="2415"/>
                  </a:lnTo>
                  <a:lnTo>
                    <a:pt x="1193" y="2408"/>
                  </a:lnTo>
                  <a:lnTo>
                    <a:pt x="1194" y="2402"/>
                  </a:lnTo>
                  <a:lnTo>
                    <a:pt x="1196" y="2396"/>
                  </a:lnTo>
                  <a:lnTo>
                    <a:pt x="1199" y="2391"/>
                  </a:lnTo>
                  <a:lnTo>
                    <a:pt x="1202" y="2385"/>
                  </a:lnTo>
                  <a:lnTo>
                    <a:pt x="1204" y="2378"/>
                  </a:lnTo>
                  <a:lnTo>
                    <a:pt x="1209" y="2374"/>
                  </a:lnTo>
                  <a:lnTo>
                    <a:pt x="1215" y="2364"/>
                  </a:lnTo>
                  <a:lnTo>
                    <a:pt x="1223" y="2355"/>
                  </a:lnTo>
                  <a:lnTo>
                    <a:pt x="1228" y="2345"/>
                  </a:lnTo>
                  <a:lnTo>
                    <a:pt x="1251" y="2342"/>
                  </a:lnTo>
                  <a:lnTo>
                    <a:pt x="1270" y="2345"/>
                  </a:lnTo>
                  <a:lnTo>
                    <a:pt x="1289" y="2350"/>
                  </a:lnTo>
                  <a:lnTo>
                    <a:pt x="1310" y="2353"/>
                  </a:lnTo>
                  <a:lnTo>
                    <a:pt x="1330" y="2358"/>
                  </a:lnTo>
                  <a:lnTo>
                    <a:pt x="1349" y="2361"/>
                  </a:lnTo>
                  <a:lnTo>
                    <a:pt x="1368" y="2366"/>
                  </a:lnTo>
                  <a:lnTo>
                    <a:pt x="1386" y="2370"/>
                  </a:lnTo>
                  <a:lnTo>
                    <a:pt x="1389" y="2372"/>
                  </a:lnTo>
                  <a:lnTo>
                    <a:pt x="1390" y="2374"/>
                  </a:lnTo>
                  <a:lnTo>
                    <a:pt x="1393" y="2375"/>
                  </a:lnTo>
                  <a:lnTo>
                    <a:pt x="1395" y="2377"/>
                  </a:lnTo>
                  <a:lnTo>
                    <a:pt x="1397" y="2378"/>
                  </a:lnTo>
                  <a:lnTo>
                    <a:pt x="1400" y="2380"/>
                  </a:lnTo>
                  <a:lnTo>
                    <a:pt x="1401" y="2383"/>
                  </a:lnTo>
                  <a:lnTo>
                    <a:pt x="1401" y="2386"/>
                  </a:lnTo>
                  <a:lnTo>
                    <a:pt x="1408" y="2399"/>
                  </a:lnTo>
                  <a:lnTo>
                    <a:pt x="1412" y="2411"/>
                  </a:lnTo>
                  <a:lnTo>
                    <a:pt x="1416" y="2416"/>
                  </a:lnTo>
                  <a:lnTo>
                    <a:pt x="1419" y="2424"/>
                  </a:lnTo>
                  <a:lnTo>
                    <a:pt x="1420" y="2427"/>
                  </a:lnTo>
                  <a:lnTo>
                    <a:pt x="1422" y="2429"/>
                  </a:lnTo>
                  <a:lnTo>
                    <a:pt x="1425" y="2432"/>
                  </a:lnTo>
                  <a:lnTo>
                    <a:pt x="1427" y="2434"/>
                  </a:lnTo>
                  <a:lnTo>
                    <a:pt x="1430" y="2435"/>
                  </a:lnTo>
                  <a:lnTo>
                    <a:pt x="1433" y="2437"/>
                  </a:lnTo>
                  <a:lnTo>
                    <a:pt x="1436" y="2440"/>
                  </a:lnTo>
                  <a:lnTo>
                    <a:pt x="1439" y="2441"/>
                  </a:lnTo>
                  <a:lnTo>
                    <a:pt x="1442" y="2441"/>
                  </a:lnTo>
                  <a:lnTo>
                    <a:pt x="1447" y="2443"/>
                  </a:lnTo>
                  <a:lnTo>
                    <a:pt x="1452" y="2443"/>
                  </a:lnTo>
                  <a:lnTo>
                    <a:pt x="1457" y="2443"/>
                  </a:lnTo>
                  <a:lnTo>
                    <a:pt x="1461" y="2443"/>
                  </a:lnTo>
                  <a:lnTo>
                    <a:pt x="1468" y="2443"/>
                  </a:lnTo>
                  <a:lnTo>
                    <a:pt x="1472" y="2441"/>
                  </a:lnTo>
                  <a:lnTo>
                    <a:pt x="1477" y="2441"/>
                  </a:lnTo>
                  <a:lnTo>
                    <a:pt x="1482" y="2441"/>
                  </a:lnTo>
                  <a:lnTo>
                    <a:pt x="1487" y="2440"/>
                  </a:lnTo>
                  <a:lnTo>
                    <a:pt x="1490" y="2438"/>
                  </a:lnTo>
                  <a:lnTo>
                    <a:pt x="1493" y="2437"/>
                  </a:lnTo>
                  <a:lnTo>
                    <a:pt x="1501" y="2434"/>
                  </a:lnTo>
                  <a:lnTo>
                    <a:pt x="1507" y="2429"/>
                  </a:lnTo>
                  <a:lnTo>
                    <a:pt x="1514" y="2426"/>
                  </a:lnTo>
                  <a:lnTo>
                    <a:pt x="1520" y="2421"/>
                  </a:lnTo>
                  <a:lnTo>
                    <a:pt x="1528" y="2416"/>
                  </a:lnTo>
                  <a:lnTo>
                    <a:pt x="1534" y="2413"/>
                  </a:lnTo>
                  <a:lnTo>
                    <a:pt x="1542" y="2408"/>
                  </a:lnTo>
                  <a:lnTo>
                    <a:pt x="1548" y="2407"/>
                  </a:lnTo>
                  <a:lnTo>
                    <a:pt x="1553" y="2404"/>
                  </a:lnTo>
                  <a:lnTo>
                    <a:pt x="1558" y="2404"/>
                  </a:lnTo>
                  <a:lnTo>
                    <a:pt x="1562" y="2400"/>
                  </a:lnTo>
                  <a:lnTo>
                    <a:pt x="1569" y="2400"/>
                  </a:lnTo>
                  <a:lnTo>
                    <a:pt x="1574" y="2400"/>
                  </a:lnTo>
                  <a:lnTo>
                    <a:pt x="1580" y="2399"/>
                  </a:lnTo>
                  <a:lnTo>
                    <a:pt x="1586" y="2399"/>
                  </a:lnTo>
                  <a:lnTo>
                    <a:pt x="1593" y="2399"/>
                  </a:lnTo>
                  <a:lnTo>
                    <a:pt x="1599" y="2399"/>
                  </a:lnTo>
                  <a:lnTo>
                    <a:pt x="1604" y="2399"/>
                  </a:lnTo>
                  <a:lnTo>
                    <a:pt x="1608" y="2400"/>
                  </a:lnTo>
                  <a:lnTo>
                    <a:pt x="1613" y="2402"/>
                  </a:lnTo>
                  <a:lnTo>
                    <a:pt x="1623" y="2405"/>
                  </a:lnTo>
                  <a:lnTo>
                    <a:pt x="1629" y="2408"/>
                  </a:lnTo>
                  <a:lnTo>
                    <a:pt x="1637" y="2413"/>
                  </a:lnTo>
                  <a:lnTo>
                    <a:pt x="1645" y="2415"/>
                  </a:lnTo>
                  <a:lnTo>
                    <a:pt x="1648" y="2416"/>
                  </a:lnTo>
                  <a:lnTo>
                    <a:pt x="1651" y="2416"/>
                  </a:lnTo>
                  <a:lnTo>
                    <a:pt x="1654" y="2416"/>
                  </a:lnTo>
                  <a:lnTo>
                    <a:pt x="1657" y="2416"/>
                  </a:lnTo>
                  <a:lnTo>
                    <a:pt x="1660" y="2415"/>
                  </a:lnTo>
                  <a:lnTo>
                    <a:pt x="1662" y="2413"/>
                  </a:lnTo>
                  <a:lnTo>
                    <a:pt x="1664" y="2413"/>
                  </a:lnTo>
                  <a:lnTo>
                    <a:pt x="1667" y="2413"/>
                  </a:lnTo>
                  <a:lnTo>
                    <a:pt x="1668" y="2411"/>
                  </a:lnTo>
                  <a:lnTo>
                    <a:pt x="1668" y="2413"/>
                  </a:lnTo>
                  <a:lnTo>
                    <a:pt x="1668" y="2415"/>
                  </a:lnTo>
                  <a:lnTo>
                    <a:pt x="1670" y="2419"/>
                  </a:lnTo>
                  <a:lnTo>
                    <a:pt x="1672" y="2421"/>
                  </a:lnTo>
                  <a:lnTo>
                    <a:pt x="1675" y="2426"/>
                  </a:lnTo>
                  <a:lnTo>
                    <a:pt x="1678" y="2429"/>
                  </a:lnTo>
                  <a:lnTo>
                    <a:pt x="1681" y="2432"/>
                  </a:lnTo>
                  <a:lnTo>
                    <a:pt x="1686" y="2437"/>
                  </a:lnTo>
                  <a:lnTo>
                    <a:pt x="1690" y="2440"/>
                  </a:lnTo>
                  <a:lnTo>
                    <a:pt x="1697" y="2443"/>
                  </a:lnTo>
                  <a:lnTo>
                    <a:pt x="1703" y="2445"/>
                  </a:lnTo>
                  <a:lnTo>
                    <a:pt x="1706" y="2446"/>
                  </a:lnTo>
                  <a:lnTo>
                    <a:pt x="1711" y="2448"/>
                  </a:lnTo>
                  <a:lnTo>
                    <a:pt x="1716" y="2449"/>
                  </a:lnTo>
                  <a:lnTo>
                    <a:pt x="1720" y="2449"/>
                  </a:lnTo>
                  <a:lnTo>
                    <a:pt x="1725" y="2449"/>
                  </a:lnTo>
                  <a:lnTo>
                    <a:pt x="1732" y="2449"/>
                  </a:lnTo>
                  <a:lnTo>
                    <a:pt x="1736" y="2451"/>
                  </a:lnTo>
                  <a:lnTo>
                    <a:pt x="1743" y="2449"/>
                  </a:lnTo>
                  <a:lnTo>
                    <a:pt x="1754" y="2449"/>
                  </a:lnTo>
                  <a:lnTo>
                    <a:pt x="1765" y="2449"/>
                  </a:lnTo>
                  <a:lnTo>
                    <a:pt x="1774" y="2446"/>
                  </a:lnTo>
                  <a:lnTo>
                    <a:pt x="1785" y="2445"/>
                  </a:lnTo>
                  <a:lnTo>
                    <a:pt x="1795" y="2441"/>
                  </a:lnTo>
                  <a:lnTo>
                    <a:pt x="1804" y="2438"/>
                  </a:lnTo>
                  <a:lnTo>
                    <a:pt x="1814" y="2434"/>
                  </a:lnTo>
                  <a:lnTo>
                    <a:pt x="1823" y="2430"/>
                  </a:lnTo>
                  <a:lnTo>
                    <a:pt x="1831" y="2426"/>
                  </a:lnTo>
                  <a:lnTo>
                    <a:pt x="1841" y="2421"/>
                  </a:lnTo>
                  <a:lnTo>
                    <a:pt x="1848" y="2416"/>
                  </a:lnTo>
                  <a:lnTo>
                    <a:pt x="1856" y="2411"/>
                  </a:lnTo>
                  <a:lnTo>
                    <a:pt x="1864" y="2405"/>
                  </a:lnTo>
                  <a:lnTo>
                    <a:pt x="1871" y="2399"/>
                  </a:lnTo>
                  <a:lnTo>
                    <a:pt x="1878" y="2393"/>
                  </a:lnTo>
                  <a:lnTo>
                    <a:pt x="1885" y="2386"/>
                  </a:lnTo>
                  <a:lnTo>
                    <a:pt x="1891" y="2380"/>
                  </a:lnTo>
                  <a:lnTo>
                    <a:pt x="1897" y="2374"/>
                  </a:lnTo>
                  <a:lnTo>
                    <a:pt x="1904" y="2367"/>
                  </a:lnTo>
                  <a:lnTo>
                    <a:pt x="1908" y="2361"/>
                  </a:lnTo>
                  <a:lnTo>
                    <a:pt x="1920" y="2348"/>
                  </a:lnTo>
                  <a:lnTo>
                    <a:pt x="1929" y="2337"/>
                  </a:lnTo>
                  <a:lnTo>
                    <a:pt x="1937" y="2325"/>
                  </a:lnTo>
                  <a:lnTo>
                    <a:pt x="1942" y="2314"/>
                  </a:lnTo>
                  <a:lnTo>
                    <a:pt x="1946" y="2304"/>
                  </a:lnTo>
                  <a:lnTo>
                    <a:pt x="1950" y="2295"/>
                  </a:lnTo>
                  <a:lnTo>
                    <a:pt x="1951" y="2293"/>
                  </a:lnTo>
                  <a:lnTo>
                    <a:pt x="1953" y="2292"/>
                  </a:lnTo>
                  <a:lnTo>
                    <a:pt x="1954" y="2292"/>
                  </a:lnTo>
                  <a:lnTo>
                    <a:pt x="1954" y="2290"/>
                  </a:lnTo>
                  <a:lnTo>
                    <a:pt x="1957" y="2288"/>
                  </a:lnTo>
                  <a:lnTo>
                    <a:pt x="1959" y="2288"/>
                  </a:lnTo>
                  <a:lnTo>
                    <a:pt x="1962" y="2287"/>
                  </a:lnTo>
                  <a:lnTo>
                    <a:pt x="1967" y="2287"/>
                  </a:lnTo>
                  <a:lnTo>
                    <a:pt x="1972" y="2288"/>
                  </a:lnTo>
                  <a:lnTo>
                    <a:pt x="1976" y="2288"/>
                  </a:lnTo>
                  <a:lnTo>
                    <a:pt x="1981" y="2290"/>
                  </a:lnTo>
                  <a:lnTo>
                    <a:pt x="1992" y="2292"/>
                  </a:lnTo>
                  <a:lnTo>
                    <a:pt x="2003" y="2295"/>
                  </a:lnTo>
                  <a:lnTo>
                    <a:pt x="2008" y="2296"/>
                  </a:lnTo>
                  <a:lnTo>
                    <a:pt x="2013" y="2296"/>
                  </a:lnTo>
                  <a:lnTo>
                    <a:pt x="2019" y="2296"/>
                  </a:lnTo>
                  <a:lnTo>
                    <a:pt x="2024" y="2295"/>
                  </a:lnTo>
                  <a:lnTo>
                    <a:pt x="2027" y="2295"/>
                  </a:lnTo>
                  <a:lnTo>
                    <a:pt x="2029" y="2293"/>
                  </a:lnTo>
                  <a:lnTo>
                    <a:pt x="2032" y="2293"/>
                  </a:lnTo>
                  <a:lnTo>
                    <a:pt x="2033" y="2292"/>
                  </a:lnTo>
                  <a:lnTo>
                    <a:pt x="2038" y="2288"/>
                  </a:lnTo>
                  <a:lnTo>
                    <a:pt x="2043" y="2284"/>
                  </a:lnTo>
                  <a:lnTo>
                    <a:pt x="2048" y="2281"/>
                  </a:lnTo>
                  <a:lnTo>
                    <a:pt x="2052" y="2277"/>
                  </a:lnTo>
                  <a:lnTo>
                    <a:pt x="2054" y="2276"/>
                  </a:lnTo>
                  <a:lnTo>
                    <a:pt x="2057" y="2276"/>
                  </a:lnTo>
                  <a:lnTo>
                    <a:pt x="2060" y="2276"/>
                  </a:lnTo>
                  <a:lnTo>
                    <a:pt x="2062" y="2276"/>
                  </a:lnTo>
                  <a:lnTo>
                    <a:pt x="2068" y="2276"/>
                  </a:lnTo>
                  <a:lnTo>
                    <a:pt x="2074" y="2276"/>
                  </a:lnTo>
                  <a:lnTo>
                    <a:pt x="2081" y="2277"/>
                  </a:lnTo>
                  <a:lnTo>
                    <a:pt x="2085" y="2281"/>
                  </a:lnTo>
                  <a:lnTo>
                    <a:pt x="2092" y="2282"/>
                  </a:lnTo>
                  <a:lnTo>
                    <a:pt x="2098" y="2284"/>
                  </a:lnTo>
                  <a:lnTo>
                    <a:pt x="2106" y="2285"/>
                  </a:lnTo>
                  <a:lnTo>
                    <a:pt x="2115" y="2288"/>
                  </a:lnTo>
                  <a:lnTo>
                    <a:pt x="2120" y="2288"/>
                  </a:lnTo>
                  <a:lnTo>
                    <a:pt x="2123" y="2288"/>
                  </a:lnTo>
                  <a:lnTo>
                    <a:pt x="2128" y="2288"/>
                  </a:lnTo>
                  <a:lnTo>
                    <a:pt x="2131" y="2288"/>
                  </a:lnTo>
                  <a:lnTo>
                    <a:pt x="2136" y="2288"/>
                  </a:lnTo>
                  <a:lnTo>
                    <a:pt x="2139" y="2287"/>
                  </a:lnTo>
                  <a:lnTo>
                    <a:pt x="2142" y="2285"/>
                  </a:lnTo>
                  <a:lnTo>
                    <a:pt x="2144" y="2284"/>
                  </a:lnTo>
                  <a:lnTo>
                    <a:pt x="2147" y="2284"/>
                  </a:lnTo>
                  <a:lnTo>
                    <a:pt x="2149" y="2281"/>
                  </a:lnTo>
                  <a:lnTo>
                    <a:pt x="2152" y="2279"/>
                  </a:lnTo>
                  <a:lnTo>
                    <a:pt x="2155" y="2276"/>
                  </a:lnTo>
                  <a:lnTo>
                    <a:pt x="2158" y="2273"/>
                  </a:lnTo>
                  <a:lnTo>
                    <a:pt x="2161" y="2266"/>
                  </a:lnTo>
                  <a:lnTo>
                    <a:pt x="2169" y="2255"/>
                  </a:lnTo>
                  <a:lnTo>
                    <a:pt x="2177" y="2243"/>
                  </a:lnTo>
                  <a:lnTo>
                    <a:pt x="2180" y="2238"/>
                  </a:lnTo>
                  <a:lnTo>
                    <a:pt x="2185" y="2232"/>
                  </a:lnTo>
                  <a:lnTo>
                    <a:pt x="2187" y="2230"/>
                  </a:lnTo>
                  <a:lnTo>
                    <a:pt x="2188" y="2227"/>
                  </a:lnTo>
                  <a:lnTo>
                    <a:pt x="2191" y="2225"/>
                  </a:lnTo>
                  <a:lnTo>
                    <a:pt x="2194" y="2222"/>
                  </a:lnTo>
                  <a:lnTo>
                    <a:pt x="2196" y="2221"/>
                  </a:lnTo>
                  <a:lnTo>
                    <a:pt x="2198" y="2219"/>
                  </a:lnTo>
                  <a:lnTo>
                    <a:pt x="2198" y="2217"/>
                  </a:lnTo>
                  <a:lnTo>
                    <a:pt x="2198" y="2214"/>
                  </a:lnTo>
                  <a:lnTo>
                    <a:pt x="2196" y="2213"/>
                  </a:lnTo>
                  <a:lnTo>
                    <a:pt x="2194" y="2210"/>
                  </a:lnTo>
                  <a:lnTo>
                    <a:pt x="2193" y="2206"/>
                  </a:lnTo>
                  <a:lnTo>
                    <a:pt x="2190" y="2203"/>
                  </a:lnTo>
                  <a:lnTo>
                    <a:pt x="2188" y="2199"/>
                  </a:lnTo>
                  <a:lnTo>
                    <a:pt x="2185" y="2195"/>
                  </a:lnTo>
                  <a:lnTo>
                    <a:pt x="2182" y="2192"/>
                  </a:lnTo>
                  <a:lnTo>
                    <a:pt x="2180" y="2186"/>
                  </a:lnTo>
                  <a:lnTo>
                    <a:pt x="2179" y="2181"/>
                  </a:lnTo>
                  <a:lnTo>
                    <a:pt x="2177" y="2176"/>
                  </a:lnTo>
                  <a:lnTo>
                    <a:pt x="2176" y="2169"/>
                  </a:lnTo>
                  <a:lnTo>
                    <a:pt x="2176" y="2164"/>
                  </a:lnTo>
                  <a:lnTo>
                    <a:pt x="2176" y="2148"/>
                  </a:lnTo>
                  <a:lnTo>
                    <a:pt x="2176" y="2135"/>
                  </a:lnTo>
                  <a:lnTo>
                    <a:pt x="2176" y="2126"/>
                  </a:lnTo>
                  <a:lnTo>
                    <a:pt x="2177" y="2115"/>
                  </a:lnTo>
                  <a:lnTo>
                    <a:pt x="2177" y="2105"/>
                  </a:lnTo>
                  <a:lnTo>
                    <a:pt x="2180" y="2094"/>
                  </a:lnTo>
                  <a:lnTo>
                    <a:pt x="2182" y="2082"/>
                  </a:lnTo>
                  <a:lnTo>
                    <a:pt x="2187" y="2068"/>
                  </a:lnTo>
                  <a:lnTo>
                    <a:pt x="2188" y="2060"/>
                  </a:lnTo>
                  <a:lnTo>
                    <a:pt x="2190" y="2053"/>
                  </a:lnTo>
                  <a:lnTo>
                    <a:pt x="2190" y="2047"/>
                  </a:lnTo>
                  <a:lnTo>
                    <a:pt x="2190" y="2042"/>
                  </a:lnTo>
                  <a:lnTo>
                    <a:pt x="2190" y="2038"/>
                  </a:lnTo>
                  <a:lnTo>
                    <a:pt x="2190" y="2033"/>
                  </a:lnTo>
                  <a:lnTo>
                    <a:pt x="2190" y="2031"/>
                  </a:lnTo>
                  <a:lnTo>
                    <a:pt x="2188" y="2028"/>
                  </a:lnTo>
                  <a:lnTo>
                    <a:pt x="2187" y="2027"/>
                  </a:lnTo>
                  <a:lnTo>
                    <a:pt x="2185" y="2025"/>
                  </a:lnTo>
                  <a:lnTo>
                    <a:pt x="2183" y="2023"/>
                  </a:lnTo>
                  <a:lnTo>
                    <a:pt x="2182" y="2022"/>
                  </a:lnTo>
                  <a:lnTo>
                    <a:pt x="2179" y="2022"/>
                  </a:lnTo>
                  <a:lnTo>
                    <a:pt x="2177" y="2020"/>
                  </a:lnTo>
                  <a:lnTo>
                    <a:pt x="2176" y="2022"/>
                  </a:lnTo>
                  <a:lnTo>
                    <a:pt x="2172" y="2022"/>
                  </a:lnTo>
                  <a:lnTo>
                    <a:pt x="2161" y="2023"/>
                  </a:lnTo>
                  <a:lnTo>
                    <a:pt x="2150" y="2025"/>
                  </a:lnTo>
                  <a:lnTo>
                    <a:pt x="2149" y="2027"/>
                  </a:lnTo>
                  <a:lnTo>
                    <a:pt x="2145" y="2027"/>
                  </a:lnTo>
                  <a:lnTo>
                    <a:pt x="2144" y="2025"/>
                  </a:lnTo>
                  <a:lnTo>
                    <a:pt x="2142" y="2025"/>
                  </a:lnTo>
                  <a:lnTo>
                    <a:pt x="2141" y="2023"/>
                  </a:lnTo>
                  <a:lnTo>
                    <a:pt x="2139" y="2023"/>
                  </a:lnTo>
                  <a:lnTo>
                    <a:pt x="2139" y="2020"/>
                  </a:lnTo>
                  <a:lnTo>
                    <a:pt x="2138" y="2019"/>
                  </a:lnTo>
                  <a:lnTo>
                    <a:pt x="2139" y="2011"/>
                  </a:lnTo>
                  <a:lnTo>
                    <a:pt x="2141" y="2005"/>
                  </a:lnTo>
                  <a:lnTo>
                    <a:pt x="2142" y="1997"/>
                  </a:lnTo>
                  <a:lnTo>
                    <a:pt x="2144" y="1990"/>
                  </a:lnTo>
                  <a:lnTo>
                    <a:pt x="2147" y="1982"/>
                  </a:lnTo>
                  <a:lnTo>
                    <a:pt x="2150" y="1976"/>
                  </a:lnTo>
                  <a:lnTo>
                    <a:pt x="2155" y="1970"/>
                  </a:lnTo>
                  <a:lnTo>
                    <a:pt x="2158" y="1963"/>
                  </a:lnTo>
                  <a:lnTo>
                    <a:pt x="2161" y="1959"/>
                  </a:lnTo>
                  <a:lnTo>
                    <a:pt x="2166" y="1952"/>
                  </a:lnTo>
                  <a:lnTo>
                    <a:pt x="2171" y="1946"/>
                  </a:lnTo>
                  <a:lnTo>
                    <a:pt x="2176" y="1941"/>
                  </a:lnTo>
                  <a:lnTo>
                    <a:pt x="2180" y="1937"/>
                  </a:lnTo>
                  <a:lnTo>
                    <a:pt x="2185" y="1932"/>
                  </a:lnTo>
                  <a:lnTo>
                    <a:pt x="2190" y="1929"/>
                  </a:lnTo>
                  <a:lnTo>
                    <a:pt x="2196" y="1924"/>
                  </a:lnTo>
                  <a:lnTo>
                    <a:pt x="2196" y="1921"/>
                  </a:lnTo>
                  <a:lnTo>
                    <a:pt x="2193" y="1916"/>
                  </a:lnTo>
                  <a:lnTo>
                    <a:pt x="2190" y="1913"/>
                  </a:lnTo>
                  <a:lnTo>
                    <a:pt x="2187" y="1910"/>
                  </a:lnTo>
                  <a:lnTo>
                    <a:pt x="2185" y="1908"/>
                  </a:lnTo>
                  <a:lnTo>
                    <a:pt x="2180" y="1905"/>
                  </a:lnTo>
                  <a:lnTo>
                    <a:pt x="2177" y="1904"/>
                  </a:lnTo>
                  <a:lnTo>
                    <a:pt x="2176" y="1900"/>
                  </a:lnTo>
                  <a:lnTo>
                    <a:pt x="2172" y="1899"/>
                  </a:lnTo>
                  <a:lnTo>
                    <a:pt x="2172" y="1896"/>
                  </a:lnTo>
                  <a:lnTo>
                    <a:pt x="2168" y="1891"/>
                  </a:lnTo>
                  <a:lnTo>
                    <a:pt x="2161" y="1885"/>
                  </a:lnTo>
                  <a:lnTo>
                    <a:pt x="2158" y="1881"/>
                  </a:lnTo>
                  <a:lnTo>
                    <a:pt x="2157" y="1878"/>
                  </a:lnTo>
                  <a:lnTo>
                    <a:pt x="2155" y="1877"/>
                  </a:lnTo>
                  <a:lnTo>
                    <a:pt x="2155" y="1875"/>
                  </a:lnTo>
                  <a:lnTo>
                    <a:pt x="2155" y="1874"/>
                  </a:lnTo>
                  <a:lnTo>
                    <a:pt x="2155" y="1872"/>
                  </a:lnTo>
                  <a:lnTo>
                    <a:pt x="2155" y="1870"/>
                  </a:lnTo>
                  <a:lnTo>
                    <a:pt x="2157" y="1869"/>
                  </a:lnTo>
                  <a:lnTo>
                    <a:pt x="2158" y="1867"/>
                  </a:lnTo>
                  <a:lnTo>
                    <a:pt x="2161" y="1866"/>
                  </a:lnTo>
                  <a:lnTo>
                    <a:pt x="2164" y="1864"/>
                  </a:lnTo>
                  <a:lnTo>
                    <a:pt x="2168" y="1864"/>
                  </a:lnTo>
                  <a:lnTo>
                    <a:pt x="2168" y="1863"/>
                  </a:lnTo>
                  <a:lnTo>
                    <a:pt x="2168" y="1861"/>
                  </a:lnTo>
                  <a:lnTo>
                    <a:pt x="2168" y="1859"/>
                  </a:lnTo>
                  <a:lnTo>
                    <a:pt x="2168" y="1856"/>
                  </a:lnTo>
                  <a:lnTo>
                    <a:pt x="2164" y="1855"/>
                  </a:lnTo>
                  <a:lnTo>
                    <a:pt x="2161" y="1852"/>
                  </a:lnTo>
                  <a:lnTo>
                    <a:pt x="2158" y="1850"/>
                  </a:lnTo>
                  <a:lnTo>
                    <a:pt x="2152" y="1844"/>
                  </a:lnTo>
                  <a:lnTo>
                    <a:pt x="2147" y="1842"/>
                  </a:lnTo>
                  <a:lnTo>
                    <a:pt x="2145" y="1839"/>
                  </a:lnTo>
                  <a:lnTo>
                    <a:pt x="2144" y="1837"/>
                  </a:lnTo>
                  <a:lnTo>
                    <a:pt x="2144" y="1836"/>
                  </a:lnTo>
                  <a:lnTo>
                    <a:pt x="2145" y="1834"/>
                  </a:lnTo>
                  <a:lnTo>
                    <a:pt x="2147" y="1831"/>
                  </a:lnTo>
                  <a:lnTo>
                    <a:pt x="2147" y="1828"/>
                  </a:lnTo>
                  <a:lnTo>
                    <a:pt x="2147" y="1825"/>
                  </a:lnTo>
                  <a:lnTo>
                    <a:pt x="2145" y="1822"/>
                  </a:lnTo>
                  <a:lnTo>
                    <a:pt x="2144" y="1817"/>
                  </a:lnTo>
                  <a:lnTo>
                    <a:pt x="2142" y="1812"/>
                  </a:lnTo>
                  <a:lnTo>
                    <a:pt x="2139" y="1809"/>
                  </a:lnTo>
                  <a:lnTo>
                    <a:pt x="2136" y="1803"/>
                  </a:lnTo>
                  <a:lnTo>
                    <a:pt x="2133" y="1796"/>
                  </a:lnTo>
                  <a:lnTo>
                    <a:pt x="2131" y="1792"/>
                  </a:lnTo>
                  <a:lnTo>
                    <a:pt x="2128" y="1788"/>
                  </a:lnTo>
                  <a:lnTo>
                    <a:pt x="2127" y="1787"/>
                  </a:lnTo>
                  <a:lnTo>
                    <a:pt x="2123" y="1785"/>
                  </a:lnTo>
                  <a:lnTo>
                    <a:pt x="2122" y="1785"/>
                  </a:lnTo>
                  <a:lnTo>
                    <a:pt x="2119" y="1787"/>
                  </a:lnTo>
                  <a:lnTo>
                    <a:pt x="2115" y="1788"/>
                  </a:lnTo>
                  <a:lnTo>
                    <a:pt x="2115" y="1790"/>
                  </a:lnTo>
                  <a:lnTo>
                    <a:pt x="2114" y="1790"/>
                  </a:lnTo>
                  <a:lnTo>
                    <a:pt x="2112" y="1792"/>
                  </a:lnTo>
                  <a:lnTo>
                    <a:pt x="2111" y="1793"/>
                  </a:lnTo>
                  <a:lnTo>
                    <a:pt x="2109" y="1793"/>
                  </a:lnTo>
                  <a:lnTo>
                    <a:pt x="2108" y="1793"/>
                  </a:lnTo>
                  <a:lnTo>
                    <a:pt x="2106" y="1793"/>
                  </a:lnTo>
                  <a:lnTo>
                    <a:pt x="2104" y="1793"/>
                  </a:lnTo>
                  <a:lnTo>
                    <a:pt x="2103" y="1790"/>
                  </a:lnTo>
                  <a:lnTo>
                    <a:pt x="2100" y="1788"/>
                  </a:lnTo>
                  <a:lnTo>
                    <a:pt x="2098" y="1784"/>
                  </a:lnTo>
                  <a:lnTo>
                    <a:pt x="2095" y="1781"/>
                  </a:lnTo>
                  <a:lnTo>
                    <a:pt x="2093" y="1776"/>
                  </a:lnTo>
                  <a:lnTo>
                    <a:pt x="2090" y="1773"/>
                  </a:lnTo>
                  <a:lnTo>
                    <a:pt x="2089" y="1771"/>
                  </a:lnTo>
                  <a:lnTo>
                    <a:pt x="2087" y="1769"/>
                  </a:lnTo>
                  <a:lnTo>
                    <a:pt x="2085" y="1769"/>
                  </a:lnTo>
                  <a:lnTo>
                    <a:pt x="2084" y="1769"/>
                  </a:lnTo>
                  <a:lnTo>
                    <a:pt x="2082" y="1769"/>
                  </a:lnTo>
                  <a:lnTo>
                    <a:pt x="2081" y="1769"/>
                  </a:lnTo>
                  <a:lnTo>
                    <a:pt x="2078" y="1771"/>
                  </a:lnTo>
                  <a:lnTo>
                    <a:pt x="2076" y="1773"/>
                  </a:lnTo>
                  <a:lnTo>
                    <a:pt x="2073" y="1777"/>
                  </a:lnTo>
                  <a:lnTo>
                    <a:pt x="2066" y="1782"/>
                  </a:lnTo>
                  <a:lnTo>
                    <a:pt x="2063" y="1785"/>
                  </a:lnTo>
                  <a:lnTo>
                    <a:pt x="2060" y="1787"/>
                  </a:lnTo>
                  <a:lnTo>
                    <a:pt x="2057" y="1788"/>
                  </a:lnTo>
                  <a:lnTo>
                    <a:pt x="2054" y="1790"/>
                  </a:lnTo>
                  <a:lnTo>
                    <a:pt x="2052" y="1790"/>
                  </a:lnTo>
                  <a:lnTo>
                    <a:pt x="2049" y="1790"/>
                  </a:lnTo>
                  <a:lnTo>
                    <a:pt x="2048" y="1790"/>
                  </a:lnTo>
                  <a:lnTo>
                    <a:pt x="2044" y="1788"/>
                  </a:lnTo>
                  <a:lnTo>
                    <a:pt x="2043" y="1787"/>
                  </a:lnTo>
                  <a:lnTo>
                    <a:pt x="2041" y="1785"/>
                  </a:lnTo>
                  <a:lnTo>
                    <a:pt x="2041" y="1782"/>
                  </a:lnTo>
                  <a:lnTo>
                    <a:pt x="2041" y="1781"/>
                  </a:lnTo>
                  <a:lnTo>
                    <a:pt x="2041" y="1777"/>
                  </a:lnTo>
                  <a:lnTo>
                    <a:pt x="2041" y="1776"/>
                  </a:lnTo>
                  <a:lnTo>
                    <a:pt x="2041" y="1774"/>
                  </a:lnTo>
                  <a:lnTo>
                    <a:pt x="2044" y="1769"/>
                  </a:lnTo>
                  <a:lnTo>
                    <a:pt x="2048" y="1766"/>
                  </a:lnTo>
                  <a:lnTo>
                    <a:pt x="2049" y="1763"/>
                  </a:lnTo>
                  <a:lnTo>
                    <a:pt x="2049" y="1762"/>
                  </a:lnTo>
                  <a:lnTo>
                    <a:pt x="2048" y="1762"/>
                  </a:lnTo>
                  <a:lnTo>
                    <a:pt x="2046" y="1760"/>
                  </a:lnTo>
                  <a:lnTo>
                    <a:pt x="2041" y="1760"/>
                  </a:lnTo>
                  <a:lnTo>
                    <a:pt x="2040" y="1757"/>
                  </a:lnTo>
                  <a:lnTo>
                    <a:pt x="2035" y="1755"/>
                  </a:lnTo>
                  <a:lnTo>
                    <a:pt x="2032" y="1754"/>
                  </a:lnTo>
                  <a:lnTo>
                    <a:pt x="2029" y="1752"/>
                  </a:lnTo>
                  <a:lnTo>
                    <a:pt x="2027" y="1752"/>
                  </a:lnTo>
                  <a:lnTo>
                    <a:pt x="2025" y="1752"/>
                  </a:lnTo>
                  <a:lnTo>
                    <a:pt x="2024" y="1752"/>
                  </a:lnTo>
                  <a:lnTo>
                    <a:pt x="2019" y="1751"/>
                  </a:lnTo>
                  <a:lnTo>
                    <a:pt x="2014" y="1749"/>
                  </a:lnTo>
                  <a:lnTo>
                    <a:pt x="2011" y="1747"/>
                  </a:lnTo>
                  <a:lnTo>
                    <a:pt x="2010" y="1744"/>
                  </a:lnTo>
                  <a:lnTo>
                    <a:pt x="2008" y="1743"/>
                  </a:lnTo>
                  <a:lnTo>
                    <a:pt x="2006" y="1740"/>
                  </a:lnTo>
                  <a:lnTo>
                    <a:pt x="2006" y="1738"/>
                  </a:lnTo>
                  <a:lnTo>
                    <a:pt x="2006" y="1736"/>
                  </a:lnTo>
                  <a:lnTo>
                    <a:pt x="2006" y="1735"/>
                  </a:lnTo>
                  <a:lnTo>
                    <a:pt x="2006" y="1732"/>
                  </a:lnTo>
                  <a:lnTo>
                    <a:pt x="2008" y="1724"/>
                  </a:lnTo>
                  <a:lnTo>
                    <a:pt x="2011" y="1722"/>
                  </a:lnTo>
                  <a:lnTo>
                    <a:pt x="2006" y="1722"/>
                  </a:lnTo>
                  <a:lnTo>
                    <a:pt x="2002" y="1721"/>
                  </a:lnTo>
                  <a:lnTo>
                    <a:pt x="1999" y="1719"/>
                  </a:lnTo>
                  <a:lnTo>
                    <a:pt x="1994" y="1717"/>
                  </a:lnTo>
                  <a:lnTo>
                    <a:pt x="1991" y="1716"/>
                  </a:lnTo>
                  <a:lnTo>
                    <a:pt x="1987" y="1714"/>
                  </a:lnTo>
                  <a:lnTo>
                    <a:pt x="1986" y="1713"/>
                  </a:lnTo>
                  <a:lnTo>
                    <a:pt x="1983" y="1711"/>
                  </a:lnTo>
                  <a:lnTo>
                    <a:pt x="1978" y="1706"/>
                  </a:lnTo>
                  <a:lnTo>
                    <a:pt x="1973" y="1700"/>
                  </a:lnTo>
                  <a:lnTo>
                    <a:pt x="1969" y="1694"/>
                  </a:lnTo>
                  <a:lnTo>
                    <a:pt x="1965" y="1687"/>
                  </a:lnTo>
                  <a:lnTo>
                    <a:pt x="1957" y="1675"/>
                  </a:lnTo>
                  <a:lnTo>
                    <a:pt x="1951" y="1661"/>
                  </a:lnTo>
                  <a:lnTo>
                    <a:pt x="1946" y="1656"/>
                  </a:lnTo>
                  <a:lnTo>
                    <a:pt x="1943" y="1646"/>
                  </a:lnTo>
                  <a:lnTo>
                    <a:pt x="1940" y="1643"/>
                  </a:lnTo>
                  <a:lnTo>
                    <a:pt x="1939" y="1640"/>
                  </a:lnTo>
                  <a:lnTo>
                    <a:pt x="1934" y="1637"/>
                  </a:lnTo>
                  <a:close/>
                  <a:moveTo>
                    <a:pt x="1017" y="165"/>
                  </a:moveTo>
                  <a:lnTo>
                    <a:pt x="1017" y="162"/>
                  </a:lnTo>
                  <a:lnTo>
                    <a:pt x="1017" y="159"/>
                  </a:lnTo>
                  <a:lnTo>
                    <a:pt x="1016" y="157"/>
                  </a:lnTo>
                  <a:lnTo>
                    <a:pt x="1016" y="156"/>
                  </a:lnTo>
                  <a:lnTo>
                    <a:pt x="1014" y="156"/>
                  </a:lnTo>
                  <a:lnTo>
                    <a:pt x="1014" y="153"/>
                  </a:lnTo>
                  <a:lnTo>
                    <a:pt x="1013" y="153"/>
                  </a:lnTo>
                  <a:lnTo>
                    <a:pt x="1011" y="153"/>
                  </a:lnTo>
                  <a:lnTo>
                    <a:pt x="1010" y="151"/>
                  </a:lnTo>
                  <a:lnTo>
                    <a:pt x="1008" y="153"/>
                  </a:lnTo>
                  <a:lnTo>
                    <a:pt x="1006" y="153"/>
                  </a:lnTo>
                  <a:lnTo>
                    <a:pt x="1003" y="156"/>
                  </a:lnTo>
                  <a:lnTo>
                    <a:pt x="1002" y="159"/>
                  </a:lnTo>
                  <a:lnTo>
                    <a:pt x="997" y="165"/>
                  </a:lnTo>
                  <a:lnTo>
                    <a:pt x="994" y="170"/>
                  </a:lnTo>
                  <a:lnTo>
                    <a:pt x="994" y="189"/>
                  </a:lnTo>
                  <a:lnTo>
                    <a:pt x="991" y="202"/>
                  </a:lnTo>
                  <a:lnTo>
                    <a:pt x="989" y="214"/>
                  </a:lnTo>
                  <a:lnTo>
                    <a:pt x="987" y="219"/>
                  </a:lnTo>
                  <a:lnTo>
                    <a:pt x="986" y="225"/>
                  </a:lnTo>
                  <a:lnTo>
                    <a:pt x="984" y="230"/>
                  </a:lnTo>
                  <a:lnTo>
                    <a:pt x="981" y="235"/>
                  </a:lnTo>
                  <a:lnTo>
                    <a:pt x="981" y="252"/>
                  </a:lnTo>
                  <a:lnTo>
                    <a:pt x="981" y="254"/>
                  </a:lnTo>
                  <a:lnTo>
                    <a:pt x="979" y="255"/>
                  </a:lnTo>
                  <a:lnTo>
                    <a:pt x="978" y="258"/>
                  </a:lnTo>
                  <a:lnTo>
                    <a:pt x="976" y="263"/>
                  </a:lnTo>
                  <a:lnTo>
                    <a:pt x="975" y="268"/>
                  </a:lnTo>
                  <a:lnTo>
                    <a:pt x="973" y="274"/>
                  </a:lnTo>
                  <a:lnTo>
                    <a:pt x="975" y="276"/>
                  </a:lnTo>
                  <a:lnTo>
                    <a:pt x="975" y="277"/>
                  </a:lnTo>
                  <a:lnTo>
                    <a:pt x="976" y="279"/>
                  </a:lnTo>
                  <a:lnTo>
                    <a:pt x="976" y="281"/>
                  </a:lnTo>
                  <a:lnTo>
                    <a:pt x="978" y="281"/>
                  </a:lnTo>
                  <a:lnTo>
                    <a:pt x="979" y="281"/>
                  </a:lnTo>
                  <a:lnTo>
                    <a:pt x="981" y="282"/>
                  </a:lnTo>
                  <a:lnTo>
                    <a:pt x="984" y="281"/>
                  </a:lnTo>
                  <a:lnTo>
                    <a:pt x="987" y="281"/>
                  </a:lnTo>
                  <a:lnTo>
                    <a:pt x="989" y="279"/>
                  </a:lnTo>
                  <a:lnTo>
                    <a:pt x="992" y="277"/>
                  </a:lnTo>
                  <a:lnTo>
                    <a:pt x="994" y="273"/>
                  </a:lnTo>
                  <a:lnTo>
                    <a:pt x="997" y="271"/>
                  </a:lnTo>
                  <a:lnTo>
                    <a:pt x="1002" y="268"/>
                  </a:lnTo>
                  <a:lnTo>
                    <a:pt x="1005" y="265"/>
                  </a:lnTo>
                  <a:lnTo>
                    <a:pt x="1010" y="262"/>
                  </a:lnTo>
                  <a:lnTo>
                    <a:pt x="1014" y="258"/>
                  </a:lnTo>
                  <a:lnTo>
                    <a:pt x="1019" y="257"/>
                  </a:lnTo>
                  <a:lnTo>
                    <a:pt x="1024" y="255"/>
                  </a:lnTo>
                  <a:lnTo>
                    <a:pt x="1028" y="254"/>
                  </a:lnTo>
                  <a:lnTo>
                    <a:pt x="1033" y="252"/>
                  </a:lnTo>
                  <a:lnTo>
                    <a:pt x="1040" y="251"/>
                  </a:lnTo>
                  <a:lnTo>
                    <a:pt x="1046" y="247"/>
                  </a:lnTo>
                  <a:lnTo>
                    <a:pt x="1051" y="243"/>
                  </a:lnTo>
                  <a:lnTo>
                    <a:pt x="1055" y="239"/>
                  </a:lnTo>
                  <a:lnTo>
                    <a:pt x="1058" y="236"/>
                  </a:lnTo>
                  <a:lnTo>
                    <a:pt x="1060" y="235"/>
                  </a:lnTo>
                  <a:lnTo>
                    <a:pt x="1062" y="232"/>
                  </a:lnTo>
                  <a:lnTo>
                    <a:pt x="1063" y="228"/>
                  </a:lnTo>
                  <a:lnTo>
                    <a:pt x="1063" y="225"/>
                  </a:lnTo>
                  <a:lnTo>
                    <a:pt x="1065" y="222"/>
                  </a:lnTo>
                  <a:lnTo>
                    <a:pt x="1066" y="217"/>
                  </a:lnTo>
                  <a:lnTo>
                    <a:pt x="1066" y="214"/>
                  </a:lnTo>
                  <a:lnTo>
                    <a:pt x="1066" y="213"/>
                  </a:lnTo>
                  <a:lnTo>
                    <a:pt x="1065" y="210"/>
                  </a:lnTo>
                  <a:lnTo>
                    <a:pt x="1063" y="206"/>
                  </a:lnTo>
                  <a:lnTo>
                    <a:pt x="1062" y="203"/>
                  </a:lnTo>
                  <a:lnTo>
                    <a:pt x="1058" y="197"/>
                  </a:lnTo>
                  <a:lnTo>
                    <a:pt x="1054" y="191"/>
                  </a:lnTo>
                  <a:lnTo>
                    <a:pt x="1047" y="184"/>
                  </a:lnTo>
                  <a:lnTo>
                    <a:pt x="1043" y="180"/>
                  </a:lnTo>
                  <a:lnTo>
                    <a:pt x="1041" y="178"/>
                  </a:lnTo>
                  <a:lnTo>
                    <a:pt x="1038" y="176"/>
                  </a:lnTo>
                  <a:lnTo>
                    <a:pt x="1035" y="176"/>
                  </a:lnTo>
                  <a:lnTo>
                    <a:pt x="1033" y="176"/>
                  </a:lnTo>
                  <a:lnTo>
                    <a:pt x="1032" y="176"/>
                  </a:lnTo>
                  <a:lnTo>
                    <a:pt x="1028" y="176"/>
                  </a:lnTo>
                  <a:lnTo>
                    <a:pt x="1025" y="178"/>
                  </a:lnTo>
                  <a:lnTo>
                    <a:pt x="1024" y="180"/>
                  </a:lnTo>
                  <a:lnTo>
                    <a:pt x="1022" y="180"/>
                  </a:lnTo>
                  <a:lnTo>
                    <a:pt x="1021" y="181"/>
                  </a:lnTo>
                  <a:lnTo>
                    <a:pt x="1021" y="183"/>
                  </a:lnTo>
                  <a:lnTo>
                    <a:pt x="1017" y="186"/>
                  </a:lnTo>
                  <a:lnTo>
                    <a:pt x="1017" y="189"/>
                  </a:lnTo>
                  <a:lnTo>
                    <a:pt x="1017" y="194"/>
                  </a:lnTo>
                  <a:lnTo>
                    <a:pt x="1017" y="198"/>
                  </a:lnTo>
                  <a:lnTo>
                    <a:pt x="1011" y="198"/>
                  </a:lnTo>
                  <a:lnTo>
                    <a:pt x="1011" y="187"/>
                  </a:lnTo>
                  <a:lnTo>
                    <a:pt x="1011" y="184"/>
                  </a:lnTo>
                  <a:lnTo>
                    <a:pt x="1014" y="176"/>
                  </a:lnTo>
                  <a:lnTo>
                    <a:pt x="1016" y="169"/>
                  </a:lnTo>
                  <a:lnTo>
                    <a:pt x="1017" y="165"/>
                  </a:lnTo>
                  <a:close/>
                  <a:moveTo>
                    <a:pt x="923" y="98"/>
                  </a:moveTo>
                  <a:lnTo>
                    <a:pt x="916" y="99"/>
                  </a:lnTo>
                  <a:lnTo>
                    <a:pt x="905" y="104"/>
                  </a:lnTo>
                  <a:lnTo>
                    <a:pt x="897" y="107"/>
                  </a:lnTo>
                  <a:lnTo>
                    <a:pt x="893" y="110"/>
                  </a:lnTo>
                  <a:lnTo>
                    <a:pt x="889" y="112"/>
                  </a:lnTo>
                  <a:lnTo>
                    <a:pt x="886" y="113"/>
                  </a:lnTo>
                  <a:lnTo>
                    <a:pt x="885" y="115"/>
                  </a:lnTo>
                  <a:lnTo>
                    <a:pt x="885" y="116"/>
                  </a:lnTo>
                  <a:lnTo>
                    <a:pt x="883" y="123"/>
                  </a:lnTo>
                  <a:lnTo>
                    <a:pt x="883" y="128"/>
                  </a:lnTo>
                  <a:lnTo>
                    <a:pt x="883" y="129"/>
                  </a:lnTo>
                  <a:lnTo>
                    <a:pt x="882" y="131"/>
                  </a:lnTo>
                  <a:lnTo>
                    <a:pt x="882" y="132"/>
                  </a:lnTo>
                  <a:lnTo>
                    <a:pt x="880" y="135"/>
                  </a:lnTo>
                  <a:lnTo>
                    <a:pt x="880" y="137"/>
                  </a:lnTo>
                  <a:lnTo>
                    <a:pt x="877" y="139"/>
                  </a:lnTo>
                  <a:lnTo>
                    <a:pt x="874" y="140"/>
                  </a:lnTo>
                  <a:lnTo>
                    <a:pt x="872" y="143"/>
                  </a:lnTo>
                  <a:lnTo>
                    <a:pt x="869" y="145"/>
                  </a:lnTo>
                  <a:lnTo>
                    <a:pt x="867" y="148"/>
                  </a:lnTo>
                  <a:lnTo>
                    <a:pt x="866" y="148"/>
                  </a:lnTo>
                  <a:lnTo>
                    <a:pt x="866" y="150"/>
                  </a:lnTo>
                  <a:lnTo>
                    <a:pt x="866" y="151"/>
                  </a:lnTo>
                  <a:lnTo>
                    <a:pt x="866" y="153"/>
                  </a:lnTo>
                  <a:lnTo>
                    <a:pt x="866" y="154"/>
                  </a:lnTo>
                  <a:lnTo>
                    <a:pt x="867" y="156"/>
                  </a:lnTo>
                  <a:lnTo>
                    <a:pt x="869" y="157"/>
                  </a:lnTo>
                  <a:lnTo>
                    <a:pt x="872" y="159"/>
                  </a:lnTo>
                  <a:lnTo>
                    <a:pt x="874" y="161"/>
                  </a:lnTo>
                  <a:lnTo>
                    <a:pt x="878" y="164"/>
                  </a:lnTo>
                  <a:lnTo>
                    <a:pt x="882" y="165"/>
                  </a:lnTo>
                  <a:lnTo>
                    <a:pt x="882" y="167"/>
                  </a:lnTo>
                  <a:lnTo>
                    <a:pt x="883" y="169"/>
                  </a:lnTo>
                  <a:lnTo>
                    <a:pt x="885" y="170"/>
                  </a:lnTo>
                  <a:lnTo>
                    <a:pt x="885" y="172"/>
                  </a:lnTo>
                  <a:lnTo>
                    <a:pt x="885" y="176"/>
                  </a:lnTo>
                  <a:lnTo>
                    <a:pt x="885" y="181"/>
                  </a:lnTo>
                  <a:lnTo>
                    <a:pt x="886" y="184"/>
                  </a:lnTo>
                  <a:lnTo>
                    <a:pt x="888" y="186"/>
                  </a:lnTo>
                  <a:lnTo>
                    <a:pt x="889" y="189"/>
                  </a:lnTo>
                  <a:lnTo>
                    <a:pt x="893" y="192"/>
                  </a:lnTo>
                  <a:lnTo>
                    <a:pt x="894" y="192"/>
                  </a:lnTo>
                  <a:lnTo>
                    <a:pt x="896" y="192"/>
                  </a:lnTo>
                  <a:lnTo>
                    <a:pt x="897" y="192"/>
                  </a:lnTo>
                  <a:lnTo>
                    <a:pt x="899" y="192"/>
                  </a:lnTo>
                  <a:lnTo>
                    <a:pt x="902" y="194"/>
                  </a:lnTo>
                  <a:lnTo>
                    <a:pt x="905" y="194"/>
                  </a:lnTo>
                  <a:lnTo>
                    <a:pt x="908" y="195"/>
                  </a:lnTo>
                  <a:lnTo>
                    <a:pt x="912" y="197"/>
                  </a:lnTo>
                  <a:lnTo>
                    <a:pt x="918" y="198"/>
                  </a:lnTo>
                  <a:lnTo>
                    <a:pt x="923" y="203"/>
                  </a:lnTo>
                  <a:lnTo>
                    <a:pt x="927" y="206"/>
                  </a:lnTo>
                  <a:lnTo>
                    <a:pt x="934" y="210"/>
                  </a:lnTo>
                  <a:lnTo>
                    <a:pt x="937" y="213"/>
                  </a:lnTo>
                  <a:lnTo>
                    <a:pt x="940" y="213"/>
                  </a:lnTo>
                  <a:lnTo>
                    <a:pt x="943" y="213"/>
                  </a:lnTo>
                  <a:lnTo>
                    <a:pt x="948" y="214"/>
                  </a:lnTo>
                  <a:lnTo>
                    <a:pt x="953" y="213"/>
                  </a:lnTo>
                  <a:lnTo>
                    <a:pt x="956" y="213"/>
                  </a:lnTo>
                  <a:lnTo>
                    <a:pt x="961" y="211"/>
                  </a:lnTo>
                  <a:lnTo>
                    <a:pt x="964" y="210"/>
                  </a:lnTo>
                  <a:lnTo>
                    <a:pt x="965" y="208"/>
                  </a:lnTo>
                  <a:lnTo>
                    <a:pt x="967" y="206"/>
                  </a:lnTo>
                  <a:lnTo>
                    <a:pt x="968" y="205"/>
                  </a:lnTo>
                  <a:lnTo>
                    <a:pt x="968" y="203"/>
                  </a:lnTo>
                  <a:lnTo>
                    <a:pt x="968" y="202"/>
                  </a:lnTo>
                  <a:lnTo>
                    <a:pt x="970" y="198"/>
                  </a:lnTo>
                  <a:lnTo>
                    <a:pt x="970" y="197"/>
                  </a:lnTo>
                  <a:lnTo>
                    <a:pt x="970" y="195"/>
                  </a:lnTo>
                  <a:lnTo>
                    <a:pt x="970" y="191"/>
                  </a:lnTo>
                  <a:lnTo>
                    <a:pt x="968" y="187"/>
                  </a:lnTo>
                  <a:lnTo>
                    <a:pt x="967" y="184"/>
                  </a:lnTo>
                  <a:lnTo>
                    <a:pt x="965" y="183"/>
                  </a:lnTo>
                  <a:lnTo>
                    <a:pt x="964" y="181"/>
                  </a:lnTo>
                  <a:lnTo>
                    <a:pt x="962" y="180"/>
                  </a:lnTo>
                  <a:lnTo>
                    <a:pt x="961" y="175"/>
                  </a:lnTo>
                  <a:lnTo>
                    <a:pt x="961" y="172"/>
                  </a:lnTo>
                  <a:lnTo>
                    <a:pt x="964" y="165"/>
                  </a:lnTo>
                  <a:lnTo>
                    <a:pt x="964" y="164"/>
                  </a:lnTo>
                  <a:lnTo>
                    <a:pt x="964" y="148"/>
                  </a:lnTo>
                  <a:lnTo>
                    <a:pt x="964" y="140"/>
                  </a:lnTo>
                  <a:lnTo>
                    <a:pt x="964" y="132"/>
                  </a:lnTo>
                  <a:lnTo>
                    <a:pt x="964" y="126"/>
                  </a:lnTo>
                  <a:lnTo>
                    <a:pt x="964" y="121"/>
                  </a:lnTo>
                  <a:lnTo>
                    <a:pt x="964" y="118"/>
                  </a:lnTo>
                  <a:lnTo>
                    <a:pt x="962" y="113"/>
                  </a:lnTo>
                  <a:lnTo>
                    <a:pt x="961" y="110"/>
                  </a:lnTo>
                  <a:lnTo>
                    <a:pt x="959" y="107"/>
                  </a:lnTo>
                  <a:lnTo>
                    <a:pt x="956" y="105"/>
                  </a:lnTo>
                  <a:lnTo>
                    <a:pt x="954" y="104"/>
                  </a:lnTo>
                  <a:lnTo>
                    <a:pt x="953" y="102"/>
                  </a:lnTo>
                  <a:lnTo>
                    <a:pt x="951" y="102"/>
                  </a:lnTo>
                  <a:lnTo>
                    <a:pt x="949" y="102"/>
                  </a:lnTo>
                  <a:lnTo>
                    <a:pt x="948" y="102"/>
                  </a:lnTo>
                  <a:lnTo>
                    <a:pt x="946" y="104"/>
                  </a:lnTo>
                  <a:lnTo>
                    <a:pt x="946" y="105"/>
                  </a:lnTo>
                  <a:lnTo>
                    <a:pt x="946" y="109"/>
                  </a:lnTo>
                  <a:lnTo>
                    <a:pt x="946" y="112"/>
                  </a:lnTo>
                  <a:lnTo>
                    <a:pt x="943" y="120"/>
                  </a:lnTo>
                  <a:lnTo>
                    <a:pt x="938" y="126"/>
                  </a:lnTo>
                  <a:lnTo>
                    <a:pt x="937" y="128"/>
                  </a:lnTo>
                  <a:lnTo>
                    <a:pt x="935" y="131"/>
                  </a:lnTo>
                  <a:lnTo>
                    <a:pt x="934" y="132"/>
                  </a:lnTo>
                  <a:lnTo>
                    <a:pt x="931" y="135"/>
                  </a:lnTo>
                  <a:lnTo>
                    <a:pt x="929" y="132"/>
                  </a:lnTo>
                  <a:lnTo>
                    <a:pt x="927" y="131"/>
                  </a:lnTo>
                  <a:lnTo>
                    <a:pt x="927" y="128"/>
                  </a:lnTo>
                  <a:lnTo>
                    <a:pt x="927" y="126"/>
                  </a:lnTo>
                  <a:lnTo>
                    <a:pt x="927" y="123"/>
                  </a:lnTo>
                  <a:lnTo>
                    <a:pt x="927" y="120"/>
                  </a:lnTo>
                  <a:lnTo>
                    <a:pt x="929" y="118"/>
                  </a:lnTo>
                  <a:lnTo>
                    <a:pt x="931" y="115"/>
                  </a:lnTo>
                  <a:lnTo>
                    <a:pt x="932" y="112"/>
                  </a:lnTo>
                  <a:lnTo>
                    <a:pt x="934" y="110"/>
                  </a:lnTo>
                  <a:lnTo>
                    <a:pt x="934" y="107"/>
                  </a:lnTo>
                  <a:lnTo>
                    <a:pt x="935" y="105"/>
                  </a:lnTo>
                  <a:lnTo>
                    <a:pt x="935" y="101"/>
                  </a:lnTo>
                  <a:lnTo>
                    <a:pt x="934" y="99"/>
                  </a:lnTo>
                  <a:lnTo>
                    <a:pt x="934" y="98"/>
                  </a:lnTo>
                  <a:lnTo>
                    <a:pt x="932" y="98"/>
                  </a:lnTo>
                  <a:lnTo>
                    <a:pt x="927" y="98"/>
                  </a:lnTo>
                  <a:lnTo>
                    <a:pt x="923" y="98"/>
                  </a:lnTo>
                  <a:close/>
                  <a:moveTo>
                    <a:pt x="910" y="28"/>
                  </a:moveTo>
                  <a:lnTo>
                    <a:pt x="910" y="27"/>
                  </a:lnTo>
                  <a:lnTo>
                    <a:pt x="907" y="25"/>
                  </a:lnTo>
                  <a:lnTo>
                    <a:pt x="905" y="23"/>
                  </a:lnTo>
                  <a:lnTo>
                    <a:pt x="904" y="19"/>
                  </a:lnTo>
                  <a:lnTo>
                    <a:pt x="900" y="12"/>
                  </a:lnTo>
                  <a:lnTo>
                    <a:pt x="899" y="8"/>
                  </a:lnTo>
                  <a:lnTo>
                    <a:pt x="896" y="4"/>
                  </a:lnTo>
                  <a:lnTo>
                    <a:pt x="894" y="3"/>
                  </a:lnTo>
                  <a:lnTo>
                    <a:pt x="893" y="0"/>
                  </a:lnTo>
                  <a:lnTo>
                    <a:pt x="889" y="0"/>
                  </a:lnTo>
                  <a:lnTo>
                    <a:pt x="888" y="0"/>
                  </a:lnTo>
                  <a:lnTo>
                    <a:pt x="886" y="0"/>
                  </a:lnTo>
                  <a:lnTo>
                    <a:pt x="886" y="1"/>
                  </a:lnTo>
                  <a:lnTo>
                    <a:pt x="885" y="3"/>
                  </a:lnTo>
                  <a:lnTo>
                    <a:pt x="885" y="4"/>
                  </a:lnTo>
                  <a:lnTo>
                    <a:pt x="885" y="8"/>
                  </a:lnTo>
                  <a:lnTo>
                    <a:pt x="883" y="8"/>
                  </a:lnTo>
                  <a:lnTo>
                    <a:pt x="878" y="12"/>
                  </a:lnTo>
                  <a:lnTo>
                    <a:pt x="874" y="16"/>
                  </a:lnTo>
                  <a:lnTo>
                    <a:pt x="872" y="19"/>
                  </a:lnTo>
                  <a:lnTo>
                    <a:pt x="869" y="19"/>
                  </a:lnTo>
                  <a:lnTo>
                    <a:pt x="866" y="19"/>
                  </a:lnTo>
                  <a:lnTo>
                    <a:pt x="863" y="20"/>
                  </a:lnTo>
                  <a:lnTo>
                    <a:pt x="859" y="23"/>
                  </a:lnTo>
                  <a:lnTo>
                    <a:pt x="856" y="25"/>
                  </a:lnTo>
                  <a:lnTo>
                    <a:pt x="853" y="28"/>
                  </a:lnTo>
                  <a:lnTo>
                    <a:pt x="852" y="31"/>
                  </a:lnTo>
                  <a:lnTo>
                    <a:pt x="852" y="33"/>
                  </a:lnTo>
                  <a:lnTo>
                    <a:pt x="852" y="34"/>
                  </a:lnTo>
                  <a:lnTo>
                    <a:pt x="852" y="38"/>
                  </a:lnTo>
                  <a:lnTo>
                    <a:pt x="852" y="39"/>
                  </a:lnTo>
                  <a:lnTo>
                    <a:pt x="853" y="41"/>
                  </a:lnTo>
                  <a:lnTo>
                    <a:pt x="856" y="42"/>
                  </a:lnTo>
                  <a:lnTo>
                    <a:pt x="856" y="44"/>
                  </a:lnTo>
                  <a:lnTo>
                    <a:pt x="859" y="44"/>
                  </a:lnTo>
                  <a:lnTo>
                    <a:pt x="859" y="45"/>
                  </a:lnTo>
                  <a:lnTo>
                    <a:pt x="859" y="47"/>
                  </a:lnTo>
                  <a:lnTo>
                    <a:pt x="859" y="52"/>
                  </a:lnTo>
                  <a:lnTo>
                    <a:pt x="859" y="55"/>
                  </a:lnTo>
                  <a:lnTo>
                    <a:pt x="856" y="58"/>
                  </a:lnTo>
                  <a:lnTo>
                    <a:pt x="855" y="61"/>
                  </a:lnTo>
                  <a:lnTo>
                    <a:pt x="853" y="66"/>
                  </a:lnTo>
                  <a:lnTo>
                    <a:pt x="850" y="68"/>
                  </a:lnTo>
                  <a:lnTo>
                    <a:pt x="848" y="69"/>
                  </a:lnTo>
                  <a:lnTo>
                    <a:pt x="847" y="69"/>
                  </a:lnTo>
                  <a:lnTo>
                    <a:pt x="845" y="69"/>
                  </a:lnTo>
                  <a:lnTo>
                    <a:pt x="844" y="69"/>
                  </a:lnTo>
                  <a:lnTo>
                    <a:pt x="844" y="74"/>
                  </a:lnTo>
                  <a:lnTo>
                    <a:pt x="844" y="77"/>
                  </a:lnTo>
                  <a:lnTo>
                    <a:pt x="840" y="79"/>
                  </a:lnTo>
                  <a:lnTo>
                    <a:pt x="839" y="80"/>
                  </a:lnTo>
                  <a:lnTo>
                    <a:pt x="836" y="82"/>
                  </a:lnTo>
                  <a:lnTo>
                    <a:pt x="836" y="85"/>
                  </a:lnTo>
                  <a:lnTo>
                    <a:pt x="836" y="86"/>
                  </a:lnTo>
                  <a:lnTo>
                    <a:pt x="837" y="86"/>
                  </a:lnTo>
                  <a:lnTo>
                    <a:pt x="840" y="88"/>
                  </a:lnTo>
                  <a:lnTo>
                    <a:pt x="840" y="90"/>
                  </a:lnTo>
                  <a:lnTo>
                    <a:pt x="847" y="90"/>
                  </a:lnTo>
                  <a:lnTo>
                    <a:pt x="852" y="91"/>
                  </a:lnTo>
                  <a:lnTo>
                    <a:pt x="853" y="94"/>
                  </a:lnTo>
                  <a:lnTo>
                    <a:pt x="856" y="98"/>
                  </a:lnTo>
                  <a:lnTo>
                    <a:pt x="856" y="101"/>
                  </a:lnTo>
                  <a:lnTo>
                    <a:pt x="859" y="104"/>
                  </a:lnTo>
                  <a:lnTo>
                    <a:pt x="861" y="107"/>
                  </a:lnTo>
                  <a:lnTo>
                    <a:pt x="863" y="110"/>
                  </a:lnTo>
                  <a:lnTo>
                    <a:pt x="864" y="110"/>
                  </a:lnTo>
                  <a:lnTo>
                    <a:pt x="866" y="112"/>
                  </a:lnTo>
                  <a:lnTo>
                    <a:pt x="867" y="112"/>
                  </a:lnTo>
                  <a:lnTo>
                    <a:pt x="869" y="112"/>
                  </a:lnTo>
                  <a:lnTo>
                    <a:pt x="872" y="112"/>
                  </a:lnTo>
                  <a:lnTo>
                    <a:pt x="874" y="112"/>
                  </a:lnTo>
                  <a:lnTo>
                    <a:pt x="877" y="110"/>
                  </a:lnTo>
                  <a:lnTo>
                    <a:pt x="878" y="110"/>
                  </a:lnTo>
                  <a:lnTo>
                    <a:pt x="882" y="107"/>
                  </a:lnTo>
                  <a:lnTo>
                    <a:pt x="885" y="105"/>
                  </a:lnTo>
                  <a:lnTo>
                    <a:pt x="888" y="102"/>
                  </a:lnTo>
                  <a:lnTo>
                    <a:pt x="891" y="99"/>
                  </a:lnTo>
                  <a:lnTo>
                    <a:pt x="893" y="98"/>
                  </a:lnTo>
                  <a:lnTo>
                    <a:pt x="894" y="98"/>
                  </a:lnTo>
                  <a:lnTo>
                    <a:pt x="896" y="96"/>
                  </a:lnTo>
                  <a:lnTo>
                    <a:pt x="897" y="94"/>
                  </a:lnTo>
                  <a:lnTo>
                    <a:pt x="905" y="94"/>
                  </a:lnTo>
                  <a:lnTo>
                    <a:pt x="915" y="91"/>
                  </a:lnTo>
                  <a:lnTo>
                    <a:pt x="916" y="90"/>
                  </a:lnTo>
                  <a:lnTo>
                    <a:pt x="919" y="90"/>
                  </a:lnTo>
                  <a:lnTo>
                    <a:pt x="919" y="88"/>
                  </a:lnTo>
                  <a:lnTo>
                    <a:pt x="923" y="86"/>
                  </a:lnTo>
                  <a:lnTo>
                    <a:pt x="924" y="86"/>
                  </a:lnTo>
                  <a:lnTo>
                    <a:pt x="926" y="85"/>
                  </a:lnTo>
                  <a:lnTo>
                    <a:pt x="926" y="82"/>
                  </a:lnTo>
                  <a:lnTo>
                    <a:pt x="926" y="80"/>
                  </a:lnTo>
                  <a:lnTo>
                    <a:pt x="926" y="79"/>
                  </a:lnTo>
                  <a:lnTo>
                    <a:pt x="924" y="77"/>
                  </a:lnTo>
                  <a:lnTo>
                    <a:pt x="923" y="75"/>
                  </a:lnTo>
                  <a:lnTo>
                    <a:pt x="921" y="74"/>
                  </a:lnTo>
                  <a:lnTo>
                    <a:pt x="919" y="72"/>
                  </a:lnTo>
                  <a:lnTo>
                    <a:pt x="916" y="71"/>
                  </a:lnTo>
                  <a:lnTo>
                    <a:pt x="915" y="68"/>
                  </a:lnTo>
                  <a:lnTo>
                    <a:pt x="915" y="66"/>
                  </a:lnTo>
                  <a:lnTo>
                    <a:pt x="913" y="66"/>
                  </a:lnTo>
                  <a:lnTo>
                    <a:pt x="913" y="64"/>
                  </a:lnTo>
                  <a:lnTo>
                    <a:pt x="913" y="61"/>
                  </a:lnTo>
                  <a:lnTo>
                    <a:pt x="913" y="60"/>
                  </a:lnTo>
                  <a:lnTo>
                    <a:pt x="915" y="58"/>
                  </a:lnTo>
                  <a:lnTo>
                    <a:pt x="915" y="57"/>
                  </a:lnTo>
                  <a:lnTo>
                    <a:pt x="916" y="55"/>
                  </a:lnTo>
                  <a:lnTo>
                    <a:pt x="919" y="53"/>
                  </a:lnTo>
                  <a:lnTo>
                    <a:pt x="921" y="52"/>
                  </a:lnTo>
                  <a:lnTo>
                    <a:pt x="923" y="49"/>
                  </a:lnTo>
                  <a:lnTo>
                    <a:pt x="924" y="47"/>
                  </a:lnTo>
                  <a:lnTo>
                    <a:pt x="926" y="45"/>
                  </a:lnTo>
                  <a:lnTo>
                    <a:pt x="926" y="44"/>
                  </a:lnTo>
                  <a:lnTo>
                    <a:pt x="926" y="42"/>
                  </a:lnTo>
                  <a:lnTo>
                    <a:pt x="926" y="38"/>
                  </a:lnTo>
                  <a:lnTo>
                    <a:pt x="924" y="36"/>
                  </a:lnTo>
                  <a:lnTo>
                    <a:pt x="923" y="33"/>
                  </a:lnTo>
                  <a:lnTo>
                    <a:pt x="921" y="31"/>
                  </a:lnTo>
                  <a:lnTo>
                    <a:pt x="919" y="28"/>
                  </a:lnTo>
                  <a:lnTo>
                    <a:pt x="916" y="28"/>
                  </a:lnTo>
                  <a:lnTo>
                    <a:pt x="913" y="28"/>
                  </a:lnTo>
                  <a:lnTo>
                    <a:pt x="910" y="28"/>
                  </a:lnTo>
                  <a:close/>
                  <a:moveTo>
                    <a:pt x="842" y="107"/>
                  </a:moveTo>
                  <a:lnTo>
                    <a:pt x="840" y="107"/>
                  </a:lnTo>
                  <a:lnTo>
                    <a:pt x="839" y="109"/>
                  </a:lnTo>
                  <a:lnTo>
                    <a:pt x="837" y="110"/>
                  </a:lnTo>
                  <a:lnTo>
                    <a:pt x="836" y="110"/>
                  </a:lnTo>
                  <a:lnTo>
                    <a:pt x="834" y="112"/>
                  </a:lnTo>
                  <a:lnTo>
                    <a:pt x="833" y="112"/>
                  </a:lnTo>
                  <a:lnTo>
                    <a:pt x="833" y="115"/>
                  </a:lnTo>
                  <a:lnTo>
                    <a:pt x="833" y="118"/>
                  </a:lnTo>
                  <a:lnTo>
                    <a:pt x="833" y="120"/>
                  </a:lnTo>
                  <a:lnTo>
                    <a:pt x="833" y="123"/>
                  </a:lnTo>
                  <a:lnTo>
                    <a:pt x="833" y="126"/>
                  </a:lnTo>
                  <a:lnTo>
                    <a:pt x="834" y="128"/>
                  </a:lnTo>
                  <a:lnTo>
                    <a:pt x="836" y="131"/>
                  </a:lnTo>
                  <a:lnTo>
                    <a:pt x="837" y="132"/>
                  </a:lnTo>
                  <a:lnTo>
                    <a:pt x="839" y="134"/>
                  </a:lnTo>
                  <a:lnTo>
                    <a:pt x="842" y="135"/>
                  </a:lnTo>
                  <a:lnTo>
                    <a:pt x="845" y="135"/>
                  </a:lnTo>
                  <a:lnTo>
                    <a:pt x="850" y="137"/>
                  </a:lnTo>
                  <a:lnTo>
                    <a:pt x="850" y="139"/>
                  </a:lnTo>
                  <a:lnTo>
                    <a:pt x="852" y="140"/>
                  </a:lnTo>
                  <a:lnTo>
                    <a:pt x="852" y="142"/>
                  </a:lnTo>
                  <a:lnTo>
                    <a:pt x="852" y="143"/>
                  </a:lnTo>
                  <a:lnTo>
                    <a:pt x="853" y="143"/>
                  </a:lnTo>
                  <a:lnTo>
                    <a:pt x="855" y="143"/>
                  </a:lnTo>
                  <a:lnTo>
                    <a:pt x="856" y="143"/>
                  </a:lnTo>
                  <a:lnTo>
                    <a:pt x="858" y="145"/>
                  </a:lnTo>
                  <a:lnTo>
                    <a:pt x="859" y="143"/>
                  </a:lnTo>
                  <a:lnTo>
                    <a:pt x="861" y="142"/>
                  </a:lnTo>
                  <a:lnTo>
                    <a:pt x="864" y="139"/>
                  </a:lnTo>
                  <a:lnTo>
                    <a:pt x="866" y="135"/>
                  </a:lnTo>
                  <a:lnTo>
                    <a:pt x="869" y="128"/>
                  </a:lnTo>
                  <a:lnTo>
                    <a:pt x="870" y="126"/>
                  </a:lnTo>
                  <a:lnTo>
                    <a:pt x="870" y="123"/>
                  </a:lnTo>
                  <a:lnTo>
                    <a:pt x="869" y="121"/>
                  </a:lnTo>
                  <a:lnTo>
                    <a:pt x="869" y="120"/>
                  </a:lnTo>
                  <a:lnTo>
                    <a:pt x="867" y="118"/>
                  </a:lnTo>
                  <a:lnTo>
                    <a:pt x="866" y="116"/>
                  </a:lnTo>
                  <a:lnTo>
                    <a:pt x="864" y="115"/>
                  </a:lnTo>
                  <a:lnTo>
                    <a:pt x="861" y="113"/>
                  </a:lnTo>
                  <a:lnTo>
                    <a:pt x="859" y="112"/>
                  </a:lnTo>
                  <a:lnTo>
                    <a:pt x="855" y="110"/>
                  </a:lnTo>
                  <a:lnTo>
                    <a:pt x="850" y="109"/>
                  </a:lnTo>
                  <a:lnTo>
                    <a:pt x="845" y="107"/>
                  </a:lnTo>
                  <a:lnTo>
                    <a:pt x="842" y="107"/>
                  </a:lnTo>
                  <a:close/>
                  <a:moveTo>
                    <a:pt x="826" y="4"/>
                  </a:moveTo>
                  <a:lnTo>
                    <a:pt x="821" y="4"/>
                  </a:lnTo>
                  <a:lnTo>
                    <a:pt x="818" y="4"/>
                  </a:lnTo>
                  <a:lnTo>
                    <a:pt x="817" y="6"/>
                  </a:lnTo>
                  <a:lnTo>
                    <a:pt x="815" y="6"/>
                  </a:lnTo>
                  <a:lnTo>
                    <a:pt x="815" y="8"/>
                  </a:lnTo>
                  <a:lnTo>
                    <a:pt x="815" y="11"/>
                  </a:lnTo>
                  <a:lnTo>
                    <a:pt x="815" y="12"/>
                  </a:lnTo>
                  <a:lnTo>
                    <a:pt x="815" y="16"/>
                  </a:lnTo>
                  <a:lnTo>
                    <a:pt x="815" y="19"/>
                  </a:lnTo>
                  <a:lnTo>
                    <a:pt x="818" y="19"/>
                  </a:lnTo>
                  <a:lnTo>
                    <a:pt x="818" y="20"/>
                  </a:lnTo>
                  <a:lnTo>
                    <a:pt x="820" y="22"/>
                  </a:lnTo>
                  <a:lnTo>
                    <a:pt x="823" y="22"/>
                  </a:lnTo>
                  <a:lnTo>
                    <a:pt x="826" y="22"/>
                  </a:lnTo>
                  <a:lnTo>
                    <a:pt x="828" y="22"/>
                  </a:lnTo>
                  <a:lnTo>
                    <a:pt x="829" y="20"/>
                  </a:lnTo>
                  <a:lnTo>
                    <a:pt x="831" y="20"/>
                  </a:lnTo>
                  <a:lnTo>
                    <a:pt x="831" y="19"/>
                  </a:lnTo>
                  <a:lnTo>
                    <a:pt x="833" y="16"/>
                  </a:lnTo>
                  <a:lnTo>
                    <a:pt x="836" y="14"/>
                  </a:lnTo>
                  <a:lnTo>
                    <a:pt x="829" y="8"/>
                  </a:lnTo>
                  <a:lnTo>
                    <a:pt x="826" y="4"/>
                  </a:lnTo>
                  <a:close/>
                </a:path>
              </a:pathLst>
            </a:custGeom>
            <a:solidFill>
              <a:srgbClr val="0070C0">
                <a:alpha val="10000"/>
              </a:srgbClr>
            </a:solidFill>
            <a:ln w="9525">
              <a:solidFill>
                <a:srgbClr val="FFFFFF">
                  <a:alpha val="0"/>
                </a:srgbClr>
              </a:solidFill>
              <a:round/>
              <a:headEnd/>
              <a:tailEnd/>
            </a:ln>
          </p:spPr>
          <p:txBody>
            <a:bodyPr lIns="91413" tIns="45707" rIns="91413" bIns="45707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372">
                <a:defRPr/>
              </a:pPr>
              <a:endParaRPr lang="ru-RU" sz="1700" dirty="0">
                <a:solidFill>
                  <a:srgbClr val="000000"/>
                </a:solidFill>
                <a:latin typeface="Arial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id="{FDF52119-7106-45BC-8EDC-16E10CCAC046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 rot="389746">
              <a:off x="4971987" y="7406729"/>
              <a:ext cx="1885801" cy="2067672"/>
            </a:xfrm>
            <a:custGeom>
              <a:avLst/>
              <a:gdLst>
                <a:gd name="T0" fmla="*/ 2147483647 w 687"/>
                <a:gd name="T1" fmla="*/ 2147483647 h 819"/>
                <a:gd name="T2" fmla="*/ 2147483647 w 687"/>
                <a:gd name="T3" fmla="*/ 2147483647 h 819"/>
                <a:gd name="T4" fmla="*/ 2147483647 w 687"/>
                <a:gd name="T5" fmla="*/ 2147483647 h 819"/>
                <a:gd name="T6" fmla="*/ 2147483647 w 687"/>
                <a:gd name="T7" fmla="*/ 2147483647 h 819"/>
                <a:gd name="T8" fmla="*/ 2147483647 w 687"/>
                <a:gd name="T9" fmla="*/ 2147483647 h 819"/>
                <a:gd name="T10" fmla="*/ 2147483647 w 687"/>
                <a:gd name="T11" fmla="*/ 2147483647 h 819"/>
                <a:gd name="T12" fmla="*/ 2147483647 w 687"/>
                <a:gd name="T13" fmla="*/ 2147483647 h 819"/>
                <a:gd name="T14" fmla="*/ 2147483647 w 687"/>
                <a:gd name="T15" fmla="*/ 2147483647 h 819"/>
                <a:gd name="T16" fmla="*/ 2147483647 w 687"/>
                <a:gd name="T17" fmla="*/ 2147483647 h 819"/>
                <a:gd name="T18" fmla="*/ 2147483647 w 687"/>
                <a:gd name="T19" fmla="*/ 2147483647 h 819"/>
                <a:gd name="T20" fmla="*/ 2147483647 w 687"/>
                <a:gd name="T21" fmla="*/ 2147483647 h 819"/>
                <a:gd name="T22" fmla="*/ 2147483647 w 687"/>
                <a:gd name="T23" fmla="*/ 2147483647 h 819"/>
                <a:gd name="T24" fmla="*/ 2147483647 w 687"/>
                <a:gd name="T25" fmla="*/ 2147483647 h 819"/>
                <a:gd name="T26" fmla="*/ 2147483647 w 687"/>
                <a:gd name="T27" fmla="*/ 2147483647 h 819"/>
                <a:gd name="T28" fmla="*/ 2147483647 w 687"/>
                <a:gd name="T29" fmla="*/ 2147483647 h 819"/>
                <a:gd name="T30" fmla="*/ 2147483647 w 687"/>
                <a:gd name="T31" fmla="*/ 2147483647 h 819"/>
                <a:gd name="T32" fmla="*/ 2147483647 w 687"/>
                <a:gd name="T33" fmla="*/ 2147483647 h 819"/>
                <a:gd name="T34" fmla="*/ 2147483647 w 687"/>
                <a:gd name="T35" fmla="*/ 2147483647 h 819"/>
                <a:gd name="T36" fmla="*/ 2147483647 w 687"/>
                <a:gd name="T37" fmla="*/ 2147483647 h 819"/>
                <a:gd name="T38" fmla="*/ 2147483647 w 687"/>
                <a:gd name="T39" fmla="*/ 2147483647 h 819"/>
                <a:gd name="T40" fmla="*/ 2147483647 w 687"/>
                <a:gd name="T41" fmla="*/ 2147483647 h 819"/>
                <a:gd name="T42" fmla="*/ 2147483647 w 687"/>
                <a:gd name="T43" fmla="*/ 2147483647 h 819"/>
                <a:gd name="T44" fmla="*/ 2147483647 w 687"/>
                <a:gd name="T45" fmla="*/ 2147483647 h 819"/>
                <a:gd name="T46" fmla="*/ 2147483647 w 687"/>
                <a:gd name="T47" fmla="*/ 2147483647 h 819"/>
                <a:gd name="T48" fmla="*/ 2147483647 w 687"/>
                <a:gd name="T49" fmla="*/ 2147483647 h 819"/>
                <a:gd name="T50" fmla="*/ 2147483647 w 687"/>
                <a:gd name="T51" fmla="*/ 2147483647 h 819"/>
                <a:gd name="T52" fmla="*/ 2147483647 w 687"/>
                <a:gd name="T53" fmla="*/ 2147483647 h 819"/>
                <a:gd name="T54" fmla="*/ 2147483647 w 687"/>
                <a:gd name="T55" fmla="*/ 2147483647 h 819"/>
                <a:gd name="T56" fmla="*/ 2147483647 w 687"/>
                <a:gd name="T57" fmla="*/ 2147483647 h 819"/>
                <a:gd name="T58" fmla="*/ 2147483647 w 687"/>
                <a:gd name="T59" fmla="*/ 2147483647 h 819"/>
                <a:gd name="T60" fmla="*/ 2147483647 w 687"/>
                <a:gd name="T61" fmla="*/ 2147483647 h 819"/>
                <a:gd name="T62" fmla="*/ 2147483647 w 687"/>
                <a:gd name="T63" fmla="*/ 2147483647 h 819"/>
                <a:gd name="T64" fmla="*/ 2147483647 w 687"/>
                <a:gd name="T65" fmla="*/ 2147483647 h 819"/>
                <a:gd name="T66" fmla="*/ 2147483647 w 687"/>
                <a:gd name="T67" fmla="*/ 2147483647 h 819"/>
                <a:gd name="T68" fmla="*/ 2147483647 w 687"/>
                <a:gd name="T69" fmla="*/ 2147483647 h 819"/>
                <a:gd name="T70" fmla="*/ 2147483647 w 687"/>
                <a:gd name="T71" fmla="*/ 2147483647 h 819"/>
                <a:gd name="T72" fmla="*/ 2147483647 w 687"/>
                <a:gd name="T73" fmla="*/ 2147483647 h 819"/>
                <a:gd name="T74" fmla="*/ 2147483647 w 687"/>
                <a:gd name="T75" fmla="*/ 2147483647 h 819"/>
                <a:gd name="T76" fmla="*/ 2147483647 w 687"/>
                <a:gd name="T77" fmla="*/ 2147483647 h 819"/>
                <a:gd name="T78" fmla="*/ 2147483647 w 687"/>
                <a:gd name="T79" fmla="*/ 2147483647 h 819"/>
                <a:gd name="T80" fmla="*/ 2147483647 w 687"/>
                <a:gd name="T81" fmla="*/ 2147483647 h 819"/>
                <a:gd name="T82" fmla="*/ 2147483647 w 687"/>
                <a:gd name="T83" fmla="*/ 2147483647 h 819"/>
                <a:gd name="T84" fmla="*/ 2147483647 w 687"/>
                <a:gd name="T85" fmla="*/ 2147483647 h 819"/>
                <a:gd name="T86" fmla="*/ 2147483647 w 687"/>
                <a:gd name="T87" fmla="*/ 2147483647 h 819"/>
                <a:gd name="T88" fmla="*/ 2147483647 w 687"/>
                <a:gd name="T89" fmla="*/ 2147483647 h 819"/>
                <a:gd name="T90" fmla="*/ 2147483647 w 687"/>
                <a:gd name="T91" fmla="*/ 2147483647 h 819"/>
                <a:gd name="T92" fmla="*/ 2147483647 w 687"/>
                <a:gd name="T93" fmla="*/ 2147483647 h 819"/>
                <a:gd name="T94" fmla="*/ 2147483647 w 687"/>
                <a:gd name="T95" fmla="*/ 2147483647 h 819"/>
                <a:gd name="T96" fmla="*/ 2147483647 w 687"/>
                <a:gd name="T97" fmla="*/ 2147483647 h 819"/>
                <a:gd name="T98" fmla="*/ 2147483647 w 687"/>
                <a:gd name="T99" fmla="*/ 2147483647 h 819"/>
                <a:gd name="T100" fmla="*/ 2147483647 w 687"/>
                <a:gd name="T101" fmla="*/ 2147483647 h 819"/>
                <a:gd name="T102" fmla="*/ 2147483647 w 687"/>
                <a:gd name="T103" fmla="*/ 2147483647 h 819"/>
                <a:gd name="T104" fmla="*/ 2147483647 w 687"/>
                <a:gd name="T105" fmla="*/ 2147483647 h 819"/>
                <a:gd name="T106" fmla="*/ 2147483647 w 687"/>
                <a:gd name="T107" fmla="*/ 2147483647 h 819"/>
                <a:gd name="T108" fmla="*/ 2147483647 w 687"/>
                <a:gd name="T109" fmla="*/ 2147483647 h 819"/>
                <a:gd name="T110" fmla="*/ 2147483647 w 687"/>
                <a:gd name="T111" fmla="*/ 2147483647 h 819"/>
                <a:gd name="T112" fmla="*/ 2147483647 w 687"/>
                <a:gd name="T113" fmla="*/ 2147483647 h 819"/>
                <a:gd name="T114" fmla="*/ 2147483647 w 687"/>
                <a:gd name="T115" fmla="*/ 2147483647 h 819"/>
                <a:gd name="T116" fmla="*/ 2147483647 w 687"/>
                <a:gd name="T117" fmla="*/ 2147483647 h 81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87"/>
                <a:gd name="T178" fmla="*/ 0 h 819"/>
                <a:gd name="T179" fmla="*/ 687 w 687"/>
                <a:gd name="T180" fmla="*/ 819 h 81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87" h="819">
                  <a:moveTo>
                    <a:pt x="174" y="555"/>
                  </a:moveTo>
                  <a:lnTo>
                    <a:pt x="174" y="557"/>
                  </a:lnTo>
                  <a:lnTo>
                    <a:pt x="174" y="558"/>
                  </a:lnTo>
                  <a:lnTo>
                    <a:pt x="175" y="560"/>
                  </a:lnTo>
                  <a:lnTo>
                    <a:pt x="178" y="563"/>
                  </a:lnTo>
                  <a:lnTo>
                    <a:pt x="180" y="566"/>
                  </a:lnTo>
                  <a:lnTo>
                    <a:pt x="182" y="568"/>
                  </a:lnTo>
                  <a:lnTo>
                    <a:pt x="185" y="571"/>
                  </a:lnTo>
                  <a:lnTo>
                    <a:pt x="185" y="573"/>
                  </a:lnTo>
                  <a:lnTo>
                    <a:pt x="185" y="576"/>
                  </a:lnTo>
                  <a:lnTo>
                    <a:pt x="182" y="581"/>
                  </a:lnTo>
                  <a:lnTo>
                    <a:pt x="180" y="585"/>
                  </a:lnTo>
                  <a:lnTo>
                    <a:pt x="180" y="587"/>
                  </a:lnTo>
                  <a:lnTo>
                    <a:pt x="182" y="590"/>
                  </a:lnTo>
                  <a:lnTo>
                    <a:pt x="183" y="592"/>
                  </a:lnTo>
                  <a:lnTo>
                    <a:pt x="185" y="593"/>
                  </a:lnTo>
                  <a:lnTo>
                    <a:pt x="188" y="595"/>
                  </a:lnTo>
                  <a:lnTo>
                    <a:pt x="191" y="596"/>
                  </a:lnTo>
                  <a:lnTo>
                    <a:pt x="194" y="596"/>
                  </a:lnTo>
                  <a:lnTo>
                    <a:pt x="197" y="598"/>
                  </a:lnTo>
                  <a:lnTo>
                    <a:pt x="207" y="599"/>
                  </a:lnTo>
                  <a:lnTo>
                    <a:pt x="215" y="599"/>
                  </a:lnTo>
                  <a:lnTo>
                    <a:pt x="221" y="599"/>
                  </a:lnTo>
                  <a:lnTo>
                    <a:pt x="226" y="599"/>
                  </a:lnTo>
                  <a:lnTo>
                    <a:pt x="226" y="601"/>
                  </a:lnTo>
                  <a:lnTo>
                    <a:pt x="226" y="603"/>
                  </a:lnTo>
                  <a:lnTo>
                    <a:pt x="226" y="607"/>
                  </a:lnTo>
                  <a:lnTo>
                    <a:pt x="226" y="609"/>
                  </a:lnTo>
                  <a:lnTo>
                    <a:pt x="226" y="610"/>
                  </a:lnTo>
                  <a:lnTo>
                    <a:pt x="227" y="612"/>
                  </a:lnTo>
                  <a:lnTo>
                    <a:pt x="227" y="614"/>
                  </a:lnTo>
                  <a:lnTo>
                    <a:pt x="232" y="615"/>
                  </a:lnTo>
                  <a:lnTo>
                    <a:pt x="235" y="617"/>
                  </a:lnTo>
                  <a:lnTo>
                    <a:pt x="240" y="620"/>
                  </a:lnTo>
                  <a:lnTo>
                    <a:pt x="243" y="622"/>
                  </a:lnTo>
                  <a:lnTo>
                    <a:pt x="246" y="623"/>
                  </a:lnTo>
                  <a:lnTo>
                    <a:pt x="248" y="625"/>
                  </a:lnTo>
                  <a:lnTo>
                    <a:pt x="250" y="626"/>
                  </a:lnTo>
                  <a:lnTo>
                    <a:pt x="251" y="629"/>
                  </a:lnTo>
                  <a:lnTo>
                    <a:pt x="254" y="633"/>
                  </a:lnTo>
                  <a:lnTo>
                    <a:pt x="256" y="636"/>
                  </a:lnTo>
                  <a:lnTo>
                    <a:pt x="256" y="640"/>
                  </a:lnTo>
                  <a:lnTo>
                    <a:pt x="256" y="644"/>
                  </a:lnTo>
                  <a:lnTo>
                    <a:pt x="257" y="648"/>
                  </a:lnTo>
                  <a:lnTo>
                    <a:pt x="256" y="663"/>
                  </a:lnTo>
                  <a:lnTo>
                    <a:pt x="254" y="666"/>
                  </a:lnTo>
                  <a:lnTo>
                    <a:pt x="251" y="669"/>
                  </a:lnTo>
                  <a:lnTo>
                    <a:pt x="250" y="672"/>
                  </a:lnTo>
                  <a:lnTo>
                    <a:pt x="248" y="675"/>
                  </a:lnTo>
                  <a:lnTo>
                    <a:pt x="246" y="678"/>
                  </a:lnTo>
                  <a:lnTo>
                    <a:pt x="246" y="683"/>
                  </a:lnTo>
                  <a:lnTo>
                    <a:pt x="246" y="686"/>
                  </a:lnTo>
                  <a:lnTo>
                    <a:pt x="246" y="689"/>
                  </a:lnTo>
                  <a:lnTo>
                    <a:pt x="246" y="694"/>
                  </a:lnTo>
                  <a:lnTo>
                    <a:pt x="248" y="696"/>
                  </a:lnTo>
                  <a:lnTo>
                    <a:pt x="248" y="697"/>
                  </a:lnTo>
                  <a:lnTo>
                    <a:pt x="250" y="700"/>
                  </a:lnTo>
                  <a:lnTo>
                    <a:pt x="251" y="700"/>
                  </a:lnTo>
                  <a:lnTo>
                    <a:pt x="253" y="702"/>
                  </a:lnTo>
                  <a:lnTo>
                    <a:pt x="256" y="704"/>
                  </a:lnTo>
                  <a:lnTo>
                    <a:pt x="259" y="707"/>
                  </a:lnTo>
                  <a:lnTo>
                    <a:pt x="262" y="708"/>
                  </a:lnTo>
                  <a:lnTo>
                    <a:pt x="264" y="710"/>
                  </a:lnTo>
                  <a:lnTo>
                    <a:pt x="264" y="711"/>
                  </a:lnTo>
                  <a:lnTo>
                    <a:pt x="265" y="715"/>
                  </a:lnTo>
                  <a:lnTo>
                    <a:pt x="267" y="716"/>
                  </a:lnTo>
                  <a:lnTo>
                    <a:pt x="268" y="727"/>
                  </a:lnTo>
                  <a:lnTo>
                    <a:pt x="272" y="738"/>
                  </a:lnTo>
                  <a:lnTo>
                    <a:pt x="275" y="743"/>
                  </a:lnTo>
                  <a:lnTo>
                    <a:pt x="275" y="748"/>
                  </a:lnTo>
                  <a:lnTo>
                    <a:pt x="278" y="752"/>
                  </a:lnTo>
                  <a:lnTo>
                    <a:pt x="281" y="757"/>
                  </a:lnTo>
                  <a:lnTo>
                    <a:pt x="281" y="798"/>
                  </a:lnTo>
                  <a:lnTo>
                    <a:pt x="281" y="801"/>
                  </a:lnTo>
                  <a:lnTo>
                    <a:pt x="284" y="805"/>
                  </a:lnTo>
                  <a:lnTo>
                    <a:pt x="286" y="808"/>
                  </a:lnTo>
                  <a:lnTo>
                    <a:pt x="289" y="811"/>
                  </a:lnTo>
                  <a:lnTo>
                    <a:pt x="292" y="814"/>
                  </a:lnTo>
                  <a:lnTo>
                    <a:pt x="295" y="816"/>
                  </a:lnTo>
                  <a:lnTo>
                    <a:pt x="297" y="817"/>
                  </a:lnTo>
                  <a:lnTo>
                    <a:pt x="299" y="819"/>
                  </a:lnTo>
                  <a:lnTo>
                    <a:pt x="300" y="819"/>
                  </a:lnTo>
                  <a:lnTo>
                    <a:pt x="302" y="819"/>
                  </a:lnTo>
                  <a:lnTo>
                    <a:pt x="305" y="819"/>
                  </a:lnTo>
                  <a:lnTo>
                    <a:pt x="308" y="817"/>
                  </a:lnTo>
                  <a:lnTo>
                    <a:pt x="311" y="816"/>
                  </a:lnTo>
                  <a:lnTo>
                    <a:pt x="313" y="814"/>
                  </a:lnTo>
                  <a:lnTo>
                    <a:pt x="316" y="812"/>
                  </a:lnTo>
                  <a:lnTo>
                    <a:pt x="317" y="811"/>
                  </a:lnTo>
                  <a:lnTo>
                    <a:pt x="321" y="811"/>
                  </a:lnTo>
                  <a:lnTo>
                    <a:pt x="324" y="809"/>
                  </a:lnTo>
                  <a:lnTo>
                    <a:pt x="330" y="809"/>
                  </a:lnTo>
                  <a:lnTo>
                    <a:pt x="336" y="809"/>
                  </a:lnTo>
                  <a:lnTo>
                    <a:pt x="343" y="809"/>
                  </a:lnTo>
                  <a:lnTo>
                    <a:pt x="349" y="809"/>
                  </a:lnTo>
                  <a:lnTo>
                    <a:pt x="354" y="809"/>
                  </a:lnTo>
                  <a:lnTo>
                    <a:pt x="359" y="809"/>
                  </a:lnTo>
                  <a:lnTo>
                    <a:pt x="362" y="809"/>
                  </a:lnTo>
                  <a:lnTo>
                    <a:pt x="362" y="808"/>
                  </a:lnTo>
                  <a:lnTo>
                    <a:pt x="365" y="808"/>
                  </a:lnTo>
                  <a:lnTo>
                    <a:pt x="366" y="806"/>
                  </a:lnTo>
                  <a:lnTo>
                    <a:pt x="368" y="801"/>
                  </a:lnTo>
                  <a:lnTo>
                    <a:pt x="368" y="795"/>
                  </a:lnTo>
                  <a:lnTo>
                    <a:pt x="368" y="789"/>
                  </a:lnTo>
                  <a:lnTo>
                    <a:pt x="366" y="782"/>
                  </a:lnTo>
                  <a:lnTo>
                    <a:pt x="366" y="770"/>
                  </a:lnTo>
                  <a:lnTo>
                    <a:pt x="363" y="757"/>
                  </a:lnTo>
                  <a:lnTo>
                    <a:pt x="363" y="751"/>
                  </a:lnTo>
                  <a:lnTo>
                    <a:pt x="365" y="746"/>
                  </a:lnTo>
                  <a:lnTo>
                    <a:pt x="363" y="740"/>
                  </a:lnTo>
                  <a:lnTo>
                    <a:pt x="363" y="734"/>
                  </a:lnTo>
                  <a:lnTo>
                    <a:pt x="362" y="722"/>
                  </a:lnTo>
                  <a:lnTo>
                    <a:pt x="360" y="711"/>
                  </a:lnTo>
                  <a:lnTo>
                    <a:pt x="359" y="707"/>
                  </a:lnTo>
                  <a:lnTo>
                    <a:pt x="359" y="700"/>
                  </a:lnTo>
                  <a:lnTo>
                    <a:pt x="359" y="696"/>
                  </a:lnTo>
                  <a:lnTo>
                    <a:pt x="360" y="689"/>
                  </a:lnTo>
                  <a:lnTo>
                    <a:pt x="362" y="686"/>
                  </a:lnTo>
                  <a:lnTo>
                    <a:pt x="362" y="685"/>
                  </a:lnTo>
                  <a:lnTo>
                    <a:pt x="363" y="681"/>
                  </a:lnTo>
                  <a:lnTo>
                    <a:pt x="365" y="678"/>
                  </a:lnTo>
                  <a:lnTo>
                    <a:pt x="366" y="675"/>
                  </a:lnTo>
                  <a:lnTo>
                    <a:pt x="370" y="674"/>
                  </a:lnTo>
                  <a:lnTo>
                    <a:pt x="371" y="670"/>
                  </a:lnTo>
                  <a:lnTo>
                    <a:pt x="374" y="667"/>
                  </a:lnTo>
                  <a:lnTo>
                    <a:pt x="376" y="666"/>
                  </a:lnTo>
                  <a:lnTo>
                    <a:pt x="376" y="663"/>
                  </a:lnTo>
                  <a:lnTo>
                    <a:pt x="379" y="661"/>
                  </a:lnTo>
                  <a:lnTo>
                    <a:pt x="382" y="658"/>
                  </a:lnTo>
                  <a:lnTo>
                    <a:pt x="389" y="652"/>
                  </a:lnTo>
                  <a:lnTo>
                    <a:pt x="395" y="645"/>
                  </a:lnTo>
                  <a:lnTo>
                    <a:pt x="398" y="642"/>
                  </a:lnTo>
                  <a:lnTo>
                    <a:pt x="401" y="637"/>
                  </a:lnTo>
                  <a:lnTo>
                    <a:pt x="403" y="634"/>
                  </a:lnTo>
                  <a:lnTo>
                    <a:pt x="404" y="629"/>
                  </a:lnTo>
                  <a:lnTo>
                    <a:pt x="404" y="628"/>
                  </a:lnTo>
                  <a:lnTo>
                    <a:pt x="406" y="626"/>
                  </a:lnTo>
                  <a:lnTo>
                    <a:pt x="406" y="625"/>
                  </a:lnTo>
                  <a:lnTo>
                    <a:pt x="406" y="622"/>
                  </a:lnTo>
                  <a:lnTo>
                    <a:pt x="404" y="620"/>
                  </a:lnTo>
                  <a:lnTo>
                    <a:pt x="404" y="617"/>
                  </a:lnTo>
                  <a:lnTo>
                    <a:pt x="403" y="615"/>
                  </a:lnTo>
                  <a:lnTo>
                    <a:pt x="403" y="614"/>
                  </a:lnTo>
                  <a:lnTo>
                    <a:pt x="398" y="607"/>
                  </a:lnTo>
                  <a:lnTo>
                    <a:pt x="395" y="601"/>
                  </a:lnTo>
                  <a:lnTo>
                    <a:pt x="393" y="596"/>
                  </a:lnTo>
                  <a:lnTo>
                    <a:pt x="392" y="595"/>
                  </a:lnTo>
                  <a:lnTo>
                    <a:pt x="392" y="592"/>
                  </a:lnTo>
                  <a:lnTo>
                    <a:pt x="392" y="588"/>
                  </a:lnTo>
                  <a:lnTo>
                    <a:pt x="392" y="585"/>
                  </a:lnTo>
                  <a:lnTo>
                    <a:pt x="392" y="582"/>
                  </a:lnTo>
                  <a:lnTo>
                    <a:pt x="392" y="579"/>
                  </a:lnTo>
                  <a:lnTo>
                    <a:pt x="393" y="576"/>
                  </a:lnTo>
                  <a:lnTo>
                    <a:pt x="393" y="573"/>
                  </a:lnTo>
                  <a:lnTo>
                    <a:pt x="395" y="569"/>
                  </a:lnTo>
                  <a:lnTo>
                    <a:pt x="396" y="566"/>
                  </a:lnTo>
                  <a:lnTo>
                    <a:pt x="398" y="563"/>
                  </a:lnTo>
                  <a:lnTo>
                    <a:pt x="400" y="562"/>
                  </a:lnTo>
                  <a:lnTo>
                    <a:pt x="401" y="560"/>
                  </a:lnTo>
                  <a:lnTo>
                    <a:pt x="403" y="558"/>
                  </a:lnTo>
                  <a:lnTo>
                    <a:pt x="404" y="558"/>
                  </a:lnTo>
                  <a:lnTo>
                    <a:pt x="408" y="557"/>
                  </a:lnTo>
                  <a:lnTo>
                    <a:pt x="414" y="555"/>
                  </a:lnTo>
                  <a:lnTo>
                    <a:pt x="417" y="555"/>
                  </a:lnTo>
                  <a:lnTo>
                    <a:pt x="423" y="554"/>
                  </a:lnTo>
                  <a:lnTo>
                    <a:pt x="428" y="552"/>
                  </a:lnTo>
                  <a:lnTo>
                    <a:pt x="433" y="551"/>
                  </a:lnTo>
                  <a:lnTo>
                    <a:pt x="439" y="547"/>
                  </a:lnTo>
                  <a:lnTo>
                    <a:pt x="444" y="543"/>
                  </a:lnTo>
                  <a:lnTo>
                    <a:pt x="447" y="541"/>
                  </a:lnTo>
                  <a:lnTo>
                    <a:pt x="449" y="540"/>
                  </a:lnTo>
                  <a:lnTo>
                    <a:pt x="453" y="536"/>
                  </a:lnTo>
                  <a:lnTo>
                    <a:pt x="455" y="533"/>
                  </a:lnTo>
                  <a:lnTo>
                    <a:pt x="458" y="530"/>
                  </a:lnTo>
                  <a:lnTo>
                    <a:pt x="460" y="527"/>
                  </a:lnTo>
                  <a:lnTo>
                    <a:pt x="463" y="524"/>
                  </a:lnTo>
                  <a:lnTo>
                    <a:pt x="466" y="522"/>
                  </a:lnTo>
                  <a:lnTo>
                    <a:pt x="469" y="519"/>
                  </a:lnTo>
                  <a:lnTo>
                    <a:pt x="472" y="519"/>
                  </a:lnTo>
                  <a:lnTo>
                    <a:pt x="475" y="517"/>
                  </a:lnTo>
                  <a:lnTo>
                    <a:pt x="479" y="517"/>
                  </a:lnTo>
                  <a:lnTo>
                    <a:pt x="483" y="517"/>
                  </a:lnTo>
                  <a:lnTo>
                    <a:pt x="490" y="519"/>
                  </a:lnTo>
                  <a:lnTo>
                    <a:pt x="494" y="521"/>
                  </a:lnTo>
                  <a:lnTo>
                    <a:pt x="498" y="522"/>
                  </a:lnTo>
                  <a:lnTo>
                    <a:pt x="502" y="522"/>
                  </a:lnTo>
                  <a:lnTo>
                    <a:pt x="507" y="525"/>
                  </a:lnTo>
                  <a:lnTo>
                    <a:pt x="512" y="525"/>
                  </a:lnTo>
                  <a:lnTo>
                    <a:pt x="517" y="525"/>
                  </a:lnTo>
                  <a:lnTo>
                    <a:pt x="524" y="524"/>
                  </a:lnTo>
                  <a:lnTo>
                    <a:pt x="532" y="522"/>
                  </a:lnTo>
                  <a:lnTo>
                    <a:pt x="539" y="522"/>
                  </a:lnTo>
                  <a:lnTo>
                    <a:pt x="547" y="522"/>
                  </a:lnTo>
                  <a:lnTo>
                    <a:pt x="554" y="522"/>
                  </a:lnTo>
                  <a:lnTo>
                    <a:pt x="561" y="522"/>
                  </a:lnTo>
                  <a:lnTo>
                    <a:pt x="569" y="522"/>
                  </a:lnTo>
                  <a:lnTo>
                    <a:pt x="577" y="524"/>
                  </a:lnTo>
                  <a:lnTo>
                    <a:pt x="573" y="521"/>
                  </a:lnTo>
                  <a:lnTo>
                    <a:pt x="572" y="517"/>
                  </a:lnTo>
                  <a:lnTo>
                    <a:pt x="569" y="516"/>
                  </a:lnTo>
                  <a:lnTo>
                    <a:pt x="567" y="513"/>
                  </a:lnTo>
                  <a:lnTo>
                    <a:pt x="567" y="476"/>
                  </a:lnTo>
                  <a:lnTo>
                    <a:pt x="572" y="480"/>
                  </a:lnTo>
                  <a:lnTo>
                    <a:pt x="573" y="480"/>
                  </a:lnTo>
                  <a:lnTo>
                    <a:pt x="577" y="481"/>
                  </a:lnTo>
                  <a:lnTo>
                    <a:pt x="580" y="484"/>
                  </a:lnTo>
                  <a:lnTo>
                    <a:pt x="581" y="486"/>
                  </a:lnTo>
                  <a:lnTo>
                    <a:pt x="584" y="489"/>
                  </a:lnTo>
                  <a:lnTo>
                    <a:pt x="586" y="491"/>
                  </a:lnTo>
                  <a:lnTo>
                    <a:pt x="591" y="492"/>
                  </a:lnTo>
                  <a:lnTo>
                    <a:pt x="592" y="486"/>
                  </a:lnTo>
                  <a:lnTo>
                    <a:pt x="594" y="481"/>
                  </a:lnTo>
                  <a:lnTo>
                    <a:pt x="594" y="476"/>
                  </a:lnTo>
                  <a:lnTo>
                    <a:pt x="594" y="472"/>
                  </a:lnTo>
                  <a:lnTo>
                    <a:pt x="594" y="461"/>
                  </a:lnTo>
                  <a:lnTo>
                    <a:pt x="594" y="446"/>
                  </a:lnTo>
                  <a:lnTo>
                    <a:pt x="594" y="432"/>
                  </a:lnTo>
                  <a:lnTo>
                    <a:pt x="594" y="416"/>
                  </a:lnTo>
                  <a:lnTo>
                    <a:pt x="594" y="413"/>
                  </a:lnTo>
                  <a:lnTo>
                    <a:pt x="594" y="410"/>
                  </a:lnTo>
                  <a:lnTo>
                    <a:pt x="592" y="407"/>
                  </a:lnTo>
                  <a:lnTo>
                    <a:pt x="592" y="404"/>
                  </a:lnTo>
                  <a:lnTo>
                    <a:pt x="589" y="401"/>
                  </a:lnTo>
                  <a:lnTo>
                    <a:pt x="588" y="398"/>
                  </a:lnTo>
                  <a:lnTo>
                    <a:pt x="586" y="394"/>
                  </a:lnTo>
                  <a:lnTo>
                    <a:pt x="583" y="393"/>
                  </a:lnTo>
                  <a:lnTo>
                    <a:pt x="581" y="391"/>
                  </a:lnTo>
                  <a:lnTo>
                    <a:pt x="580" y="390"/>
                  </a:lnTo>
                  <a:lnTo>
                    <a:pt x="577" y="390"/>
                  </a:lnTo>
                  <a:lnTo>
                    <a:pt x="575" y="390"/>
                  </a:lnTo>
                  <a:lnTo>
                    <a:pt x="570" y="388"/>
                  </a:lnTo>
                  <a:lnTo>
                    <a:pt x="566" y="387"/>
                  </a:lnTo>
                  <a:lnTo>
                    <a:pt x="562" y="385"/>
                  </a:lnTo>
                  <a:lnTo>
                    <a:pt x="561" y="385"/>
                  </a:lnTo>
                  <a:lnTo>
                    <a:pt x="558" y="383"/>
                  </a:lnTo>
                  <a:lnTo>
                    <a:pt x="556" y="382"/>
                  </a:lnTo>
                  <a:lnTo>
                    <a:pt x="556" y="380"/>
                  </a:lnTo>
                  <a:lnTo>
                    <a:pt x="554" y="379"/>
                  </a:lnTo>
                  <a:lnTo>
                    <a:pt x="554" y="375"/>
                  </a:lnTo>
                  <a:lnTo>
                    <a:pt x="553" y="372"/>
                  </a:lnTo>
                  <a:lnTo>
                    <a:pt x="554" y="369"/>
                  </a:lnTo>
                  <a:lnTo>
                    <a:pt x="554" y="366"/>
                  </a:lnTo>
                  <a:lnTo>
                    <a:pt x="554" y="364"/>
                  </a:lnTo>
                  <a:lnTo>
                    <a:pt x="556" y="363"/>
                  </a:lnTo>
                  <a:lnTo>
                    <a:pt x="558" y="360"/>
                  </a:lnTo>
                  <a:lnTo>
                    <a:pt x="561" y="357"/>
                  </a:lnTo>
                  <a:lnTo>
                    <a:pt x="564" y="353"/>
                  </a:lnTo>
                  <a:lnTo>
                    <a:pt x="567" y="350"/>
                  </a:lnTo>
                  <a:lnTo>
                    <a:pt x="570" y="346"/>
                  </a:lnTo>
                  <a:lnTo>
                    <a:pt x="572" y="342"/>
                  </a:lnTo>
                  <a:lnTo>
                    <a:pt x="567" y="336"/>
                  </a:lnTo>
                  <a:lnTo>
                    <a:pt x="564" y="333"/>
                  </a:lnTo>
                  <a:lnTo>
                    <a:pt x="558" y="330"/>
                  </a:lnTo>
                  <a:lnTo>
                    <a:pt x="556" y="328"/>
                  </a:lnTo>
                  <a:lnTo>
                    <a:pt x="556" y="325"/>
                  </a:lnTo>
                  <a:lnTo>
                    <a:pt x="554" y="322"/>
                  </a:lnTo>
                  <a:lnTo>
                    <a:pt x="553" y="319"/>
                  </a:lnTo>
                  <a:lnTo>
                    <a:pt x="554" y="314"/>
                  </a:lnTo>
                  <a:lnTo>
                    <a:pt x="554" y="311"/>
                  </a:lnTo>
                  <a:lnTo>
                    <a:pt x="556" y="308"/>
                  </a:lnTo>
                  <a:lnTo>
                    <a:pt x="558" y="304"/>
                  </a:lnTo>
                  <a:lnTo>
                    <a:pt x="561" y="303"/>
                  </a:lnTo>
                  <a:lnTo>
                    <a:pt x="564" y="300"/>
                  </a:lnTo>
                  <a:lnTo>
                    <a:pt x="566" y="298"/>
                  </a:lnTo>
                  <a:lnTo>
                    <a:pt x="569" y="295"/>
                  </a:lnTo>
                  <a:lnTo>
                    <a:pt x="580" y="290"/>
                  </a:lnTo>
                  <a:lnTo>
                    <a:pt x="592" y="284"/>
                  </a:lnTo>
                  <a:lnTo>
                    <a:pt x="596" y="282"/>
                  </a:lnTo>
                  <a:lnTo>
                    <a:pt x="597" y="279"/>
                  </a:lnTo>
                  <a:lnTo>
                    <a:pt x="599" y="278"/>
                  </a:lnTo>
                  <a:lnTo>
                    <a:pt x="602" y="275"/>
                  </a:lnTo>
                  <a:lnTo>
                    <a:pt x="603" y="271"/>
                  </a:lnTo>
                  <a:lnTo>
                    <a:pt x="605" y="267"/>
                  </a:lnTo>
                  <a:lnTo>
                    <a:pt x="607" y="262"/>
                  </a:lnTo>
                  <a:lnTo>
                    <a:pt x="607" y="257"/>
                  </a:lnTo>
                  <a:lnTo>
                    <a:pt x="610" y="254"/>
                  </a:lnTo>
                  <a:lnTo>
                    <a:pt x="610" y="251"/>
                  </a:lnTo>
                  <a:lnTo>
                    <a:pt x="613" y="249"/>
                  </a:lnTo>
                  <a:lnTo>
                    <a:pt x="614" y="246"/>
                  </a:lnTo>
                  <a:lnTo>
                    <a:pt x="618" y="245"/>
                  </a:lnTo>
                  <a:lnTo>
                    <a:pt x="621" y="241"/>
                  </a:lnTo>
                  <a:lnTo>
                    <a:pt x="626" y="240"/>
                  </a:lnTo>
                  <a:lnTo>
                    <a:pt x="629" y="238"/>
                  </a:lnTo>
                  <a:lnTo>
                    <a:pt x="646" y="234"/>
                  </a:lnTo>
                  <a:lnTo>
                    <a:pt x="660" y="230"/>
                  </a:lnTo>
                  <a:lnTo>
                    <a:pt x="663" y="229"/>
                  </a:lnTo>
                  <a:lnTo>
                    <a:pt x="665" y="227"/>
                  </a:lnTo>
                  <a:lnTo>
                    <a:pt x="667" y="226"/>
                  </a:lnTo>
                  <a:lnTo>
                    <a:pt x="668" y="224"/>
                  </a:lnTo>
                  <a:lnTo>
                    <a:pt x="668" y="221"/>
                  </a:lnTo>
                  <a:lnTo>
                    <a:pt x="671" y="221"/>
                  </a:lnTo>
                  <a:lnTo>
                    <a:pt x="673" y="221"/>
                  </a:lnTo>
                  <a:lnTo>
                    <a:pt x="673" y="219"/>
                  </a:lnTo>
                  <a:lnTo>
                    <a:pt x="675" y="219"/>
                  </a:lnTo>
                  <a:lnTo>
                    <a:pt x="676" y="218"/>
                  </a:lnTo>
                  <a:lnTo>
                    <a:pt x="687" y="218"/>
                  </a:lnTo>
                  <a:lnTo>
                    <a:pt x="684" y="218"/>
                  </a:lnTo>
                  <a:lnTo>
                    <a:pt x="682" y="218"/>
                  </a:lnTo>
                  <a:lnTo>
                    <a:pt x="681" y="218"/>
                  </a:lnTo>
                  <a:lnTo>
                    <a:pt x="681" y="216"/>
                  </a:lnTo>
                  <a:lnTo>
                    <a:pt x="676" y="208"/>
                  </a:lnTo>
                  <a:lnTo>
                    <a:pt x="668" y="193"/>
                  </a:lnTo>
                  <a:lnTo>
                    <a:pt x="660" y="180"/>
                  </a:lnTo>
                  <a:lnTo>
                    <a:pt x="656" y="174"/>
                  </a:lnTo>
                  <a:lnTo>
                    <a:pt x="652" y="174"/>
                  </a:lnTo>
                  <a:lnTo>
                    <a:pt x="646" y="174"/>
                  </a:lnTo>
                  <a:lnTo>
                    <a:pt x="643" y="174"/>
                  </a:lnTo>
                  <a:lnTo>
                    <a:pt x="640" y="172"/>
                  </a:lnTo>
                  <a:lnTo>
                    <a:pt x="638" y="172"/>
                  </a:lnTo>
                  <a:lnTo>
                    <a:pt x="638" y="170"/>
                  </a:lnTo>
                  <a:lnTo>
                    <a:pt x="637" y="167"/>
                  </a:lnTo>
                  <a:lnTo>
                    <a:pt x="635" y="164"/>
                  </a:lnTo>
                  <a:lnTo>
                    <a:pt x="635" y="163"/>
                  </a:lnTo>
                  <a:lnTo>
                    <a:pt x="635" y="159"/>
                  </a:lnTo>
                  <a:lnTo>
                    <a:pt x="633" y="155"/>
                  </a:lnTo>
                  <a:lnTo>
                    <a:pt x="633" y="150"/>
                  </a:lnTo>
                  <a:lnTo>
                    <a:pt x="632" y="148"/>
                  </a:lnTo>
                  <a:lnTo>
                    <a:pt x="632" y="147"/>
                  </a:lnTo>
                  <a:lnTo>
                    <a:pt x="630" y="147"/>
                  </a:lnTo>
                  <a:lnTo>
                    <a:pt x="630" y="145"/>
                  </a:lnTo>
                  <a:lnTo>
                    <a:pt x="627" y="145"/>
                  </a:lnTo>
                  <a:lnTo>
                    <a:pt x="626" y="145"/>
                  </a:lnTo>
                  <a:lnTo>
                    <a:pt x="622" y="145"/>
                  </a:lnTo>
                  <a:lnTo>
                    <a:pt x="618" y="145"/>
                  </a:lnTo>
                  <a:lnTo>
                    <a:pt x="614" y="145"/>
                  </a:lnTo>
                  <a:lnTo>
                    <a:pt x="613" y="145"/>
                  </a:lnTo>
                  <a:lnTo>
                    <a:pt x="610" y="144"/>
                  </a:lnTo>
                  <a:lnTo>
                    <a:pt x="608" y="144"/>
                  </a:lnTo>
                  <a:lnTo>
                    <a:pt x="607" y="142"/>
                  </a:lnTo>
                  <a:lnTo>
                    <a:pt x="605" y="139"/>
                  </a:lnTo>
                  <a:lnTo>
                    <a:pt x="605" y="137"/>
                  </a:lnTo>
                  <a:lnTo>
                    <a:pt x="603" y="134"/>
                  </a:lnTo>
                  <a:lnTo>
                    <a:pt x="605" y="133"/>
                  </a:lnTo>
                  <a:lnTo>
                    <a:pt x="605" y="131"/>
                  </a:lnTo>
                  <a:lnTo>
                    <a:pt x="605" y="129"/>
                  </a:lnTo>
                  <a:lnTo>
                    <a:pt x="607" y="128"/>
                  </a:lnTo>
                  <a:lnTo>
                    <a:pt x="610" y="125"/>
                  </a:lnTo>
                  <a:lnTo>
                    <a:pt x="611" y="123"/>
                  </a:lnTo>
                  <a:lnTo>
                    <a:pt x="614" y="120"/>
                  </a:lnTo>
                  <a:lnTo>
                    <a:pt x="616" y="117"/>
                  </a:lnTo>
                  <a:lnTo>
                    <a:pt x="618" y="117"/>
                  </a:lnTo>
                  <a:lnTo>
                    <a:pt x="618" y="114"/>
                  </a:lnTo>
                  <a:lnTo>
                    <a:pt x="619" y="112"/>
                  </a:lnTo>
                  <a:lnTo>
                    <a:pt x="619" y="110"/>
                  </a:lnTo>
                  <a:lnTo>
                    <a:pt x="618" y="106"/>
                  </a:lnTo>
                  <a:lnTo>
                    <a:pt x="618" y="101"/>
                  </a:lnTo>
                  <a:lnTo>
                    <a:pt x="616" y="96"/>
                  </a:lnTo>
                  <a:lnTo>
                    <a:pt x="613" y="93"/>
                  </a:lnTo>
                  <a:lnTo>
                    <a:pt x="610" y="90"/>
                  </a:lnTo>
                  <a:lnTo>
                    <a:pt x="607" y="87"/>
                  </a:lnTo>
                  <a:lnTo>
                    <a:pt x="605" y="84"/>
                  </a:lnTo>
                  <a:lnTo>
                    <a:pt x="600" y="82"/>
                  </a:lnTo>
                  <a:lnTo>
                    <a:pt x="592" y="77"/>
                  </a:lnTo>
                  <a:lnTo>
                    <a:pt x="586" y="73"/>
                  </a:lnTo>
                  <a:lnTo>
                    <a:pt x="581" y="69"/>
                  </a:lnTo>
                  <a:lnTo>
                    <a:pt x="578" y="68"/>
                  </a:lnTo>
                  <a:lnTo>
                    <a:pt x="577" y="65"/>
                  </a:lnTo>
                  <a:lnTo>
                    <a:pt x="573" y="62"/>
                  </a:lnTo>
                  <a:lnTo>
                    <a:pt x="572" y="60"/>
                  </a:lnTo>
                  <a:lnTo>
                    <a:pt x="570" y="57"/>
                  </a:lnTo>
                  <a:lnTo>
                    <a:pt x="569" y="55"/>
                  </a:lnTo>
                  <a:lnTo>
                    <a:pt x="566" y="55"/>
                  </a:lnTo>
                  <a:lnTo>
                    <a:pt x="559" y="52"/>
                  </a:lnTo>
                  <a:lnTo>
                    <a:pt x="553" y="51"/>
                  </a:lnTo>
                  <a:lnTo>
                    <a:pt x="551" y="51"/>
                  </a:lnTo>
                  <a:lnTo>
                    <a:pt x="548" y="49"/>
                  </a:lnTo>
                  <a:lnTo>
                    <a:pt x="545" y="47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40" y="40"/>
                  </a:lnTo>
                  <a:lnTo>
                    <a:pt x="539" y="36"/>
                  </a:lnTo>
                  <a:lnTo>
                    <a:pt x="539" y="32"/>
                  </a:lnTo>
                  <a:lnTo>
                    <a:pt x="539" y="27"/>
                  </a:lnTo>
                  <a:lnTo>
                    <a:pt x="537" y="22"/>
                  </a:lnTo>
                  <a:lnTo>
                    <a:pt x="534" y="22"/>
                  </a:lnTo>
                  <a:lnTo>
                    <a:pt x="532" y="21"/>
                  </a:lnTo>
                  <a:lnTo>
                    <a:pt x="529" y="19"/>
                  </a:lnTo>
                  <a:lnTo>
                    <a:pt x="528" y="19"/>
                  </a:lnTo>
                  <a:lnTo>
                    <a:pt x="523" y="14"/>
                  </a:lnTo>
                  <a:lnTo>
                    <a:pt x="518" y="11"/>
                  </a:lnTo>
                  <a:lnTo>
                    <a:pt x="515" y="6"/>
                  </a:lnTo>
                  <a:lnTo>
                    <a:pt x="510" y="3"/>
                  </a:lnTo>
                  <a:lnTo>
                    <a:pt x="507" y="2"/>
                  </a:lnTo>
                  <a:lnTo>
                    <a:pt x="504" y="0"/>
                  </a:lnTo>
                  <a:lnTo>
                    <a:pt x="502" y="0"/>
                  </a:lnTo>
                  <a:lnTo>
                    <a:pt x="494" y="0"/>
                  </a:lnTo>
                  <a:lnTo>
                    <a:pt x="485" y="0"/>
                  </a:lnTo>
                  <a:lnTo>
                    <a:pt x="475" y="0"/>
                  </a:lnTo>
                  <a:lnTo>
                    <a:pt x="464" y="0"/>
                  </a:lnTo>
                  <a:lnTo>
                    <a:pt x="463" y="3"/>
                  </a:lnTo>
                  <a:lnTo>
                    <a:pt x="461" y="8"/>
                  </a:lnTo>
                  <a:lnTo>
                    <a:pt x="460" y="11"/>
                  </a:lnTo>
                  <a:lnTo>
                    <a:pt x="457" y="14"/>
                  </a:lnTo>
                  <a:lnTo>
                    <a:pt x="452" y="22"/>
                  </a:lnTo>
                  <a:lnTo>
                    <a:pt x="447" y="28"/>
                  </a:lnTo>
                  <a:lnTo>
                    <a:pt x="442" y="35"/>
                  </a:lnTo>
                  <a:lnTo>
                    <a:pt x="438" y="41"/>
                  </a:lnTo>
                  <a:lnTo>
                    <a:pt x="436" y="44"/>
                  </a:lnTo>
                  <a:lnTo>
                    <a:pt x="434" y="47"/>
                  </a:lnTo>
                  <a:lnTo>
                    <a:pt x="433" y="51"/>
                  </a:lnTo>
                  <a:lnTo>
                    <a:pt x="433" y="55"/>
                  </a:lnTo>
                  <a:lnTo>
                    <a:pt x="433" y="54"/>
                  </a:lnTo>
                  <a:lnTo>
                    <a:pt x="430" y="52"/>
                  </a:lnTo>
                  <a:lnTo>
                    <a:pt x="428" y="52"/>
                  </a:lnTo>
                  <a:lnTo>
                    <a:pt x="425" y="51"/>
                  </a:lnTo>
                  <a:lnTo>
                    <a:pt x="420" y="51"/>
                  </a:lnTo>
                  <a:lnTo>
                    <a:pt x="417" y="52"/>
                  </a:lnTo>
                  <a:lnTo>
                    <a:pt x="415" y="52"/>
                  </a:lnTo>
                  <a:lnTo>
                    <a:pt x="412" y="54"/>
                  </a:lnTo>
                  <a:lnTo>
                    <a:pt x="409" y="55"/>
                  </a:lnTo>
                  <a:lnTo>
                    <a:pt x="406" y="55"/>
                  </a:lnTo>
                  <a:lnTo>
                    <a:pt x="403" y="57"/>
                  </a:lnTo>
                  <a:lnTo>
                    <a:pt x="398" y="57"/>
                  </a:lnTo>
                  <a:lnTo>
                    <a:pt x="395" y="57"/>
                  </a:lnTo>
                  <a:lnTo>
                    <a:pt x="392" y="55"/>
                  </a:lnTo>
                  <a:lnTo>
                    <a:pt x="389" y="55"/>
                  </a:lnTo>
                  <a:lnTo>
                    <a:pt x="385" y="54"/>
                  </a:lnTo>
                  <a:lnTo>
                    <a:pt x="382" y="51"/>
                  </a:lnTo>
                  <a:lnTo>
                    <a:pt x="376" y="47"/>
                  </a:lnTo>
                  <a:lnTo>
                    <a:pt x="373" y="44"/>
                  </a:lnTo>
                  <a:lnTo>
                    <a:pt x="370" y="40"/>
                  </a:lnTo>
                  <a:lnTo>
                    <a:pt x="366" y="40"/>
                  </a:lnTo>
                  <a:lnTo>
                    <a:pt x="363" y="40"/>
                  </a:lnTo>
                  <a:lnTo>
                    <a:pt x="362" y="38"/>
                  </a:lnTo>
                  <a:lnTo>
                    <a:pt x="357" y="38"/>
                  </a:lnTo>
                  <a:lnTo>
                    <a:pt x="355" y="38"/>
                  </a:lnTo>
                  <a:lnTo>
                    <a:pt x="354" y="38"/>
                  </a:lnTo>
                  <a:lnTo>
                    <a:pt x="354" y="40"/>
                  </a:lnTo>
                  <a:lnTo>
                    <a:pt x="352" y="40"/>
                  </a:lnTo>
                  <a:lnTo>
                    <a:pt x="351" y="40"/>
                  </a:lnTo>
                  <a:lnTo>
                    <a:pt x="351" y="41"/>
                  </a:lnTo>
                  <a:lnTo>
                    <a:pt x="351" y="43"/>
                  </a:lnTo>
                  <a:lnTo>
                    <a:pt x="351" y="44"/>
                  </a:lnTo>
                  <a:lnTo>
                    <a:pt x="351" y="47"/>
                  </a:lnTo>
                  <a:lnTo>
                    <a:pt x="352" y="52"/>
                  </a:lnTo>
                  <a:lnTo>
                    <a:pt x="351" y="55"/>
                  </a:lnTo>
                  <a:lnTo>
                    <a:pt x="351" y="57"/>
                  </a:lnTo>
                  <a:lnTo>
                    <a:pt x="349" y="58"/>
                  </a:lnTo>
                  <a:lnTo>
                    <a:pt x="346" y="60"/>
                  </a:lnTo>
                  <a:lnTo>
                    <a:pt x="344" y="60"/>
                  </a:lnTo>
                  <a:lnTo>
                    <a:pt x="341" y="63"/>
                  </a:lnTo>
                  <a:lnTo>
                    <a:pt x="335" y="63"/>
                  </a:lnTo>
                  <a:lnTo>
                    <a:pt x="325" y="65"/>
                  </a:lnTo>
                  <a:lnTo>
                    <a:pt x="314" y="63"/>
                  </a:lnTo>
                  <a:lnTo>
                    <a:pt x="314" y="68"/>
                  </a:lnTo>
                  <a:lnTo>
                    <a:pt x="316" y="69"/>
                  </a:lnTo>
                  <a:lnTo>
                    <a:pt x="316" y="73"/>
                  </a:lnTo>
                  <a:lnTo>
                    <a:pt x="317" y="74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1" y="81"/>
                  </a:lnTo>
                  <a:lnTo>
                    <a:pt x="321" y="84"/>
                  </a:lnTo>
                  <a:lnTo>
                    <a:pt x="316" y="84"/>
                  </a:lnTo>
                  <a:lnTo>
                    <a:pt x="310" y="84"/>
                  </a:lnTo>
                  <a:lnTo>
                    <a:pt x="308" y="82"/>
                  </a:lnTo>
                  <a:lnTo>
                    <a:pt x="305" y="81"/>
                  </a:lnTo>
                  <a:lnTo>
                    <a:pt x="302" y="81"/>
                  </a:lnTo>
                  <a:lnTo>
                    <a:pt x="300" y="81"/>
                  </a:lnTo>
                  <a:lnTo>
                    <a:pt x="297" y="81"/>
                  </a:lnTo>
                  <a:lnTo>
                    <a:pt x="294" y="84"/>
                  </a:lnTo>
                  <a:lnTo>
                    <a:pt x="294" y="90"/>
                  </a:lnTo>
                  <a:lnTo>
                    <a:pt x="294" y="93"/>
                  </a:lnTo>
                  <a:lnTo>
                    <a:pt x="294" y="96"/>
                  </a:lnTo>
                  <a:lnTo>
                    <a:pt x="294" y="98"/>
                  </a:lnTo>
                  <a:lnTo>
                    <a:pt x="292" y="101"/>
                  </a:lnTo>
                  <a:lnTo>
                    <a:pt x="292" y="104"/>
                  </a:lnTo>
                  <a:lnTo>
                    <a:pt x="289" y="109"/>
                  </a:lnTo>
                  <a:lnTo>
                    <a:pt x="289" y="110"/>
                  </a:lnTo>
                  <a:lnTo>
                    <a:pt x="287" y="114"/>
                  </a:lnTo>
                  <a:lnTo>
                    <a:pt x="284" y="117"/>
                  </a:lnTo>
                  <a:lnTo>
                    <a:pt x="283" y="118"/>
                  </a:lnTo>
                  <a:lnTo>
                    <a:pt x="281" y="122"/>
                  </a:lnTo>
                  <a:lnTo>
                    <a:pt x="278" y="123"/>
                  </a:lnTo>
                  <a:lnTo>
                    <a:pt x="275" y="126"/>
                  </a:lnTo>
                  <a:lnTo>
                    <a:pt x="272" y="126"/>
                  </a:lnTo>
                  <a:lnTo>
                    <a:pt x="268" y="128"/>
                  </a:lnTo>
                  <a:lnTo>
                    <a:pt x="265" y="129"/>
                  </a:lnTo>
                  <a:lnTo>
                    <a:pt x="262" y="129"/>
                  </a:lnTo>
                  <a:lnTo>
                    <a:pt x="259" y="129"/>
                  </a:lnTo>
                  <a:lnTo>
                    <a:pt x="257" y="128"/>
                  </a:lnTo>
                  <a:lnTo>
                    <a:pt x="254" y="126"/>
                  </a:lnTo>
                  <a:lnTo>
                    <a:pt x="253" y="125"/>
                  </a:lnTo>
                  <a:lnTo>
                    <a:pt x="248" y="120"/>
                  </a:lnTo>
                  <a:lnTo>
                    <a:pt x="243" y="114"/>
                  </a:lnTo>
                  <a:lnTo>
                    <a:pt x="238" y="109"/>
                  </a:lnTo>
                  <a:lnTo>
                    <a:pt x="234" y="104"/>
                  </a:lnTo>
                  <a:lnTo>
                    <a:pt x="231" y="103"/>
                  </a:lnTo>
                  <a:lnTo>
                    <a:pt x="227" y="101"/>
                  </a:lnTo>
                  <a:lnTo>
                    <a:pt x="224" y="99"/>
                  </a:lnTo>
                  <a:lnTo>
                    <a:pt x="221" y="99"/>
                  </a:lnTo>
                  <a:lnTo>
                    <a:pt x="221" y="101"/>
                  </a:lnTo>
                  <a:lnTo>
                    <a:pt x="218" y="103"/>
                  </a:lnTo>
                  <a:lnTo>
                    <a:pt x="216" y="104"/>
                  </a:lnTo>
                  <a:lnTo>
                    <a:pt x="215" y="104"/>
                  </a:lnTo>
                  <a:lnTo>
                    <a:pt x="213" y="106"/>
                  </a:lnTo>
                  <a:lnTo>
                    <a:pt x="212" y="106"/>
                  </a:lnTo>
                  <a:lnTo>
                    <a:pt x="210" y="104"/>
                  </a:lnTo>
                  <a:lnTo>
                    <a:pt x="208" y="104"/>
                  </a:lnTo>
                  <a:lnTo>
                    <a:pt x="207" y="104"/>
                  </a:lnTo>
                  <a:lnTo>
                    <a:pt x="205" y="101"/>
                  </a:lnTo>
                  <a:lnTo>
                    <a:pt x="202" y="99"/>
                  </a:lnTo>
                  <a:lnTo>
                    <a:pt x="201" y="98"/>
                  </a:lnTo>
                  <a:lnTo>
                    <a:pt x="197" y="96"/>
                  </a:lnTo>
                  <a:lnTo>
                    <a:pt x="196" y="95"/>
                  </a:lnTo>
                  <a:lnTo>
                    <a:pt x="194" y="95"/>
                  </a:lnTo>
                  <a:lnTo>
                    <a:pt x="193" y="93"/>
                  </a:lnTo>
                  <a:lnTo>
                    <a:pt x="191" y="93"/>
                  </a:lnTo>
                  <a:lnTo>
                    <a:pt x="189" y="93"/>
                  </a:lnTo>
                  <a:lnTo>
                    <a:pt x="186" y="95"/>
                  </a:lnTo>
                  <a:lnTo>
                    <a:pt x="185" y="95"/>
                  </a:lnTo>
                  <a:lnTo>
                    <a:pt x="182" y="96"/>
                  </a:lnTo>
                  <a:lnTo>
                    <a:pt x="178" y="98"/>
                  </a:lnTo>
                  <a:lnTo>
                    <a:pt x="174" y="103"/>
                  </a:lnTo>
                  <a:lnTo>
                    <a:pt x="171" y="106"/>
                  </a:lnTo>
                  <a:lnTo>
                    <a:pt x="167" y="109"/>
                  </a:lnTo>
                  <a:lnTo>
                    <a:pt x="164" y="114"/>
                  </a:lnTo>
                  <a:lnTo>
                    <a:pt x="161" y="117"/>
                  </a:lnTo>
                  <a:lnTo>
                    <a:pt x="164" y="118"/>
                  </a:lnTo>
                  <a:lnTo>
                    <a:pt x="167" y="120"/>
                  </a:lnTo>
                  <a:lnTo>
                    <a:pt x="169" y="122"/>
                  </a:lnTo>
                  <a:lnTo>
                    <a:pt x="172" y="123"/>
                  </a:lnTo>
                  <a:lnTo>
                    <a:pt x="178" y="126"/>
                  </a:lnTo>
                  <a:lnTo>
                    <a:pt x="183" y="128"/>
                  </a:lnTo>
                  <a:lnTo>
                    <a:pt x="193" y="131"/>
                  </a:lnTo>
                  <a:lnTo>
                    <a:pt x="199" y="134"/>
                  </a:lnTo>
                  <a:lnTo>
                    <a:pt x="202" y="136"/>
                  </a:lnTo>
                  <a:lnTo>
                    <a:pt x="205" y="139"/>
                  </a:lnTo>
                  <a:lnTo>
                    <a:pt x="207" y="140"/>
                  </a:lnTo>
                  <a:lnTo>
                    <a:pt x="207" y="142"/>
                  </a:lnTo>
                  <a:lnTo>
                    <a:pt x="207" y="144"/>
                  </a:lnTo>
                  <a:lnTo>
                    <a:pt x="207" y="147"/>
                  </a:lnTo>
                  <a:lnTo>
                    <a:pt x="207" y="148"/>
                  </a:lnTo>
                  <a:lnTo>
                    <a:pt x="207" y="150"/>
                  </a:lnTo>
                  <a:lnTo>
                    <a:pt x="204" y="150"/>
                  </a:lnTo>
                  <a:lnTo>
                    <a:pt x="202" y="151"/>
                  </a:lnTo>
                  <a:lnTo>
                    <a:pt x="199" y="151"/>
                  </a:lnTo>
                  <a:lnTo>
                    <a:pt x="194" y="151"/>
                  </a:lnTo>
                  <a:lnTo>
                    <a:pt x="191" y="151"/>
                  </a:lnTo>
                  <a:lnTo>
                    <a:pt x="186" y="151"/>
                  </a:lnTo>
                  <a:lnTo>
                    <a:pt x="180" y="150"/>
                  </a:lnTo>
                  <a:lnTo>
                    <a:pt x="174" y="150"/>
                  </a:lnTo>
                  <a:lnTo>
                    <a:pt x="174" y="155"/>
                  </a:lnTo>
                  <a:lnTo>
                    <a:pt x="174" y="159"/>
                  </a:lnTo>
                  <a:lnTo>
                    <a:pt x="174" y="161"/>
                  </a:lnTo>
                  <a:lnTo>
                    <a:pt x="174" y="155"/>
                  </a:lnTo>
                  <a:lnTo>
                    <a:pt x="174" y="150"/>
                  </a:lnTo>
                  <a:lnTo>
                    <a:pt x="171" y="148"/>
                  </a:lnTo>
                  <a:lnTo>
                    <a:pt x="167" y="147"/>
                  </a:lnTo>
                  <a:lnTo>
                    <a:pt x="161" y="145"/>
                  </a:lnTo>
                  <a:lnTo>
                    <a:pt x="156" y="144"/>
                  </a:lnTo>
                  <a:lnTo>
                    <a:pt x="152" y="142"/>
                  </a:lnTo>
                  <a:lnTo>
                    <a:pt x="147" y="140"/>
                  </a:lnTo>
                  <a:lnTo>
                    <a:pt x="142" y="139"/>
                  </a:lnTo>
                  <a:lnTo>
                    <a:pt x="139" y="137"/>
                  </a:lnTo>
                  <a:lnTo>
                    <a:pt x="136" y="134"/>
                  </a:lnTo>
                  <a:lnTo>
                    <a:pt x="133" y="133"/>
                  </a:lnTo>
                  <a:lnTo>
                    <a:pt x="129" y="128"/>
                  </a:lnTo>
                  <a:lnTo>
                    <a:pt x="126" y="126"/>
                  </a:lnTo>
                  <a:lnTo>
                    <a:pt x="123" y="123"/>
                  </a:lnTo>
                  <a:lnTo>
                    <a:pt x="122" y="123"/>
                  </a:lnTo>
                  <a:lnTo>
                    <a:pt x="120" y="123"/>
                  </a:lnTo>
                  <a:lnTo>
                    <a:pt x="118" y="126"/>
                  </a:lnTo>
                  <a:lnTo>
                    <a:pt x="117" y="128"/>
                  </a:lnTo>
                  <a:lnTo>
                    <a:pt x="115" y="133"/>
                  </a:lnTo>
                  <a:lnTo>
                    <a:pt x="115" y="137"/>
                  </a:lnTo>
                  <a:lnTo>
                    <a:pt x="115" y="139"/>
                  </a:lnTo>
                  <a:lnTo>
                    <a:pt x="112" y="142"/>
                  </a:lnTo>
                  <a:lnTo>
                    <a:pt x="110" y="144"/>
                  </a:lnTo>
                  <a:lnTo>
                    <a:pt x="115" y="148"/>
                  </a:lnTo>
                  <a:lnTo>
                    <a:pt x="120" y="153"/>
                  </a:lnTo>
                  <a:lnTo>
                    <a:pt x="123" y="158"/>
                  </a:lnTo>
                  <a:lnTo>
                    <a:pt x="126" y="163"/>
                  </a:lnTo>
                  <a:lnTo>
                    <a:pt x="128" y="164"/>
                  </a:lnTo>
                  <a:lnTo>
                    <a:pt x="128" y="167"/>
                  </a:lnTo>
                  <a:lnTo>
                    <a:pt x="128" y="170"/>
                  </a:lnTo>
                  <a:lnTo>
                    <a:pt x="128" y="172"/>
                  </a:lnTo>
                  <a:lnTo>
                    <a:pt x="128" y="175"/>
                  </a:lnTo>
                  <a:lnTo>
                    <a:pt x="126" y="178"/>
                  </a:lnTo>
                  <a:lnTo>
                    <a:pt x="126" y="181"/>
                  </a:lnTo>
                  <a:lnTo>
                    <a:pt x="123" y="185"/>
                  </a:lnTo>
                  <a:lnTo>
                    <a:pt x="122" y="183"/>
                  </a:lnTo>
                  <a:lnTo>
                    <a:pt x="117" y="180"/>
                  </a:lnTo>
                  <a:lnTo>
                    <a:pt x="109" y="177"/>
                  </a:lnTo>
                  <a:lnTo>
                    <a:pt x="101" y="172"/>
                  </a:lnTo>
                  <a:lnTo>
                    <a:pt x="96" y="172"/>
                  </a:lnTo>
                  <a:lnTo>
                    <a:pt x="92" y="170"/>
                  </a:lnTo>
                  <a:lnTo>
                    <a:pt x="87" y="169"/>
                  </a:lnTo>
                  <a:lnTo>
                    <a:pt x="84" y="169"/>
                  </a:lnTo>
                  <a:lnTo>
                    <a:pt x="82" y="169"/>
                  </a:lnTo>
                  <a:lnTo>
                    <a:pt x="79" y="169"/>
                  </a:lnTo>
                  <a:lnTo>
                    <a:pt x="77" y="170"/>
                  </a:lnTo>
                  <a:lnTo>
                    <a:pt x="76" y="170"/>
                  </a:lnTo>
                  <a:lnTo>
                    <a:pt x="74" y="172"/>
                  </a:lnTo>
                  <a:lnTo>
                    <a:pt x="73" y="174"/>
                  </a:lnTo>
                  <a:lnTo>
                    <a:pt x="73" y="175"/>
                  </a:lnTo>
                  <a:lnTo>
                    <a:pt x="69" y="180"/>
                  </a:lnTo>
                  <a:lnTo>
                    <a:pt x="66" y="183"/>
                  </a:lnTo>
                  <a:lnTo>
                    <a:pt x="65" y="186"/>
                  </a:lnTo>
                  <a:lnTo>
                    <a:pt x="62" y="189"/>
                  </a:lnTo>
                  <a:lnTo>
                    <a:pt x="58" y="191"/>
                  </a:lnTo>
                  <a:lnTo>
                    <a:pt x="57" y="193"/>
                  </a:lnTo>
                  <a:lnTo>
                    <a:pt x="55" y="193"/>
                  </a:lnTo>
                  <a:lnTo>
                    <a:pt x="54" y="194"/>
                  </a:lnTo>
                  <a:lnTo>
                    <a:pt x="52" y="194"/>
                  </a:lnTo>
                  <a:lnTo>
                    <a:pt x="49" y="194"/>
                  </a:lnTo>
                  <a:lnTo>
                    <a:pt x="47" y="194"/>
                  </a:lnTo>
                  <a:lnTo>
                    <a:pt x="46" y="193"/>
                  </a:lnTo>
                  <a:lnTo>
                    <a:pt x="43" y="191"/>
                  </a:lnTo>
                  <a:lnTo>
                    <a:pt x="39" y="188"/>
                  </a:lnTo>
                  <a:lnTo>
                    <a:pt x="17" y="156"/>
                  </a:lnTo>
                  <a:lnTo>
                    <a:pt x="0" y="167"/>
                  </a:lnTo>
                  <a:lnTo>
                    <a:pt x="3" y="169"/>
                  </a:lnTo>
                  <a:lnTo>
                    <a:pt x="3" y="172"/>
                  </a:lnTo>
                  <a:lnTo>
                    <a:pt x="5" y="174"/>
                  </a:lnTo>
                  <a:lnTo>
                    <a:pt x="5" y="175"/>
                  </a:lnTo>
                  <a:lnTo>
                    <a:pt x="8" y="181"/>
                  </a:lnTo>
                  <a:lnTo>
                    <a:pt x="8" y="188"/>
                  </a:lnTo>
                  <a:lnTo>
                    <a:pt x="9" y="193"/>
                  </a:lnTo>
                  <a:lnTo>
                    <a:pt x="9" y="200"/>
                  </a:lnTo>
                  <a:lnTo>
                    <a:pt x="9" y="207"/>
                  </a:lnTo>
                  <a:lnTo>
                    <a:pt x="9" y="213"/>
                  </a:lnTo>
                  <a:lnTo>
                    <a:pt x="11" y="216"/>
                  </a:lnTo>
                  <a:lnTo>
                    <a:pt x="11" y="221"/>
                  </a:lnTo>
                  <a:lnTo>
                    <a:pt x="13" y="226"/>
                  </a:lnTo>
                  <a:lnTo>
                    <a:pt x="13" y="229"/>
                  </a:lnTo>
                  <a:lnTo>
                    <a:pt x="17" y="238"/>
                  </a:lnTo>
                  <a:lnTo>
                    <a:pt x="20" y="246"/>
                  </a:lnTo>
                  <a:lnTo>
                    <a:pt x="24" y="251"/>
                  </a:lnTo>
                  <a:lnTo>
                    <a:pt x="24" y="256"/>
                  </a:lnTo>
                  <a:lnTo>
                    <a:pt x="25" y="259"/>
                  </a:lnTo>
                  <a:lnTo>
                    <a:pt x="25" y="263"/>
                  </a:lnTo>
                  <a:lnTo>
                    <a:pt x="25" y="267"/>
                  </a:lnTo>
                  <a:lnTo>
                    <a:pt x="25" y="270"/>
                  </a:lnTo>
                  <a:lnTo>
                    <a:pt x="25" y="271"/>
                  </a:lnTo>
                  <a:lnTo>
                    <a:pt x="24" y="273"/>
                  </a:lnTo>
                  <a:lnTo>
                    <a:pt x="24" y="275"/>
                  </a:lnTo>
                  <a:lnTo>
                    <a:pt x="22" y="278"/>
                  </a:lnTo>
                  <a:lnTo>
                    <a:pt x="22" y="279"/>
                  </a:lnTo>
                  <a:lnTo>
                    <a:pt x="22" y="281"/>
                  </a:lnTo>
                  <a:lnTo>
                    <a:pt x="24" y="282"/>
                  </a:lnTo>
                  <a:lnTo>
                    <a:pt x="25" y="284"/>
                  </a:lnTo>
                  <a:lnTo>
                    <a:pt x="27" y="287"/>
                  </a:lnTo>
                  <a:lnTo>
                    <a:pt x="30" y="290"/>
                  </a:lnTo>
                  <a:lnTo>
                    <a:pt x="33" y="293"/>
                  </a:lnTo>
                  <a:lnTo>
                    <a:pt x="36" y="298"/>
                  </a:lnTo>
                  <a:lnTo>
                    <a:pt x="38" y="303"/>
                  </a:lnTo>
                  <a:lnTo>
                    <a:pt x="38" y="308"/>
                  </a:lnTo>
                  <a:lnTo>
                    <a:pt x="39" y="312"/>
                  </a:lnTo>
                  <a:lnTo>
                    <a:pt x="41" y="316"/>
                  </a:lnTo>
                  <a:lnTo>
                    <a:pt x="41" y="325"/>
                  </a:lnTo>
                  <a:lnTo>
                    <a:pt x="41" y="333"/>
                  </a:lnTo>
                  <a:lnTo>
                    <a:pt x="43" y="342"/>
                  </a:lnTo>
                  <a:lnTo>
                    <a:pt x="43" y="352"/>
                  </a:lnTo>
                  <a:lnTo>
                    <a:pt x="44" y="361"/>
                  </a:lnTo>
                  <a:lnTo>
                    <a:pt x="44" y="372"/>
                  </a:lnTo>
                  <a:lnTo>
                    <a:pt x="46" y="377"/>
                  </a:lnTo>
                  <a:lnTo>
                    <a:pt x="49" y="383"/>
                  </a:lnTo>
                  <a:lnTo>
                    <a:pt x="49" y="390"/>
                  </a:lnTo>
                  <a:lnTo>
                    <a:pt x="52" y="396"/>
                  </a:lnTo>
                  <a:lnTo>
                    <a:pt x="54" y="394"/>
                  </a:lnTo>
                  <a:lnTo>
                    <a:pt x="55" y="394"/>
                  </a:lnTo>
                  <a:lnTo>
                    <a:pt x="57" y="393"/>
                  </a:lnTo>
                  <a:lnTo>
                    <a:pt x="58" y="393"/>
                  </a:lnTo>
                  <a:lnTo>
                    <a:pt x="60" y="393"/>
                  </a:lnTo>
                  <a:lnTo>
                    <a:pt x="62" y="394"/>
                  </a:lnTo>
                  <a:lnTo>
                    <a:pt x="63" y="394"/>
                  </a:lnTo>
                  <a:lnTo>
                    <a:pt x="66" y="396"/>
                  </a:lnTo>
                  <a:lnTo>
                    <a:pt x="69" y="399"/>
                  </a:lnTo>
                  <a:lnTo>
                    <a:pt x="74" y="407"/>
                  </a:lnTo>
                  <a:lnTo>
                    <a:pt x="77" y="412"/>
                  </a:lnTo>
                  <a:lnTo>
                    <a:pt x="80" y="415"/>
                  </a:lnTo>
                  <a:lnTo>
                    <a:pt x="82" y="416"/>
                  </a:lnTo>
                  <a:lnTo>
                    <a:pt x="84" y="416"/>
                  </a:lnTo>
                  <a:lnTo>
                    <a:pt x="85" y="418"/>
                  </a:lnTo>
                  <a:lnTo>
                    <a:pt x="87" y="423"/>
                  </a:lnTo>
                  <a:lnTo>
                    <a:pt x="87" y="428"/>
                  </a:lnTo>
                  <a:lnTo>
                    <a:pt x="90" y="435"/>
                  </a:lnTo>
                  <a:lnTo>
                    <a:pt x="92" y="440"/>
                  </a:lnTo>
                  <a:lnTo>
                    <a:pt x="95" y="446"/>
                  </a:lnTo>
                  <a:lnTo>
                    <a:pt x="98" y="451"/>
                  </a:lnTo>
                  <a:lnTo>
                    <a:pt x="103" y="457"/>
                  </a:lnTo>
                  <a:lnTo>
                    <a:pt x="106" y="464"/>
                  </a:lnTo>
                  <a:lnTo>
                    <a:pt x="110" y="469"/>
                  </a:lnTo>
                  <a:lnTo>
                    <a:pt x="115" y="473"/>
                  </a:lnTo>
                  <a:lnTo>
                    <a:pt x="120" y="478"/>
                  </a:lnTo>
                  <a:lnTo>
                    <a:pt x="125" y="483"/>
                  </a:lnTo>
                  <a:lnTo>
                    <a:pt x="129" y="486"/>
                  </a:lnTo>
                  <a:lnTo>
                    <a:pt x="133" y="489"/>
                  </a:lnTo>
                  <a:lnTo>
                    <a:pt x="137" y="492"/>
                  </a:lnTo>
                  <a:lnTo>
                    <a:pt x="141" y="494"/>
                  </a:lnTo>
                  <a:lnTo>
                    <a:pt x="141" y="495"/>
                  </a:lnTo>
                  <a:lnTo>
                    <a:pt x="141" y="497"/>
                  </a:lnTo>
                  <a:lnTo>
                    <a:pt x="142" y="497"/>
                  </a:lnTo>
                  <a:lnTo>
                    <a:pt x="144" y="500"/>
                  </a:lnTo>
                  <a:lnTo>
                    <a:pt x="145" y="502"/>
                  </a:lnTo>
                  <a:lnTo>
                    <a:pt x="148" y="503"/>
                  </a:lnTo>
                  <a:lnTo>
                    <a:pt x="150" y="505"/>
                  </a:lnTo>
                  <a:lnTo>
                    <a:pt x="152" y="508"/>
                  </a:lnTo>
                  <a:lnTo>
                    <a:pt x="155" y="514"/>
                  </a:lnTo>
                  <a:lnTo>
                    <a:pt x="158" y="522"/>
                  </a:lnTo>
                  <a:lnTo>
                    <a:pt x="161" y="530"/>
                  </a:lnTo>
                  <a:lnTo>
                    <a:pt x="164" y="540"/>
                  </a:lnTo>
                  <a:lnTo>
                    <a:pt x="167" y="546"/>
                  </a:lnTo>
                  <a:lnTo>
                    <a:pt x="169" y="549"/>
                  </a:lnTo>
                  <a:lnTo>
                    <a:pt x="171" y="552"/>
                  </a:lnTo>
                  <a:lnTo>
                    <a:pt x="172" y="554"/>
                  </a:lnTo>
                  <a:lnTo>
                    <a:pt x="174" y="555"/>
                  </a:lnTo>
                  <a:close/>
                </a:path>
              </a:pathLst>
            </a:custGeom>
            <a:solidFill>
              <a:srgbClr val="0070C0">
                <a:alpha val="10000"/>
              </a:srgbClr>
            </a:solidFill>
            <a:ln w="9525">
              <a:solidFill>
                <a:srgbClr val="FFFFFF">
                  <a:alpha val="0"/>
                </a:srgbClr>
              </a:solidFill>
              <a:round/>
              <a:headEnd/>
              <a:tailEnd/>
            </a:ln>
          </p:spPr>
          <p:txBody>
            <a:bodyPr lIns="91413" tIns="45707" rIns="91413" bIns="45707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372">
                <a:defRPr/>
              </a:pPr>
              <a:endParaRPr lang="ru-RU" sz="1700" dirty="0">
                <a:solidFill>
                  <a:srgbClr val="C7E0FB"/>
                </a:solidFill>
                <a:latin typeface="Arial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4D3D4F27-0778-471C-93DE-C5712AB733DF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 rot="389746">
              <a:off x="8520880" y="5217557"/>
              <a:ext cx="3424523" cy="3668366"/>
            </a:xfrm>
            <a:custGeom>
              <a:avLst/>
              <a:gdLst>
                <a:gd name="T0" fmla="*/ 2147483647 w 1246"/>
                <a:gd name="T1" fmla="*/ 2147483647 h 1455"/>
                <a:gd name="T2" fmla="*/ 2147483647 w 1246"/>
                <a:gd name="T3" fmla="*/ 2147483647 h 1455"/>
                <a:gd name="T4" fmla="*/ 2147483647 w 1246"/>
                <a:gd name="T5" fmla="*/ 2147483647 h 1455"/>
                <a:gd name="T6" fmla="*/ 2147483647 w 1246"/>
                <a:gd name="T7" fmla="*/ 2147483647 h 1455"/>
                <a:gd name="T8" fmla="*/ 2147483647 w 1246"/>
                <a:gd name="T9" fmla="*/ 2147483647 h 1455"/>
                <a:gd name="T10" fmla="*/ 2147483647 w 1246"/>
                <a:gd name="T11" fmla="*/ 2147483647 h 1455"/>
                <a:gd name="T12" fmla="*/ 2147483647 w 1246"/>
                <a:gd name="T13" fmla="*/ 2147483647 h 1455"/>
                <a:gd name="T14" fmla="*/ 2147483647 w 1246"/>
                <a:gd name="T15" fmla="*/ 2147483647 h 1455"/>
                <a:gd name="T16" fmla="*/ 2147483647 w 1246"/>
                <a:gd name="T17" fmla="*/ 2147483647 h 1455"/>
                <a:gd name="T18" fmla="*/ 2147483647 w 1246"/>
                <a:gd name="T19" fmla="*/ 2147483647 h 1455"/>
                <a:gd name="T20" fmla="*/ 2147483647 w 1246"/>
                <a:gd name="T21" fmla="*/ 2147483647 h 1455"/>
                <a:gd name="T22" fmla="*/ 2147483647 w 1246"/>
                <a:gd name="T23" fmla="*/ 2147483647 h 1455"/>
                <a:gd name="T24" fmla="*/ 2147483647 w 1246"/>
                <a:gd name="T25" fmla="*/ 2147483647 h 1455"/>
                <a:gd name="T26" fmla="*/ 2147483647 w 1246"/>
                <a:gd name="T27" fmla="*/ 2147483647 h 1455"/>
                <a:gd name="T28" fmla="*/ 2147483647 w 1246"/>
                <a:gd name="T29" fmla="*/ 2147483647 h 1455"/>
                <a:gd name="T30" fmla="*/ 2147483647 w 1246"/>
                <a:gd name="T31" fmla="*/ 2147483647 h 1455"/>
                <a:gd name="T32" fmla="*/ 2147483647 w 1246"/>
                <a:gd name="T33" fmla="*/ 2147483647 h 1455"/>
                <a:gd name="T34" fmla="*/ 2147483647 w 1246"/>
                <a:gd name="T35" fmla="*/ 2147483647 h 1455"/>
                <a:gd name="T36" fmla="*/ 2147483647 w 1246"/>
                <a:gd name="T37" fmla="*/ 2147483647 h 1455"/>
                <a:gd name="T38" fmla="*/ 2147483647 w 1246"/>
                <a:gd name="T39" fmla="*/ 2147483647 h 1455"/>
                <a:gd name="T40" fmla="*/ 2147483647 w 1246"/>
                <a:gd name="T41" fmla="*/ 2147483647 h 1455"/>
                <a:gd name="T42" fmla="*/ 2147483647 w 1246"/>
                <a:gd name="T43" fmla="*/ 2147483647 h 1455"/>
                <a:gd name="T44" fmla="*/ 2147483647 w 1246"/>
                <a:gd name="T45" fmla="*/ 2147483647 h 1455"/>
                <a:gd name="T46" fmla="*/ 2147483647 w 1246"/>
                <a:gd name="T47" fmla="*/ 2147483647 h 1455"/>
                <a:gd name="T48" fmla="*/ 2147483647 w 1246"/>
                <a:gd name="T49" fmla="*/ 2147483647 h 1455"/>
                <a:gd name="T50" fmla="*/ 2147483647 w 1246"/>
                <a:gd name="T51" fmla="*/ 2147483647 h 1455"/>
                <a:gd name="T52" fmla="*/ 2147483647 w 1246"/>
                <a:gd name="T53" fmla="*/ 2147483647 h 1455"/>
                <a:gd name="T54" fmla="*/ 2147483647 w 1246"/>
                <a:gd name="T55" fmla="*/ 2147483647 h 1455"/>
                <a:gd name="T56" fmla="*/ 2147483647 w 1246"/>
                <a:gd name="T57" fmla="*/ 2147483647 h 1455"/>
                <a:gd name="T58" fmla="*/ 2147483647 w 1246"/>
                <a:gd name="T59" fmla="*/ 2147483647 h 1455"/>
                <a:gd name="T60" fmla="*/ 2147483647 w 1246"/>
                <a:gd name="T61" fmla="*/ 2147483647 h 1455"/>
                <a:gd name="T62" fmla="*/ 2147483647 w 1246"/>
                <a:gd name="T63" fmla="*/ 2147483647 h 1455"/>
                <a:gd name="T64" fmla="*/ 2147483647 w 1246"/>
                <a:gd name="T65" fmla="*/ 2147483647 h 1455"/>
                <a:gd name="T66" fmla="*/ 2147483647 w 1246"/>
                <a:gd name="T67" fmla="*/ 2147483647 h 1455"/>
                <a:gd name="T68" fmla="*/ 2147483647 w 1246"/>
                <a:gd name="T69" fmla="*/ 2147483647 h 1455"/>
                <a:gd name="T70" fmla="*/ 2147483647 w 1246"/>
                <a:gd name="T71" fmla="*/ 2147483647 h 1455"/>
                <a:gd name="T72" fmla="*/ 2147483647 w 1246"/>
                <a:gd name="T73" fmla="*/ 2147483647 h 1455"/>
                <a:gd name="T74" fmla="*/ 2147483647 w 1246"/>
                <a:gd name="T75" fmla="*/ 2147483647 h 1455"/>
                <a:gd name="T76" fmla="*/ 2147483647 w 1246"/>
                <a:gd name="T77" fmla="*/ 2147483647 h 1455"/>
                <a:gd name="T78" fmla="*/ 2147483647 w 1246"/>
                <a:gd name="T79" fmla="*/ 2147483647 h 1455"/>
                <a:gd name="T80" fmla="*/ 2147483647 w 1246"/>
                <a:gd name="T81" fmla="*/ 2147483647 h 1455"/>
                <a:gd name="T82" fmla="*/ 2147483647 w 1246"/>
                <a:gd name="T83" fmla="*/ 2147483647 h 1455"/>
                <a:gd name="T84" fmla="*/ 2147483647 w 1246"/>
                <a:gd name="T85" fmla="*/ 2147483647 h 1455"/>
                <a:gd name="T86" fmla="*/ 2147483647 w 1246"/>
                <a:gd name="T87" fmla="*/ 2147483647 h 1455"/>
                <a:gd name="T88" fmla="*/ 2147483647 w 1246"/>
                <a:gd name="T89" fmla="*/ 2147483647 h 1455"/>
                <a:gd name="T90" fmla="*/ 2147483647 w 1246"/>
                <a:gd name="T91" fmla="*/ 2147483647 h 1455"/>
                <a:gd name="T92" fmla="*/ 2147483647 w 1246"/>
                <a:gd name="T93" fmla="*/ 2147483647 h 1455"/>
                <a:gd name="T94" fmla="*/ 2147483647 w 1246"/>
                <a:gd name="T95" fmla="*/ 2147483647 h 1455"/>
                <a:gd name="T96" fmla="*/ 2147483647 w 1246"/>
                <a:gd name="T97" fmla="*/ 2147483647 h 1455"/>
                <a:gd name="T98" fmla="*/ 2147483647 w 1246"/>
                <a:gd name="T99" fmla="*/ 2147483647 h 1455"/>
                <a:gd name="T100" fmla="*/ 2147483647 w 1246"/>
                <a:gd name="T101" fmla="*/ 2147483647 h 1455"/>
                <a:gd name="T102" fmla="*/ 2147483647 w 1246"/>
                <a:gd name="T103" fmla="*/ 2147483647 h 1455"/>
                <a:gd name="T104" fmla="*/ 2147483647 w 1246"/>
                <a:gd name="T105" fmla="*/ 2147483647 h 1455"/>
                <a:gd name="T106" fmla="*/ 2147483647 w 1246"/>
                <a:gd name="T107" fmla="*/ 2147483647 h 1455"/>
                <a:gd name="T108" fmla="*/ 2147483647 w 1246"/>
                <a:gd name="T109" fmla="*/ 2147483647 h 1455"/>
                <a:gd name="T110" fmla="*/ 2147483647 w 1246"/>
                <a:gd name="T111" fmla="*/ 2147483647 h 1455"/>
                <a:gd name="T112" fmla="*/ 2147483647 w 1246"/>
                <a:gd name="T113" fmla="*/ 2147483647 h 1455"/>
                <a:gd name="T114" fmla="*/ 2147483647 w 1246"/>
                <a:gd name="T115" fmla="*/ 2147483647 h 1455"/>
                <a:gd name="T116" fmla="*/ 2147483647 w 1246"/>
                <a:gd name="T117" fmla="*/ 2147483647 h 1455"/>
                <a:gd name="T118" fmla="*/ 2147483647 w 1246"/>
                <a:gd name="T119" fmla="*/ 2147483647 h 1455"/>
                <a:gd name="T120" fmla="*/ 2147483647 w 1246"/>
                <a:gd name="T121" fmla="*/ 0 h 1455"/>
                <a:gd name="T122" fmla="*/ 2147483647 w 1246"/>
                <a:gd name="T123" fmla="*/ 2147483647 h 1455"/>
                <a:gd name="T124" fmla="*/ 2147483647 w 1246"/>
                <a:gd name="T125" fmla="*/ 2147483647 h 14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246"/>
                <a:gd name="T190" fmla="*/ 0 h 1455"/>
                <a:gd name="T191" fmla="*/ 1246 w 1246"/>
                <a:gd name="T192" fmla="*/ 1455 h 145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246" h="1455">
                  <a:moveTo>
                    <a:pt x="1128" y="87"/>
                  </a:moveTo>
                  <a:lnTo>
                    <a:pt x="1126" y="87"/>
                  </a:lnTo>
                  <a:lnTo>
                    <a:pt x="1125" y="85"/>
                  </a:lnTo>
                  <a:lnTo>
                    <a:pt x="1125" y="84"/>
                  </a:lnTo>
                  <a:lnTo>
                    <a:pt x="1125" y="79"/>
                  </a:lnTo>
                  <a:lnTo>
                    <a:pt x="1125" y="74"/>
                  </a:lnTo>
                  <a:lnTo>
                    <a:pt x="1123" y="76"/>
                  </a:lnTo>
                  <a:lnTo>
                    <a:pt x="1120" y="76"/>
                  </a:lnTo>
                  <a:lnTo>
                    <a:pt x="1117" y="79"/>
                  </a:lnTo>
                  <a:lnTo>
                    <a:pt x="1113" y="82"/>
                  </a:lnTo>
                  <a:lnTo>
                    <a:pt x="1110" y="84"/>
                  </a:lnTo>
                  <a:lnTo>
                    <a:pt x="1107" y="87"/>
                  </a:lnTo>
                  <a:lnTo>
                    <a:pt x="1106" y="89"/>
                  </a:lnTo>
                  <a:lnTo>
                    <a:pt x="1106" y="90"/>
                  </a:lnTo>
                  <a:lnTo>
                    <a:pt x="1106" y="92"/>
                  </a:lnTo>
                  <a:lnTo>
                    <a:pt x="1106" y="93"/>
                  </a:lnTo>
                  <a:lnTo>
                    <a:pt x="1106" y="95"/>
                  </a:lnTo>
                  <a:lnTo>
                    <a:pt x="1107" y="97"/>
                  </a:lnTo>
                  <a:lnTo>
                    <a:pt x="1107" y="98"/>
                  </a:lnTo>
                  <a:lnTo>
                    <a:pt x="1110" y="100"/>
                  </a:lnTo>
                  <a:lnTo>
                    <a:pt x="1113" y="101"/>
                  </a:lnTo>
                  <a:lnTo>
                    <a:pt x="1115" y="103"/>
                  </a:lnTo>
                  <a:lnTo>
                    <a:pt x="1118" y="103"/>
                  </a:lnTo>
                  <a:lnTo>
                    <a:pt x="1123" y="104"/>
                  </a:lnTo>
                  <a:lnTo>
                    <a:pt x="1128" y="104"/>
                  </a:lnTo>
                  <a:lnTo>
                    <a:pt x="1132" y="104"/>
                  </a:lnTo>
                  <a:lnTo>
                    <a:pt x="1132" y="93"/>
                  </a:lnTo>
                  <a:lnTo>
                    <a:pt x="1131" y="90"/>
                  </a:lnTo>
                  <a:lnTo>
                    <a:pt x="1128" y="87"/>
                  </a:lnTo>
                  <a:close/>
                  <a:moveTo>
                    <a:pt x="1181" y="950"/>
                  </a:moveTo>
                  <a:lnTo>
                    <a:pt x="1186" y="950"/>
                  </a:lnTo>
                  <a:lnTo>
                    <a:pt x="1189" y="950"/>
                  </a:lnTo>
                  <a:lnTo>
                    <a:pt x="1192" y="950"/>
                  </a:lnTo>
                  <a:lnTo>
                    <a:pt x="1194" y="948"/>
                  </a:lnTo>
                  <a:lnTo>
                    <a:pt x="1196" y="947"/>
                  </a:lnTo>
                  <a:lnTo>
                    <a:pt x="1197" y="945"/>
                  </a:lnTo>
                  <a:lnTo>
                    <a:pt x="1199" y="944"/>
                  </a:lnTo>
                  <a:lnTo>
                    <a:pt x="1200" y="940"/>
                  </a:lnTo>
                  <a:lnTo>
                    <a:pt x="1200" y="937"/>
                  </a:lnTo>
                  <a:lnTo>
                    <a:pt x="1200" y="933"/>
                  </a:lnTo>
                  <a:lnTo>
                    <a:pt x="1200" y="925"/>
                  </a:lnTo>
                  <a:lnTo>
                    <a:pt x="1202" y="921"/>
                  </a:lnTo>
                  <a:lnTo>
                    <a:pt x="1202" y="920"/>
                  </a:lnTo>
                  <a:lnTo>
                    <a:pt x="1205" y="917"/>
                  </a:lnTo>
                  <a:lnTo>
                    <a:pt x="1207" y="915"/>
                  </a:lnTo>
                  <a:lnTo>
                    <a:pt x="1210" y="912"/>
                  </a:lnTo>
                  <a:lnTo>
                    <a:pt x="1215" y="907"/>
                  </a:lnTo>
                  <a:lnTo>
                    <a:pt x="1219" y="904"/>
                  </a:lnTo>
                  <a:lnTo>
                    <a:pt x="1222" y="899"/>
                  </a:lnTo>
                  <a:lnTo>
                    <a:pt x="1222" y="896"/>
                  </a:lnTo>
                  <a:lnTo>
                    <a:pt x="1226" y="895"/>
                  </a:lnTo>
                  <a:lnTo>
                    <a:pt x="1226" y="891"/>
                  </a:lnTo>
                  <a:lnTo>
                    <a:pt x="1226" y="888"/>
                  </a:lnTo>
                  <a:lnTo>
                    <a:pt x="1226" y="887"/>
                  </a:lnTo>
                  <a:lnTo>
                    <a:pt x="1226" y="884"/>
                  </a:lnTo>
                  <a:lnTo>
                    <a:pt x="1224" y="880"/>
                  </a:lnTo>
                  <a:lnTo>
                    <a:pt x="1222" y="879"/>
                  </a:lnTo>
                  <a:lnTo>
                    <a:pt x="1221" y="874"/>
                  </a:lnTo>
                  <a:lnTo>
                    <a:pt x="1219" y="869"/>
                  </a:lnTo>
                  <a:lnTo>
                    <a:pt x="1216" y="866"/>
                  </a:lnTo>
                  <a:lnTo>
                    <a:pt x="1215" y="862"/>
                  </a:lnTo>
                  <a:lnTo>
                    <a:pt x="1213" y="860"/>
                  </a:lnTo>
                  <a:lnTo>
                    <a:pt x="1213" y="858"/>
                  </a:lnTo>
                  <a:lnTo>
                    <a:pt x="1213" y="855"/>
                  </a:lnTo>
                  <a:lnTo>
                    <a:pt x="1213" y="854"/>
                  </a:lnTo>
                  <a:lnTo>
                    <a:pt x="1213" y="847"/>
                  </a:lnTo>
                  <a:lnTo>
                    <a:pt x="1215" y="843"/>
                  </a:lnTo>
                  <a:lnTo>
                    <a:pt x="1215" y="839"/>
                  </a:lnTo>
                  <a:lnTo>
                    <a:pt x="1218" y="836"/>
                  </a:lnTo>
                  <a:lnTo>
                    <a:pt x="1221" y="833"/>
                  </a:lnTo>
                  <a:lnTo>
                    <a:pt x="1222" y="830"/>
                  </a:lnTo>
                  <a:lnTo>
                    <a:pt x="1226" y="827"/>
                  </a:lnTo>
                  <a:lnTo>
                    <a:pt x="1229" y="825"/>
                  </a:lnTo>
                  <a:lnTo>
                    <a:pt x="1234" y="822"/>
                  </a:lnTo>
                  <a:lnTo>
                    <a:pt x="1235" y="821"/>
                  </a:lnTo>
                  <a:lnTo>
                    <a:pt x="1238" y="817"/>
                  </a:lnTo>
                  <a:lnTo>
                    <a:pt x="1241" y="814"/>
                  </a:lnTo>
                  <a:lnTo>
                    <a:pt x="1243" y="811"/>
                  </a:lnTo>
                  <a:lnTo>
                    <a:pt x="1245" y="808"/>
                  </a:lnTo>
                  <a:lnTo>
                    <a:pt x="1246" y="802"/>
                  </a:lnTo>
                  <a:lnTo>
                    <a:pt x="1246" y="797"/>
                  </a:lnTo>
                  <a:lnTo>
                    <a:pt x="1246" y="795"/>
                  </a:lnTo>
                  <a:lnTo>
                    <a:pt x="1246" y="784"/>
                  </a:lnTo>
                  <a:lnTo>
                    <a:pt x="1243" y="776"/>
                  </a:lnTo>
                  <a:lnTo>
                    <a:pt x="1243" y="767"/>
                  </a:lnTo>
                  <a:lnTo>
                    <a:pt x="1243" y="759"/>
                  </a:lnTo>
                  <a:lnTo>
                    <a:pt x="1237" y="759"/>
                  </a:lnTo>
                  <a:lnTo>
                    <a:pt x="1229" y="756"/>
                  </a:lnTo>
                  <a:lnTo>
                    <a:pt x="1221" y="754"/>
                  </a:lnTo>
                  <a:lnTo>
                    <a:pt x="1215" y="753"/>
                  </a:lnTo>
                  <a:lnTo>
                    <a:pt x="1210" y="751"/>
                  </a:lnTo>
                  <a:lnTo>
                    <a:pt x="1207" y="748"/>
                  </a:lnTo>
                  <a:lnTo>
                    <a:pt x="1204" y="746"/>
                  </a:lnTo>
                  <a:lnTo>
                    <a:pt x="1200" y="745"/>
                  </a:lnTo>
                  <a:lnTo>
                    <a:pt x="1199" y="743"/>
                  </a:lnTo>
                  <a:lnTo>
                    <a:pt x="1197" y="740"/>
                  </a:lnTo>
                  <a:lnTo>
                    <a:pt x="1196" y="738"/>
                  </a:lnTo>
                  <a:lnTo>
                    <a:pt x="1196" y="735"/>
                  </a:lnTo>
                  <a:lnTo>
                    <a:pt x="1196" y="734"/>
                  </a:lnTo>
                  <a:lnTo>
                    <a:pt x="1197" y="732"/>
                  </a:lnTo>
                  <a:lnTo>
                    <a:pt x="1197" y="729"/>
                  </a:lnTo>
                  <a:lnTo>
                    <a:pt x="1199" y="727"/>
                  </a:lnTo>
                  <a:lnTo>
                    <a:pt x="1200" y="723"/>
                  </a:lnTo>
                  <a:lnTo>
                    <a:pt x="1202" y="721"/>
                  </a:lnTo>
                  <a:lnTo>
                    <a:pt x="1200" y="685"/>
                  </a:lnTo>
                  <a:lnTo>
                    <a:pt x="1196" y="682"/>
                  </a:lnTo>
                  <a:lnTo>
                    <a:pt x="1189" y="679"/>
                  </a:lnTo>
                  <a:lnTo>
                    <a:pt x="1185" y="674"/>
                  </a:lnTo>
                  <a:lnTo>
                    <a:pt x="1180" y="671"/>
                  </a:lnTo>
                  <a:lnTo>
                    <a:pt x="1177" y="669"/>
                  </a:lnTo>
                  <a:lnTo>
                    <a:pt x="1175" y="666"/>
                  </a:lnTo>
                  <a:lnTo>
                    <a:pt x="1172" y="664"/>
                  </a:lnTo>
                  <a:lnTo>
                    <a:pt x="1170" y="661"/>
                  </a:lnTo>
                  <a:lnTo>
                    <a:pt x="1169" y="658"/>
                  </a:lnTo>
                  <a:lnTo>
                    <a:pt x="1169" y="653"/>
                  </a:lnTo>
                  <a:lnTo>
                    <a:pt x="1167" y="652"/>
                  </a:lnTo>
                  <a:lnTo>
                    <a:pt x="1167" y="647"/>
                  </a:lnTo>
                  <a:lnTo>
                    <a:pt x="1167" y="631"/>
                  </a:lnTo>
                  <a:lnTo>
                    <a:pt x="1167" y="619"/>
                  </a:lnTo>
                  <a:lnTo>
                    <a:pt x="1167" y="608"/>
                  </a:lnTo>
                  <a:lnTo>
                    <a:pt x="1167" y="597"/>
                  </a:lnTo>
                  <a:lnTo>
                    <a:pt x="1167" y="593"/>
                  </a:lnTo>
                  <a:lnTo>
                    <a:pt x="1167" y="590"/>
                  </a:lnTo>
                  <a:lnTo>
                    <a:pt x="1167" y="587"/>
                  </a:lnTo>
                  <a:lnTo>
                    <a:pt x="1167" y="585"/>
                  </a:lnTo>
                  <a:lnTo>
                    <a:pt x="1166" y="584"/>
                  </a:lnTo>
                  <a:lnTo>
                    <a:pt x="1164" y="582"/>
                  </a:lnTo>
                  <a:lnTo>
                    <a:pt x="1164" y="581"/>
                  </a:lnTo>
                  <a:lnTo>
                    <a:pt x="1162" y="579"/>
                  </a:lnTo>
                  <a:lnTo>
                    <a:pt x="1156" y="576"/>
                  </a:lnTo>
                  <a:lnTo>
                    <a:pt x="1151" y="570"/>
                  </a:lnTo>
                  <a:lnTo>
                    <a:pt x="1148" y="565"/>
                  </a:lnTo>
                  <a:lnTo>
                    <a:pt x="1147" y="557"/>
                  </a:lnTo>
                  <a:lnTo>
                    <a:pt x="1145" y="546"/>
                  </a:lnTo>
                  <a:lnTo>
                    <a:pt x="1143" y="535"/>
                  </a:lnTo>
                  <a:lnTo>
                    <a:pt x="1140" y="524"/>
                  </a:lnTo>
                  <a:lnTo>
                    <a:pt x="1139" y="516"/>
                  </a:lnTo>
                  <a:lnTo>
                    <a:pt x="1139" y="508"/>
                  </a:lnTo>
                  <a:lnTo>
                    <a:pt x="1139" y="507"/>
                  </a:lnTo>
                  <a:lnTo>
                    <a:pt x="1139" y="505"/>
                  </a:lnTo>
                  <a:lnTo>
                    <a:pt x="1139" y="503"/>
                  </a:lnTo>
                  <a:lnTo>
                    <a:pt x="1139" y="502"/>
                  </a:lnTo>
                  <a:lnTo>
                    <a:pt x="1140" y="500"/>
                  </a:lnTo>
                  <a:lnTo>
                    <a:pt x="1143" y="499"/>
                  </a:lnTo>
                  <a:lnTo>
                    <a:pt x="1148" y="499"/>
                  </a:lnTo>
                  <a:lnTo>
                    <a:pt x="1155" y="497"/>
                  </a:lnTo>
                  <a:lnTo>
                    <a:pt x="1156" y="496"/>
                  </a:lnTo>
                  <a:lnTo>
                    <a:pt x="1159" y="492"/>
                  </a:lnTo>
                  <a:lnTo>
                    <a:pt x="1161" y="488"/>
                  </a:lnTo>
                  <a:lnTo>
                    <a:pt x="1164" y="485"/>
                  </a:lnTo>
                  <a:lnTo>
                    <a:pt x="1166" y="481"/>
                  </a:lnTo>
                  <a:lnTo>
                    <a:pt x="1167" y="478"/>
                  </a:lnTo>
                  <a:lnTo>
                    <a:pt x="1167" y="475"/>
                  </a:lnTo>
                  <a:lnTo>
                    <a:pt x="1167" y="470"/>
                  </a:lnTo>
                  <a:lnTo>
                    <a:pt x="1169" y="470"/>
                  </a:lnTo>
                  <a:lnTo>
                    <a:pt x="1167" y="467"/>
                  </a:lnTo>
                  <a:lnTo>
                    <a:pt x="1167" y="461"/>
                  </a:lnTo>
                  <a:lnTo>
                    <a:pt x="1166" y="456"/>
                  </a:lnTo>
                  <a:lnTo>
                    <a:pt x="1169" y="455"/>
                  </a:lnTo>
                  <a:lnTo>
                    <a:pt x="1170" y="451"/>
                  </a:lnTo>
                  <a:lnTo>
                    <a:pt x="1172" y="450"/>
                  </a:lnTo>
                  <a:lnTo>
                    <a:pt x="1174" y="447"/>
                  </a:lnTo>
                  <a:lnTo>
                    <a:pt x="1175" y="445"/>
                  </a:lnTo>
                  <a:lnTo>
                    <a:pt x="1175" y="442"/>
                  </a:lnTo>
                  <a:lnTo>
                    <a:pt x="1175" y="437"/>
                  </a:lnTo>
                  <a:lnTo>
                    <a:pt x="1175" y="434"/>
                  </a:lnTo>
                  <a:lnTo>
                    <a:pt x="1175" y="429"/>
                  </a:lnTo>
                  <a:lnTo>
                    <a:pt x="1175" y="426"/>
                  </a:lnTo>
                  <a:lnTo>
                    <a:pt x="1174" y="423"/>
                  </a:lnTo>
                  <a:lnTo>
                    <a:pt x="1172" y="420"/>
                  </a:lnTo>
                  <a:lnTo>
                    <a:pt x="1170" y="417"/>
                  </a:lnTo>
                  <a:lnTo>
                    <a:pt x="1169" y="415"/>
                  </a:lnTo>
                  <a:lnTo>
                    <a:pt x="1167" y="412"/>
                  </a:lnTo>
                  <a:lnTo>
                    <a:pt x="1166" y="412"/>
                  </a:lnTo>
                  <a:lnTo>
                    <a:pt x="1161" y="407"/>
                  </a:lnTo>
                  <a:lnTo>
                    <a:pt x="1158" y="404"/>
                  </a:lnTo>
                  <a:lnTo>
                    <a:pt x="1155" y="401"/>
                  </a:lnTo>
                  <a:lnTo>
                    <a:pt x="1151" y="396"/>
                  </a:lnTo>
                  <a:lnTo>
                    <a:pt x="1148" y="396"/>
                  </a:lnTo>
                  <a:lnTo>
                    <a:pt x="1147" y="396"/>
                  </a:lnTo>
                  <a:lnTo>
                    <a:pt x="1145" y="396"/>
                  </a:lnTo>
                  <a:lnTo>
                    <a:pt x="1143" y="398"/>
                  </a:lnTo>
                  <a:lnTo>
                    <a:pt x="1142" y="398"/>
                  </a:lnTo>
                  <a:lnTo>
                    <a:pt x="1139" y="398"/>
                  </a:lnTo>
                  <a:lnTo>
                    <a:pt x="1136" y="398"/>
                  </a:lnTo>
                  <a:lnTo>
                    <a:pt x="1132" y="398"/>
                  </a:lnTo>
                  <a:lnTo>
                    <a:pt x="1131" y="398"/>
                  </a:lnTo>
                  <a:lnTo>
                    <a:pt x="1128" y="398"/>
                  </a:lnTo>
                  <a:lnTo>
                    <a:pt x="1125" y="396"/>
                  </a:lnTo>
                  <a:lnTo>
                    <a:pt x="1120" y="393"/>
                  </a:lnTo>
                  <a:lnTo>
                    <a:pt x="1115" y="391"/>
                  </a:lnTo>
                  <a:lnTo>
                    <a:pt x="1110" y="387"/>
                  </a:lnTo>
                  <a:lnTo>
                    <a:pt x="1107" y="384"/>
                  </a:lnTo>
                  <a:lnTo>
                    <a:pt x="1102" y="380"/>
                  </a:lnTo>
                  <a:lnTo>
                    <a:pt x="1098" y="376"/>
                  </a:lnTo>
                  <a:lnTo>
                    <a:pt x="1095" y="371"/>
                  </a:lnTo>
                  <a:lnTo>
                    <a:pt x="1091" y="368"/>
                  </a:lnTo>
                  <a:lnTo>
                    <a:pt x="1088" y="363"/>
                  </a:lnTo>
                  <a:lnTo>
                    <a:pt x="1087" y="360"/>
                  </a:lnTo>
                  <a:lnTo>
                    <a:pt x="1085" y="355"/>
                  </a:lnTo>
                  <a:lnTo>
                    <a:pt x="1083" y="352"/>
                  </a:lnTo>
                  <a:lnTo>
                    <a:pt x="1083" y="347"/>
                  </a:lnTo>
                  <a:lnTo>
                    <a:pt x="1083" y="344"/>
                  </a:lnTo>
                  <a:lnTo>
                    <a:pt x="1083" y="339"/>
                  </a:lnTo>
                  <a:lnTo>
                    <a:pt x="1085" y="336"/>
                  </a:lnTo>
                  <a:lnTo>
                    <a:pt x="1085" y="333"/>
                  </a:lnTo>
                  <a:lnTo>
                    <a:pt x="1087" y="330"/>
                  </a:lnTo>
                  <a:lnTo>
                    <a:pt x="1088" y="327"/>
                  </a:lnTo>
                  <a:lnTo>
                    <a:pt x="1090" y="325"/>
                  </a:lnTo>
                  <a:lnTo>
                    <a:pt x="1091" y="324"/>
                  </a:lnTo>
                  <a:lnTo>
                    <a:pt x="1095" y="319"/>
                  </a:lnTo>
                  <a:lnTo>
                    <a:pt x="1101" y="317"/>
                  </a:lnTo>
                  <a:lnTo>
                    <a:pt x="1104" y="314"/>
                  </a:lnTo>
                  <a:lnTo>
                    <a:pt x="1110" y="311"/>
                  </a:lnTo>
                  <a:lnTo>
                    <a:pt x="1115" y="309"/>
                  </a:lnTo>
                  <a:lnTo>
                    <a:pt x="1118" y="306"/>
                  </a:lnTo>
                  <a:lnTo>
                    <a:pt x="1123" y="303"/>
                  </a:lnTo>
                  <a:lnTo>
                    <a:pt x="1128" y="298"/>
                  </a:lnTo>
                  <a:lnTo>
                    <a:pt x="1129" y="297"/>
                  </a:lnTo>
                  <a:lnTo>
                    <a:pt x="1131" y="294"/>
                  </a:lnTo>
                  <a:lnTo>
                    <a:pt x="1132" y="291"/>
                  </a:lnTo>
                  <a:lnTo>
                    <a:pt x="1134" y="289"/>
                  </a:lnTo>
                  <a:lnTo>
                    <a:pt x="1134" y="286"/>
                  </a:lnTo>
                  <a:lnTo>
                    <a:pt x="1136" y="281"/>
                  </a:lnTo>
                  <a:lnTo>
                    <a:pt x="1136" y="278"/>
                  </a:lnTo>
                  <a:lnTo>
                    <a:pt x="1136" y="273"/>
                  </a:lnTo>
                  <a:lnTo>
                    <a:pt x="1136" y="268"/>
                  </a:lnTo>
                  <a:lnTo>
                    <a:pt x="1134" y="264"/>
                  </a:lnTo>
                  <a:lnTo>
                    <a:pt x="1134" y="257"/>
                  </a:lnTo>
                  <a:lnTo>
                    <a:pt x="1131" y="254"/>
                  </a:lnTo>
                  <a:lnTo>
                    <a:pt x="1129" y="251"/>
                  </a:lnTo>
                  <a:lnTo>
                    <a:pt x="1128" y="246"/>
                  </a:lnTo>
                  <a:lnTo>
                    <a:pt x="1125" y="243"/>
                  </a:lnTo>
                  <a:lnTo>
                    <a:pt x="1123" y="240"/>
                  </a:lnTo>
                  <a:lnTo>
                    <a:pt x="1118" y="235"/>
                  </a:lnTo>
                  <a:lnTo>
                    <a:pt x="1113" y="229"/>
                  </a:lnTo>
                  <a:lnTo>
                    <a:pt x="1112" y="226"/>
                  </a:lnTo>
                  <a:lnTo>
                    <a:pt x="1110" y="223"/>
                  </a:lnTo>
                  <a:lnTo>
                    <a:pt x="1110" y="220"/>
                  </a:lnTo>
                  <a:lnTo>
                    <a:pt x="1110" y="216"/>
                  </a:lnTo>
                  <a:lnTo>
                    <a:pt x="1110" y="215"/>
                  </a:lnTo>
                  <a:lnTo>
                    <a:pt x="1110" y="212"/>
                  </a:lnTo>
                  <a:lnTo>
                    <a:pt x="1112" y="210"/>
                  </a:lnTo>
                  <a:lnTo>
                    <a:pt x="1113" y="209"/>
                  </a:lnTo>
                  <a:lnTo>
                    <a:pt x="1118" y="207"/>
                  </a:lnTo>
                  <a:lnTo>
                    <a:pt x="1125" y="204"/>
                  </a:lnTo>
                  <a:lnTo>
                    <a:pt x="1126" y="202"/>
                  </a:lnTo>
                  <a:lnTo>
                    <a:pt x="1129" y="202"/>
                  </a:lnTo>
                  <a:lnTo>
                    <a:pt x="1131" y="199"/>
                  </a:lnTo>
                  <a:lnTo>
                    <a:pt x="1134" y="197"/>
                  </a:lnTo>
                  <a:lnTo>
                    <a:pt x="1134" y="194"/>
                  </a:lnTo>
                  <a:lnTo>
                    <a:pt x="1136" y="191"/>
                  </a:lnTo>
                  <a:lnTo>
                    <a:pt x="1136" y="185"/>
                  </a:lnTo>
                  <a:lnTo>
                    <a:pt x="1136" y="180"/>
                  </a:lnTo>
                  <a:lnTo>
                    <a:pt x="1134" y="177"/>
                  </a:lnTo>
                  <a:lnTo>
                    <a:pt x="1134" y="172"/>
                  </a:lnTo>
                  <a:lnTo>
                    <a:pt x="1131" y="171"/>
                  </a:lnTo>
                  <a:lnTo>
                    <a:pt x="1129" y="169"/>
                  </a:lnTo>
                  <a:lnTo>
                    <a:pt x="1126" y="166"/>
                  </a:lnTo>
                  <a:lnTo>
                    <a:pt x="1123" y="164"/>
                  </a:lnTo>
                  <a:lnTo>
                    <a:pt x="1121" y="163"/>
                  </a:lnTo>
                  <a:lnTo>
                    <a:pt x="1117" y="163"/>
                  </a:lnTo>
                  <a:lnTo>
                    <a:pt x="1113" y="161"/>
                  </a:lnTo>
                  <a:lnTo>
                    <a:pt x="1110" y="160"/>
                  </a:lnTo>
                  <a:lnTo>
                    <a:pt x="1107" y="158"/>
                  </a:lnTo>
                  <a:lnTo>
                    <a:pt x="1106" y="156"/>
                  </a:lnTo>
                  <a:lnTo>
                    <a:pt x="1102" y="155"/>
                  </a:lnTo>
                  <a:lnTo>
                    <a:pt x="1102" y="153"/>
                  </a:lnTo>
                  <a:lnTo>
                    <a:pt x="1101" y="150"/>
                  </a:lnTo>
                  <a:lnTo>
                    <a:pt x="1101" y="145"/>
                  </a:lnTo>
                  <a:lnTo>
                    <a:pt x="1101" y="142"/>
                  </a:lnTo>
                  <a:lnTo>
                    <a:pt x="1099" y="139"/>
                  </a:lnTo>
                  <a:lnTo>
                    <a:pt x="1099" y="138"/>
                  </a:lnTo>
                  <a:lnTo>
                    <a:pt x="1101" y="138"/>
                  </a:lnTo>
                  <a:lnTo>
                    <a:pt x="1101" y="136"/>
                  </a:lnTo>
                  <a:lnTo>
                    <a:pt x="1102" y="133"/>
                  </a:lnTo>
                  <a:lnTo>
                    <a:pt x="1093" y="134"/>
                  </a:lnTo>
                  <a:lnTo>
                    <a:pt x="1085" y="138"/>
                  </a:lnTo>
                  <a:lnTo>
                    <a:pt x="1080" y="138"/>
                  </a:lnTo>
                  <a:lnTo>
                    <a:pt x="1077" y="139"/>
                  </a:lnTo>
                  <a:lnTo>
                    <a:pt x="1076" y="141"/>
                  </a:lnTo>
                  <a:lnTo>
                    <a:pt x="1074" y="142"/>
                  </a:lnTo>
                  <a:lnTo>
                    <a:pt x="1074" y="144"/>
                  </a:lnTo>
                  <a:lnTo>
                    <a:pt x="1074" y="145"/>
                  </a:lnTo>
                  <a:lnTo>
                    <a:pt x="1080" y="150"/>
                  </a:lnTo>
                  <a:lnTo>
                    <a:pt x="1083" y="156"/>
                  </a:lnTo>
                  <a:lnTo>
                    <a:pt x="1087" y="161"/>
                  </a:lnTo>
                  <a:lnTo>
                    <a:pt x="1088" y="164"/>
                  </a:lnTo>
                  <a:lnTo>
                    <a:pt x="1088" y="166"/>
                  </a:lnTo>
                  <a:lnTo>
                    <a:pt x="1088" y="168"/>
                  </a:lnTo>
                  <a:lnTo>
                    <a:pt x="1088" y="169"/>
                  </a:lnTo>
                  <a:lnTo>
                    <a:pt x="1087" y="171"/>
                  </a:lnTo>
                  <a:lnTo>
                    <a:pt x="1085" y="171"/>
                  </a:lnTo>
                  <a:lnTo>
                    <a:pt x="1083" y="171"/>
                  </a:lnTo>
                  <a:lnTo>
                    <a:pt x="1080" y="171"/>
                  </a:lnTo>
                  <a:lnTo>
                    <a:pt x="1077" y="171"/>
                  </a:lnTo>
                  <a:lnTo>
                    <a:pt x="1072" y="169"/>
                  </a:lnTo>
                  <a:lnTo>
                    <a:pt x="1066" y="166"/>
                  </a:lnTo>
                  <a:lnTo>
                    <a:pt x="1061" y="163"/>
                  </a:lnTo>
                  <a:lnTo>
                    <a:pt x="1055" y="158"/>
                  </a:lnTo>
                  <a:lnTo>
                    <a:pt x="1049" y="153"/>
                  </a:lnTo>
                  <a:lnTo>
                    <a:pt x="1042" y="149"/>
                  </a:lnTo>
                  <a:lnTo>
                    <a:pt x="1041" y="149"/>
                  </a:lnTo>
                  <a:lnTo>
                    <a:pt x="1039" y="153"/>
                  </a:lnTo>
                  <a:lnTo>
                    <a:pt x="1033" y="158"/>
                  </a:lnTo>
                  <a:lnTo>
                    <a:pt x="1031" y="161"/>
                  </a:lnTo>
                  <a:lnTo>
                    <a:pt x="1030" y="164"/>
                  </a:lnTo>
                  <a:lnTo>
                    <a:pt x="1028" y="169"/>
                  </a:lnTo>
                  <a:lnTo>
                    <a:pt x="1028" y="171"/>
                  </a:lnTo>
                  <a:lnTo>
                    <a:pt x="1028" y="174"/>
                  </a:lnTo>
                  <a:lnTo>
                    <a:pt x="1028" y="177"/>
                  </a:lnTo>
                  <a:lnTo>
                    <a:pt x="1028" y="179"/>
                  </a:lnTo>
                  <a:lnTo>
                    <a:pt x="1030" y="180"/>
                  </a:lnTo>
                  <a:lnTo>
                    <a:pt x="1031" y="182"/>
                  </a:lnTo>
                  <a:lnTo>
                    <a:pt x="1033" y="185"/>
                  </a:lnTo>
                  <a:lnTo>
                    <a:pt x="1033" y="186"/>
                  </a:lnTo>
                  <a:lnTo>
                    <a:pt x="1036" y="190"/>
                  </a:lnTo>
                  <a:lnTo>
                    <a:pt x="1039" y="191"/>
                  </a:lnTo>
                  <a:lnTo>
                    <a:pt x="1041" y="194"/>
                  </a:lnTo>
                  <a:lnTo>
                    <a:pt x="1044" y="197"/>
                  </a:lnTo>
                  <a:lnTo>
                    <a:pt x="1049" y="199"/>
                  </a:lnTo>
                  <a:lnTo>
                    <a:pt x="1057" y="204"/>
                  </a:lnTo>
                  <a:lnTo>
                    <a:pt x="1068" y="210"/>
                  </a:lnTo>
                  <a:lnTo>
                    <a:pt x="1069" y="212"/>
                  </a:lnTo>
                  <a:lnTo>
                    <a:pt x="1072" y="216"/>
                  </a:lnTo>
                  <a:lnTo>
                    <a:pt x="1076" y="223"/>
                  </a:lnTo>
                  <a:lnTo>
                    <a:pt x="1080" y="231"/>
                  </a:lnTo>
                  <a:lnTo>
                    <a:pt x="1082" y="234"/>
                  </a:lnTo>
                  <a:lnTo>
                    <a:pt x="1083" y="237"/>
                  </a:lnTo>
                  <a:lnTo>
                    <a:pt x="1085" y="242"/>
                  </a:lnTo>
                  <a:lnTo>
                    <a:pt x="1085" y="245"/>
                  </a:lnTo>
                  <a:lnTo>
                    <a:pt x="1085" y="248"/>
                  </a:lnTo>
                  <a:lnTo>
                    <a:pt x="1083" y="251"/>
                  </a:lnTo>
                  <a:lnTo>
                    <a:pt x="1082" y="253"/>
                  </a:lnTo>
                  <a:lnTo>
                    <a:pt x="1082" y="254"/>
                  </a:lnTo>
                  <a:lnTo>
                    <a:pt x="1080" y="256"/>
                  </a:lnTo>
                  <a:lnTo>
                    <a:pt x="1080" y="257"/>
                  </a:lnTo>
                  <a:lnTo>
                    <a:pt x="1077" y="256"/>
                  </a:lnTo>
                  <a:lnTo>
                    <a:pt x="1076" y="253"/>
                  </a:lnTo>
                  <a:lnTo>
                    <a:pt x="1074" y="253"/>
                  </a:lnTo>
                  <a:lnTo>
                    <a:pt x="1072" y="251"/>
                  </a:lnTo>
                  <a:lnTo>
                    <a:pt x="1069" y="246"/>
                  </a:lnTo>
                  <a:lnTo>
                    <a:pt x="1066" y="243"/>
                  </a:lnTo>
                  <a:lnTo>
                    <a:pt x="1065" y="237"/>
                  </a:lnTo>
                  <a:lnTo>
                    <a:pt x="1061" y="232"/>
                  </a:lnTo>
                  <a:lnTo>
                    <a:pt x="1060" y="229"/>
                  </a:lnTo>
                  <a:lnTo>
                    <a:pt x="1055" y="224"/>
                  </a:lnTo>
                  <a:lnTo>
                    <a:pt x="1050" y="224"/>
                  </a:lnTo>
                  <a:lnTo>
                    <a:pt x="1046" y="224"/>
                  </a:lnTo>
                  <a:lnTo>
                    <a:pt x="1041" y="223"/>
                  </a:lnTo>
                  <a:lnTo>
                    <a:pt x="1036" y="221"/>
                  </a:lnTo>
                  <a:lnTo>
                    <a:pt x="1033" y="220"/>
                  </a:lnTo>
                  <a:lnTo>
                    <a:pt x="1028" y="216"/>
                  </a:lnTo>
                  <a:lnTo>
                    <a:pt x="1027" y="215"/>
                  </a:lnTo>
                  <a:lnTo>
                    <a:pt x="1022" y="212"/>
                  </a:lnTo>
                  <a:lnTo>
                    <a:pt x="1020" y="209"/>
                  </a:lnTo>
                  <a:lnTo>
                    <a:pt x="1017" y="205"/>
                  </a:lnTo>
                  <a:lnTo>
                    <a:pt x="1016" y="202"/>
                  </a:lnTo>
                  <a:lnTo>
                    <a:pt x="1012" y="201"/>
                  </a:lnTo>
                  <a:lnTo>
                    <a:pt x="1011" y="197"/>
                  </a:lnTo>
                  <a:lnTo>
                    <a:pt x="1009" y="194"/>
                  </a:lnTo>
                  <a:lnTo>
                    <a:pt x="1008" y="193"/>
                  </a:lnTo>
                  <a:lnTo>
                    <a:pt x="1008" y="191"/>
                  </a:lnTo>
                  <a:lnTo>
                    <a:pt x="1008" y="186"/>
                  </a:lnTo>
                  <a:lnTo>
                    <a:pt x="1008" y="182"/>
                  </a:lnTo>
                  <a:lnTo>
                    <a:pt x="1008" y="177"/>
                  </a:lnTo>
                  <a:lnTo>
                    <a:pt x="1009" y="171"/>
                  </a:lnTo>
                  <a:lnTo>
                    <a:pt x="1011" y="168"/>
                  </a:lnTo>
                  <a:lnTo>
                    <a:pt x="1012" y="163"/>
                  </a:lnTo>
                  <a:lnTo>
                    <a:pt x="1014" y="160"/>
                  </a:lnTo>
                  <a:lnTo>
                    <a:pt x="1016" y="156"/>
                  </a:lnTo>
                  <a:lnTo>
                    <a:pt x="1019" y="149"/>
                  </a:lnTo>
                  <a:lnTo>
                    <a:pt x="1023" y="141"/>
                  </a:lnTo>
                  <a:lnTo>
                    <a:pt x="1027" y="133"/>
                  </a:lnTo>
                  <a:lnTo>
                    <a:pt x="1031" y="125"/>
                  </a:lnTo>
                  <a:lnTo>
                    <a:pt x="1031" y="120"/>
                  </a:lnTo>
                  <a:lnTo>
                    <a:pt x="1033" y="108"/>
                  </a:lnTo>
                  <a:lnTo>
                    <a:pt x="1033" y="100"/>
                  </a:lnTo>
                  <a:lnTo>
                    <a:pt x="1033" y="92"/>
                  </a:lnTo>
                  <a:lnTo>
                    <a:pt x="1033" y="82"/>
                  </a:lnTo>
                  <a:lnTo>
                    <a:pt x="1031" y="71"/>
                  </a:lnTo>
                  <a:lnTo>
                    <a:pt x="1028" y="70"/>
                  </a:lnTo>
                  <a:lnTo>
                    <a:pt x="1027" y="70"/>
                  </a:lnTo>
                  <a:lnTo>
                    <a:pt x="1025" y="70"/>
                  </a:lnTo>
                  <a:lnTo>
                    <a:pt x="1023" y="70"/>
                  </a:lnTo>
                  <a:lnTo>
                    <a:pt x="1020" y="70"/>
                  </a:lnTo>
                  <a:lnTo>
                    <a:pt x="1020" y="71"/>
                  </a:lnTo>
                  <a:lnTo>
                    <a:pt x="1019" y="74"/>
                  </a:lnTo>
                  <a:lnTo>
                    <a:pt x="1016" y="79"/>
                  </a:lnTo>
                  <a:lnTo>
                    <a:pt x="1016" y="84"/>
                  </a:lnTo>
                  <a:lnTo>
                    <a:pt x="1014" y="92"/>
                  </a:lnTo>
                  <a:lnTo>
                    <a:pt x="1012" y="98"/>
                  </a:lnTo>
                  <a:lnTo>
                    <a:pt x="1012" y="108"/>
                  </a:lnTo>
                  <a:lnTo>
                    <a:pt x="1011" y="114"/>
                  </a:lnTo>
                  <a:lnTo>
                    <a:pt x="1011" y="120"/>
                  </a:lnTo>
                  <a:lnTo>
                    <a:pt x="1009" y="126"/>
                  </a:lnTo>
                  <a:lnTo>
                    <a:pt x="1008" y="130"/>
                  </a:lnTo>
                  <a:lnTo>
                    <a:pt x="1008" y="133"/>
                  </a:lnTo>
                  <a:lnTo>
                    <a:pt x="1006" y="134"/>
                  </a:lnTo>
                  <a:lnTo>
                    <a:pt x="1006" y="136"/>
                  </a:lnTo>
                  <a:lnTo>
                    <a:pt x="1003" y="138"/>
                  </a:lnTo>
                  <a:lnTo>
                    <a:pt x="1000" y="139"/>
                  </a:lnTo>
                  <a:lnTo>
                    <a:pt x="998" y="139"/>
                  </a:lnTo>
                  <a:lnTo>
                    <a:pt x="992" y="141"/>
                  </a:lnTo>
                  <a:lnTo>
                    <a:pt x="986" y="142"/>
                  </a:lnTo>
                  <a:lnTo>
                    <a:pt x="979" y="144"/>
                  </a:lnTo>
                  <a:lnTo>
                    <a:pt x="974" y="147"/>
                  </a:lnTo>
                  <a:lnTo>
                    <a:pt x="970" y="149"/>
                  </a:lnTo>
                  <a:lnTo>
                    <a:pt x="967" y="152"/>
                  </a:lnTo>
                  <a:lnTo>
                    <a:pt x="963" y="153"/>
                  </a:lnTo>
                  <a:lnTo>
                    <a:pt x="960" y="156"/>
                  </a:lnTo>
                  <a:lnTo>
                    <a:pt x="959" y="160"/>
                  </a:lnTo>
                  <a:lnTo>
                    <a:pt x="957" y="163"/>
                  </a:lnTo>
                  <a:lnTo>
                    <a:pt x="957" y="166"/>
                  </a:lnTo>
                  <a:lnTo>
                    <a:pt x="954" y="169"/>
                  </a:lnTo>
                  <a:lnTo>
                    <a:pt x="954" y="175"/>
                  </a:lnTo>
                  <a:lnTo>
                    <a:pt x="952" y="182"/>
                  </a:lnTo>
                  <a:lnTo>
                    <a:pt x="952" y="188"/>
                  </a:lnTo>
                  <a:lnTo>
                    <a:pt x="952" y="194"/>
                  </a:lnTo>
                  <a:lnTo>
                    <a:pt x="952" y="202"/>
                  </a:lnTo>
                  <a:lnTo>
                    <a:pt x="952" y="207"/>
                  </a:lnTo>
                  <a:lnTo>
                    <a:pt x="955" y="223"/>
                  </a:lnTo>
                  <a:lnTo>
                    <a:pt x="959" y="235"/>
                  </a:lnTo>
                  <a:lnTo>
                    <a:pt x="959" y="242"/>
                  </a:lnTo>
                  <a:lnTo>
                    <a:pt x="960" y="248"/>
                  </a:lnTo>
                  <a:lnTo>
                    <a:pt x="960" y="253"/>
                  </a:lnTo>
                  <a:lnTo>
                    <a:pt x="960" y="257"/>
                  </a:lnTo>
                  <a:lnTo>
                    <a:pt x="960" y="259"/>
                  </a:lnTo>
                  <a:lnTo>
                    <a:pt x="960" y="261"/>
                  </a:lnTo>
                  <a:lnTo>
                    <a:pt x="959" y="264"/>
                  </a:lnTo>
                  <a:lnTo>
                    <a:pt x="959" y="265"/>
                  </a:lnTo>
                  <a:lnTo>
                    <a:pt x="957" y="267"/>
                  </a:lnTo>
                  <a:lnTo>
                    <a:pt x="957" y="268"/>
                  </a:lnTo>
                  <a:lnTo>
                    <a:pt x="954" y="270"/>
                  </a:lnTo>
                  <a:lnTo>
                    <a:pt x="952" y="272"/>
                  </a:lnTo>
                  <a:lnTo>
                    <a:pt x="951" y="273"/>
                  </a:lnTo>
                  <a:lnTo>
                    <a:pt x="946" y="283"/>
                  </a:lnTo>
                  <a:lnTo>
                    <a:pt x="944" y="291"/>
                  </a:lnTo>
                  <a:lnTo>
                    <a:pt x="940" y="300"/>
                  </a:lnTo>
                  <a:lnTo>
                    <a:pt x="938" y="309"/>
                  </a:lnTo>
                  <a:lnTo>
                    <a:pt x="935" y="317"/>
                  </a:lnTo>
                  <a:lnTo>
                    <a:pt x="933" y="324"/>
                  </a:lnTo>
                  <a:lnTo>
                    <a:pt x="932" y="332"/>
                  </a:lnTo>
                  <a:lnTo>
                    <a:pt x="932" y="338"/>
                  </a:lnTo>
                  <a:lnTo>
                    <a:pt x="932" y="350"/>
                  </a:lnTo>
                  <a:lnTo>
                    <a:pt x="932" y="360"/>
                  </a:lnTo>
                  <a:lnTo>
                    <a:pt x="932" y="365"/>
                  </a:lnTo>
                  <a:lnTo>
                    <a:pt x="932" y="368"/>
                  </a:lnTo>
                  <a:lnTo>
                    <a:pt x="933" y="371"/>
                  </a:lnTo>
                  <a:lnTo>
                    <a:pt x="935" y="373"/>
                  </a:lnTo>
                  <a:lnTo>
                    <a:pt x="937" y="374"/>
                  </a:lnTo>
                  <a:lnTo>
                    <a:pt x="938" y="376"/>
                  </a:lnTo>
                  <a:lnTo>
                    <a:pt x="940" y="376"/>
                  </a:lnTo>
                  <a:lnTo>
                    <a:pt x="941" y="376"/>
                  </a:lnTo>
                  <a:lnTo>
                    <a:pt x="946" y="377"/>
                  </a:lnTo>
                  <a:lnTo>
                    <a:pt x="952" y="377"/>
                  </a:lnTo>
                  <a:lnTo>
                    <a:pt x="957" y="376"/>
                  </a:lnTo>
                  <a:lnTo>
                    <a:pt x="967" y="376"/>
                  </a:lnTo>
                  <a:lnTo>
                    <a:pt x="974" y="373"/>
                  </a:lnTo>
                  <a:lnTo>
                    <a:pt x="986" y="371"/>
                  </a:lnTo>
                  <a:lnTo>
                    <a:pt x="990" y="371"/>
                  </a:lnTo>
                  <a:lnTo>
                    <a:pt x="995" y="373"/>
                  </a:lnTo>
                  <a:lnTo>
                    <a:pt x="1000" y="376"/>
                  </a:lnTo>
                  <a:lnTo>
                    <a:pt x="1003" y="377"/>
                  </a:lnTo>
                  <a:lnTo>
                    <a:pt x="1006" y="380"/>
                  </a:lnTo>
                  <a:lnTo>
                    <a:pt x="1011" y="385"/>
                  </a:lnTo>
                  <a:lnTo>
                    <a:pt x="1012" y="388"/>
                  </a:lnTo>
                  <a:lnTo>
                    <a:pt x="1016" y="393"/>
                  </a:lnTo>
                  <a:lnTo>
                    <a:pt x="1019" y="396"/>
                  </a:lnTo>
                  <a:lnTo>
                    <a:pt x="1020" y="401"/>
                  </a:lnTo>
                  <a:lnTo>
                    <a:pt x="1023" y="406"/>
                  </a:lnTo>
                  <a:lnTo>
                    <a:pt x="1025" y="412"/>
                  </a:lnTo>
                  <a:lnTo>
                    <a:pt x="1027" y="417"/>
                  </a:lnTo>
                  <a:lnTo>
                    <a:pt x="1028" y="421"/>
                  </a:lnTo>
                  <a:lnTo>
                    <a:pt x="1030" y="428"/>
                  </a:lnTo>
                  <a:lnTo>
                    <a:pt x="1031" y="434"/>
                  </a:lnTo>
                  <a:lnTo>
                    <a:pt x="1031" y="439"/>
                  </a:lnTo>
                  <a:lnTo>
                    <a:pt x="1031" y="444"/>
                  </a:lnTo>
                  <a:lnTo>
                    <a:pt x="1031" y="447"/>
                  </a:lnTo>
                  <a:lnTo>
                    <a:pt x="1030" y="451"/>
                  </a:lnTo>
                  <a:lnTo>
                    <a:pt x="1028" y="453"/>
                  </a:lnTo>
                  <a:lnTo>
                    <a:pt x="1027" y="456"/>
                  </a:lnTo>
                  <a:lnTo>
                    <a:pt x="1025" y="458"/>
                  </a:lnTo>
                  <a:lnTo>
                    <a:pt x="1022" y="459"/>
                  </a:lnTo>
                  <a:lnTo>
                    <a:pt x="1017" y="462"/>
                  </a:lnTo>
                  <a:lnTo>
                    <a:pt x="1012" y="466"/>
                  </a:lnTo>
                  <a:lnTo>
                    <a:pt x="1011" y="467"/>
                  </a:lnTo>
                  <a:lnTo>
                    <a:pt x="1008" y="470"/>
                  </a:lnTo>
                  <a:lnTo>
                    <a:pt x="1008" y="472"/>
                  </a:lnTo>
                  <a:lnTo>
                    <a:pt x="1006" y="477"/>
                  </a:lnTo>
                  <a:lnTo>
                    <a:pt x="1006" y="478"/>
                  </a:lnTo>
                  <a:lnTo>
                    <a:pt x="1006" y="480"/>
                  </a:lnTo>
                  <a:lnTo>
                    <a:pt x="1008" y="483"/>
                  </a:lnTo>
                  <a:lnTo>
                    <a:pt x="1008" y="485"/>
                  </a:lnTo>
                  <a:lnTo>
                    <a:pt x="1009" y="489"/>
                  </a:lnTo>
                  <a:lnTo>
                    <a:pt x="1012" y="492"/>
                  </a:lnTo>
                  <a:lnTo>
                    <a:pt x="1016" y="496"/>
                  </a:lnTo>
                  <a:lnTo>
                    <a:pt x="1019" y="500"/>
                  </a:lnTo>
                  <a:lnTo>
                    <a:pt x="1022" y="502"/>
                  </a:lnTo>
                  <a:lnTo>
                    <a:pt x="1027" y="505"/>
                  </a:lnTo>
                  <a:lnTo>
                    <a:pt x="1033" y="510"/>
                  </a:lnTo>
                  <a:lnTo>
                    <a:pt x="1041" y="513"/>
                  </a:lnTo>
                  <a:lnTo>
                    <a:pt x="1042" y="516"/>
                  </a:lnTo>
                  <a:lnTo>
                    <a:pt x="1044" y="518"/>
                  </a:lnTo>
                  <a:lnTo>
                    <a:pt x="1046" y="519"/>
                  </a:lnTo>
                  <a:lnTo>
                    <a:pt x="1041" y="519"/>
                  </a:lnTo>
                  <a:lnTo>
                    <a:pt x="1038" y="519"/>
                  </a:lnTo>
                  <a:lnTo>
                    <a:pt x="1033" y="519"/>
                  </a:lnTo>
                  <a:lnTo>
                    <a:pt x="1028" y="518"/>
                  </a:lnTo>
                  <a:lnTo>
                    <a:pt x="1025" y="516"/>
                  </a:lnTo>
                  <a:lnTo>
                    <a:pt x="1020" y="516"/>
                  </a:lnTo>
                  <a:lnTo>
                    <a:pt x="1017" y="513"/>
                  </a:lnTo>
                  <a:lnTo>
                    <a:pt x="1014" y="511"/>
                  </a:lnTo>
                  <a:lnTo>
                    <a:pt x="1011" y="510"/>
                  </a:lnTo>
                  <a:lnTo>
                    <a:pt x="1008" y="507"/>
                  </a:lnTo>
                  <a:lnTo>
                    <a:pt x="1006" y="505"/>
                  </a:lnTo>
                  <a:lnTo>
                    <a:pt x="1003" y="502"/>
                  </a:lnTo>
                  <a:lnTo>
                    <a:pt x="1001" y="499"/>
                  </a:lnTo>
                  <a:lnTo>
                    <a:pt x="1000" y="496"/>
                  </a:lnTo>
                  <a:lnTo>
                    <a:pt x="1000" y="492"/>
                  </a:lnTo>
                  <a:lnTo>
                    <a:pt x="998" y="489"/>
                  </a:lnTo>
                  <a:lnTo>
                    <a:pt x="1000" y="483"/>
                  </a:lnTo>
                  <a:lnTo>
                    <a:pt x="1000" y="478"/>
                  </a:lnTo>
                  <a:lnTo>
                    <a:pt x="1001" y="472"/>
                  </a:lnTo>
                  <a:lnTo>
                    <a:pt x="1003" y="466"/>
                  </a:lnTo>
                  <a:lnTo>
                    <a:pt x="1008" y="451"/>
                  </a:lnTo>
                  <a:lnTo>
                    <a:pt x="1016" y="434"/>
                  </a:lnTo>
                  <a:lnTo>
                    <a:pt x="1012" y="431"/>
                  </a:lnTo>
                  <a:lnTo>
                    <a:pt x="1009" y="426"/>
                  </a:lnTo>
                  <a:lnTo>
                    <a:pt x="1008" y="425"/>
                  </a:lnTo>
                  <a:lnTo>
                    <a:pt x="1006" y="420"/>
                  </a:lnTo>
                  <a:lnTo>
                    <a:pt x="1001" y="412"/>
                  </a:lnTo>
                  <a:lnTo>
                    <a:pt x="998" y="404"/>
                  </a:lnTo>
                  <a:lnTo>
                    <a:pt x="995" y="399"/>
                  </a:lnTo>
                  <a:lnTo>
                    <a:pt x="992" y="396"/>
                  </a:lnTo>
                  <a:lnTo>
                    <a:pt x="989" y="393"/>
                  </a:lnTo>
                  <a:lnTo>
                    <a:pt x="986" y="391"/>
                  </a:lnTo>
                  <a:lnTo>
                    <a:pt x="982" y="391"/>
                  </a:lnTo>
                  <a:lnTo>
                    <a:pt x="979" y="390"/>
                  </a:lnTo>
                  <a:lnTo>
                    <a:pt x="978" y="388"/>
                  </a:lnTo>
                  <a:lnTo>
                    <a:pt x="974" y="388"/>
                  </a:lnTo>
                  <a:lnTo>
                    <a:pt x="973" y="388"/>
                  </a:lnTo>
                  <a:lnTo>
                    <a:pt x="968" y="388"/>
                  </a:lnTo>
                  <a:lnTo>
                    <a:pt x="965" y="388"/>
                  </a:lnTo>
                  <a:lnTo>
                    <a:pt x="962" y="388"/>
                  </a:lnTo>
                  <a:lnTo>
                    <a:pt x="955" y="390"/>
                  </a:lnTo>
                  <a:lnTo>
                    <a:pt x="951" y="391"/>
                  </a:lnTo>
                  <a:lnTo>
                    <a:pt x="944" y="393"/>
                  </a:lnTo>
                  <a:lnTo>
                    <a:pt x="941" y="396"/>
                  </a:lnTo>
                  <a:lnTo>
                    <a:pt x="940" y="396"/>
                  </a:lnTo>
                  <a:lnTo>
                    <a:pt x="938" y="398"/>
                  </a:lnTo>
                  <a:lnTo>
                    <a:pt x="937" y="399"/>
                  </a:lnTo>
                  <a:lnTo>
                    <a:pt x="935" y="403"/>
                  </a:lnTo>
                  <a:lnTo>
                    <a:pt x="933" y="406"/>
                  </a:lnTo>
                  <a:lnTo>
                    <a:pt x="932" y="412"/>
                  </a:lnTo>
                  <a:lnTo>
                    <a:pt x="930" y="417"/>
                  </a:lnTo>
                  <a:lnTo>
                    <a:pt x="929" y="425"/>
                  </a:lnTo>
                  <a:lnTo>
                    <a:pt x="929" y="431"/>
                  </a:lnTo>
                  <a:lnTo>
                    <a:pt x="929" y="439"/>
                  </a:lnTo>
                  <a:lnTo>
                    <a:pt x="930" y="448"/>
                  </a:lnTo>
                  <a:lnTo>
                    <a:pt x="930" y="458"/>
                  </a:lnTo>
                  <a:lnTo>
                    <a:pt x="930" y="459"/>
                  </a:lnTo>
                  <a:lnTo>
                    <a:pt x="932" y="470"/>
                  </a:lnTo>
                  <a:lnTo>
                    <a:pt x="933" y="483"/>
                  </a:lnTo>
                  <a:lnTo>
                    <a:pt x="921" y="488"/>
                  </a:lnTo>
                  <a:lnTo>
                    <a:pt x="913" y="492"/>
                  </a:lnTo>
                  <a:lnTo>
                    <a:pt x="910" y="496"/>
                  </a:lnTo>
                  <a:lnTo>
                    <a:pt x="908" y="497"/>
                  </a:lnTo>
                  <a:lnTo>
                    <a:pt x="905" y="499"/>
                  </a:lnTo>
                  <a:lnTo>
                    <a:pt x="903" y="500"/>
                  </a:lnTo>
                  <a:lnTo>
                    <a:pt x="900" y="508"/>
                  </a:lnTo>
                  <a:lnTo>
                    <a:pt x="895" y="519"/>
                  </a:lnTo>
                  <a:lnTo>
                    <a:pt x="892" y="524"/>
                  </a:lnTo>
                  <a:lnTo>
                    <a:pt x="891" y="527"/>
                  </a:lnTo>
                  <a:lnTo>
                    <a:pt x="888" y="532"/>
                  </a:lnTo>
                  <a:lnTo>
                    <a:pt x="884" y="533"/>
                  </a:lnTo>
                  <a:lnTo>
                    <a:pt x="883" y="537"/>
                  </a:lnTo>
                  <a:lnTo>
                    <a:pt x="880" y="538"/>
                  </a:lnTo>
                  <a:lnTo>
                    <a:pt x="878" y="541"/>
                  </a:lnTo>
                  <a:lnTo>
                    <a:pt x="875" y="543"/>
                  </a:lnTo>
                  <a:lnTo>
                    <a:pt x="870" y="544"/>
                  </a:lnTo>
                  <a:lnTo>
                    <a:pt x="864" y="546"/>
                  </a:lnTo>
                  <a:lnTo>
                    <a:pt x="859" y="548"/>
                  </a:lnTo>
                  <a:lnTo>
                    <a:pt x="854" y="549"/>
                  </a:lnTo>
                  <a:lnTo>
                    <a:pt x="850" y="549"/>
                  </a:lnTo>
                  <a:lnTo>
                    <a:pt x="846" y="551"/>
                  </a:lnTo>
                  <a:lnTo>
                    <a:pt x="842" y="552"/>
                  </a:lnTo>
                  <a:lnTo>
                    <a:pt x="839" y="554"/>
                  </a:lnTo>
                  <a:lnTo>
                    <a:pt x="837" y="556"/>
                  </a:lnTo>
                  <a:lnTo>
                    <a:pt x="834" y="557"/>
                  </a:lnTo>
                  <a:lnTo>
                    <a:pt x="834" y="559"/>
                  </a:lnTo>
                  <a:lnTo>
                    <a:pt x="831" y="562"/>
                  </a:lnTo>
                  <a:lnTo>
                    <a:pt x="831" y="563"/>
                  </a:lnTo>
                  <a:lnTo>
                    <a:pt x="829" y="567"/>
                  </a:lnTo>
                  <a:lnTo>
                    <a:pt x="828" y="570"/>
                  </a:lnTo>
                  <a:lnTo>
                    <a:pt x="826" y="574"/>
                  </a:lnTo>
                  <a:lnTo>
                    <a:pt x="821" y="568"/>
                  </a:lnTo>
                  <a:lnTo>
                    <a:pt x="816" y="565"/>
                  </a:lnTo>
                  <a:lnTo>
                    <a:pt x="810" y="562"/>
                  </a:lnTo>
                  <a:lnTo>
                    <a:pt x="804" y="559"/>
                  </a:lnTo>
                  <a:lnTo>
                    <a:pt x="797" y="557"/>
                  </a:lnTo>
                  <a:lnTo>
                    <a:pt x="793" y="554"/>
                  </a:lnTo>
                  <a:lnTo>
                    <a:pt x="791" y="554"/>
                  </a:lnTo>
                  <a:lnTo>
                    <a:pt x="788" y="552"/>
                  </a:lnTo>
                  <a:lnTo>
                    <a:pt x="783" y="552"/>
                  </a:lnTo>
                  <a:lnTo>
                    <a:pt x="777" y="551"/>
                  </a:lnTo>
                  <a:lnTo>
                    <a:pt x="774" y="549"/>
                  </a:lnTo>
                  <a:lnTo>
                    <a:pt x="769" y="548"/>
                  </a:lnTo>
                  <a:lnTo>
                    <a:pt x="766" y="546"/>
                  </a:lnTo>
                  <a:lnTo>
                    <a:pt x="764" y="544"/>
                  </a:lnTo>
                  <a:lnTo>
                    <a:pt x="763" y="544"/>
                  </a:lnTo>
                  <a:lnTo>
                    <a:pt x="763" y="541"/>
                  </a:lnTo>
                  <a:lnTo>
                    <a:pt x="761" y="541"/>
                  </a:lnTo>
                  <a:lnTo>
                    <a:pt x="760" y="538"/>
                  </a:lnTo>
                  <a:lnTo>
                    <a:pt x="760" y="537"/>
                  </a:lnTo>
                  <a:lnTo>
                    <a:pt x="760" y="535"/>
                  </a:lnTo>
                  <a:lnTo>
                    <a:pt x="760" y="533"/>
                  </a:lnTo>
                  <a:lnTo>
                    <a:pt x="760" y="532"/>
                  </a:lnTo>
                  <a:lnTo>
                    <a:pt x="760" y="530"/>
                  </a:lnTo>
                  <a:lnTo>
                    <a:pt x="758" y="527"/>
                  </a:lnTo>
                  <a:lnTo>
                    <a:pt x="756" y="526"/>
                  </a:lnTo>
                  <a:lnTo>
                    <a:pt x="755" y="522"/>
                  </a:lnTo>
                  <a:lnTo>
                    <a:pt x="750" y="518"/>
                  </a:lnTo>
                  <a:lnTo>
                    <a:pt x="747" y="513"/>
                  </a:lnTo>
                  <a:lnTo>
                    <a:pt x="747" y="511"/>
                  </a:lnTo>
                  <a:lnTo>
                    <a:pt x="747" y="510"/>
                  </a:lnTo>
                  <a:lnTo>
                    <a:pt x="747" y="508"/>
                  </a:lnTo>
                  <a:lnTo>
                    <a:pt x="750" y="508"/>
                  </a:lnTo>
                  <a:lnTo>
                    <a:pt x="753" y="507"/>
                  </a:lnTo>
                  <a:lnTo>
                    <a:pt x="758" y="507"/>
                  </a:lnTo>
                  <a:lnTo>
                    <a:pt x="764" y="507"/>
                  </a:lnTo>
                  <a:lnTo>
                    <a:pt x="767" y="507"/>
                  </a:lnTo>
                  <a:lnTo>
                    <a:pt x="769" y="508"/>
                  </a:lnTo>
                  <a:lnTo>
                    <a:pt x="771" y="508"/>
                  </a:lnTo>
                  <a:lnTo>
                    <a:pt x="772" y="508"/>
                  </a:lnTo>
                  <a:lnTo>
                    <a:pt x="774" y="511"/>
                  </a:lnTo>
                  <a:lnTo>
                    <a:pt x="775" y="513"/>
                  </a:lnTo>
                  <a:lnTo>
                    <a:pt x="780" y="521"/>
                  </a:lnTo>
                  <a:lnTo>
                    <a:pt x="782" y="529"/>
                  </a:lnTo>
                  <a:lnTo>
                    <a:pt x="783" y="533"/>
                  </a:lnTo>
                  <a:lnTo>
                    <a:pt x="785" y="537"/>
                  </a:lnTo>
                  <a:lnTo>
                    <a:pt x="788" y="540"/>
                  </a:lnTo>
                  <a:lnTo>
                    <a:pt x="790" y="543"/>
                  </a:lnTo>
                  <a:lnTo>
                    <a:pt x="791" y="544"/>
                  </a:lnTo>
                  <a:lnTo>
                    <a:pt x="793" y="546"/>
                  </a:lnTo>
                  <a:lnTo>
                    <a:pt x="796" y="546"/>
                  </a:lnTo>
                  <a:lnTo>
                    <a:pt x="797" y="548"/>
                  </a:lnTo>
                  <a:lnTo>
                    <a:pt x="799" y="549"/>
                  </a:lnTo>
                  <a:lnTo>
                    <a:pt x="802" y="549"/>
                  </a:lnTo>
                  <a:lnTo>
                    <a:pt x="805" y="549"/>
                  </a:lnTo>
                  <a:lnTo>
                    <a:pt x="809" y="549"/>
                  </a:lnTo>
                  <a:lnTo>
                    <a:pt x="810" y="549"/>
                  </a:lnTo>
                  <a:lnTo>
                    <a:pt x="813" y="549"/>
                  </a:lnTo>
                  <a:lnTo>
                    <a:pt x="815" y="548"/>
                  </a:lnTo>
                  <a:lnTo>
                    <a:pt x="816" y="546"/>
                  </a:lnTo>
                  <a:lnTo>
                    <a:pt x="821" y="543"/>
                  </a:lnTo>
                  <a:lnTo>
                    <a:pt x="826" y="538"/>
                  </a:lnTo>
                  <a:lnTo>
                    <a:pt x="829" y="533"/>
                  </a:lnTo>
                  <a:lnTo>
                    <a:pt x="834" y="527"/>
                  </a:lnTo>
                  <a:lnTo>
                    <a:pt x="839" y="521"/>
                  </a:lnTo>
                  <a:lnTo>
                    <a:pt x="843" y="515"/>
                  </a:lnTo>
                  <a:lnTo>
                    <a:pt x="846" y="508"/>
                  </a:lnTo>
                  <a:lnTo>
                    <a:pt x="851" y="500"/>
                  </a:lnTo>
                  <a:lnTo>
                    <a:pt x="858" y="492"/>
                  </a:lnTo>
                  <a:lnTo>
                    <a:pt x="862" y="485"/>
                  </a:lnTo>
                  <a:lnTo>
                    <a:pt x="867" y="478"/>
                  </a:lnTo>
                  <a:lnTo>
                    <a:pt x="875" y="472"/>
                  </a:lnTo>
                  <a:lnTo>
                    <a:pt x="878" y="469"/>
                  </a:lnTo>
                  <a:lnTo>
                    <a:pt x="881" y="466"/>
                  </a:lnTo>
                  <a:lnTo>
                    <a:pt x="884" y="462"/>
                  </a:lnTo>
                  <a:lnTo>
                    <a:pt x="889" y="459"/>
                  </a:lnTo>
                  <a:lnTo>
                    <a:pt x="889" y="455"/>
                  </a:lnTo>
                  <a:lnTo>
                    <a:pt x="891" y="450"/>
                  </a:lnTo>
                  <a:lnTo>
                    <a:pt x="892" y="447"/>
                  </a:lnTo>
                  <a:lnTo>
                    <a:pt x="892" y="444"/>
                  </a:lnTo>
                  <a:lnTo>
                    <a:pt x="895" y="440"/>
                  </a:lnTo>
                  <a:lnTo>
                    <a:pt x="897" y="437"/>
                  </a:lnTo>
                  <a:lnTo>
                    <a:pt x="899" y="436"/>
                  </a:lnTo>
                  <a:lnTo>
                    <a:pt x="900" y="434"/>
                  </a:lnTo>
                  <a:lnTo>
                    <a:pt x="903" y="432"/>
                  </a:lnTo>
                  <a:lnTo>
                    <a:pt x="907" y="431"/>
                  </a:lnTo>
                  <a:lnTo>
                    <a:pt x="910" y="429"/>
                  </a:lnTo>
                  <a:lnTo>
                    <a:pt x="913" y="429"/>
                  </a:lnTo>
                  <a:lnTo>
                    <a:pt x="913" y="428"/>
                  </a:lnTo>
                  <a:lnTo>
                    <a:pt x="914" y="426"/>
                  </a:lnTo>
                  <a:lnTo>
                    <a:pt x="916" y="426"/>
                  </a:lnTo>
                  <a:lnTo>
                    <a:pt x="916" y="425"/>
                  </a:lnTo>
                  <a:lnTo>
                    <a:pt x="916" y="421"/>
                  </a:lnTo>
                  <a:lnTo>
                    <a:pt x="916" y="420"/>
                  </a:lnTo>
                  <a:lnTo>
                    <a:pt x="916" y="418"/>
                  </a:lnTo>
                  <a:lnTo>
                    <a:pt x="913" y="412"/>
                  </a:lnTo>
                  <a:lnTo>
                    <a:pt x="910" y="403"/>
                  </a:lnTo>
                  <a:lnTo>
                    <a:pt x="905" y="391"/>
                  </a:lnTo>
                  <a:lnTo>
                    <a:pt x="899" y="377"/>
                  </a:lnTo>
                  <a:lnTo>
                    <a:pt x="895" y="374"/>
                  </a:lnTo>
                  <a:lnTo>
                    <a:pt x="895" y="371"/>
                  </a:lnTo>
                  <a:lnTo>
                    <a:pt x="894" y="366"/>
                  </a:lnTo>
                  <a:lnTo>
                    <a:pt x="894" y="363"/>
                  </a:lnTo>
                  <a:lnTo>
                    <a:pt x="892" y="358"/>
                  </a:lnTo>
                  <a:lnTo>
                    <a:pt x="892" y="354"/>
                  </a:lnTo>
                  <a:lnTo>
                    <a:pt x="892" y="350"/>
                  </a:lnTo>
                  <a:lnTo>
                    <a:pt x="894" y="344"/>
                  </a:lnTo>
                  <a:lnTo>
                    <a:pt x="895" y="335"/>
                  </a:lnTo>
                  <a:lnTo>
                    <a:pt x="897" y="325"/>
                  </a:lnTo>
                  <a:lnTo>
                    <a:pt x="900" y="316"/>
                  </a:lnTo>
                  <a:lnTo>
                    <a:pt x="903" y="306"/>
                  </a:lnTo>
                  <a:lnTo>
                    <a:pt x="907" y="295"/>
                  </a:lnTo>
                  <a:lnTo>
                    <a:pt x="911" y="286"/>
                  </a:lnTo>
                  <a:lnTo>
                    <a:pt x="916" y="275"/>
                  </a:lnTo>
                  <a:lnTo>
                    <a:pt x="919" y="265"/>
                  </a:lnTo>
                  <a:lnTo>
                    <a:pt x="929" y="248"/>
                  </a:lnTo>
                  <a:lnTo>
                    <a:pt x="935" y="234"/>
                  </a:lnTo>
                  <a:lnTo>
                    <a:pt x="938" y="227"/>
                  </a:lnTo>
                  <a:lnTo>
                    <a:pt x="938" y="223"/>
                  </a:lnTo>
                  <a:lnTo>
                    <a:pt x="940" y="218"/>
                  </a:lnTo>
                  <a:lnTo>
                    <a:pt x="940" y="215"/>
                  </a:lnTo>
                  <a:lnTo>
                    <a:pt x="938" y="210"/>
                  </a:lnTo>
                  <a:lnTo>
                    <a:pt x="938" y="207"/>
                  </a:lnTo>
                  <a:lnTo>
                    <a:pt x="935" y="204"/>
                  </a:lnTo>
                  <a:lnTo>
                    <a:pt x="933" y="202"/>
                  </a:lnTo>
                  <a:lnTo>
                    <a:pt x="932" y="199"/>
                  </a:lnTo>
                  <a:lnTo>
                    <a:pt x="930" y="194"/>
                  </a:lnTo>
                  <a:lnTo>
                    <a:pt x="929" y="191"/>
                  </a:lnTo>
                  <a:lnTo>
                    <a:pt x="925" y="186"/>
                  </a:lnTo>
                  <a:lnTo>
                    <a:pt x="925" y="183"/>
                  </a:lnTo>
                  <a:lnTo>
                    <a:pt x="925" y="177"/>
                  </a:lnTo>
                  <a:lnTo>
                    <a:pt x="925" y="171"/>
                  </a:lnTo>
                  <a:lnTo>
                    <a:pt x="929" y="163"/>
                  </a:lnTo>
                  <a:lnTo>
                    <a:pt x="930" y="156"/>
                  </a:lnTo>
                  <a:lnTo>
                    <a:pt x="932" y="152"/>
                  </a:lnTo>
                  <a:lnTo>
                    <a:pt x="935" y="149"/>
                  </a:lnTo>
                  <a:lnTo>
                    <a:pt x="937" y="145"/>
                  </a:lnTo>
                  <a:lnTo>
                    <a:pt x="940" y="142"/>
                  </a:lnTo>
                  <a:lnTo>
                    <a:pt x="943" y="141"/>
                  </a:lnTo>
                  <a:lnTo>
                    <a:pt x="944" y="139"/>
                  </a:lnTo>
                  <a:lnTo>
                    <a:pt x="948" y="138"/>
                  </a:lnTo>
                  <a:lnTo>
                    <a:pt x="951" y="136"/>
                  </a:lnTo>
                  <a:lnTo>
                    <a:pt x="954" y="133"/>
                  </a:lnTo>
                  <a:lnTo>
                    <a:pt x="955" y="131"/>
                  </a:lnTo>
                  <a:lnTo>
                    <a:pt x="959" y="128"/>
                  </a:lnTo>
                  <a:lnTo>
                    <a:pt x="962" y="123"/>
                  </a:lnTo>
                  <a:lnTo>
                    <a:pt x="965" y="117"/>
                  </a:lnTo>
                  <a:lnTo>
                    <a:pt x="967" y="109"/>
                  </a:lnTo>
                  <a:lnTo>
                    <a:pt x="970" y="100"/>
                  </a:lnTo>
                  <a:lnTo>
                    <a:pt x="970" y="95"/>
                  </a:lnTo>
                  <a:lnTo>
                    <a:pt x="970" y="90"/>
                  </a:lnTo>
                  <a:lnTo>
                    <a:pt x="971" y="85"/>
                  </a:lnTo>
                  <a:lnTo>
                    <a:pt x="971" y="82"/>
                  </a:lnTo>
                  <a:lnTo>
                    <a:pt x="970" y="79"/>
                  </a:lnTo>
                  <a:lnTo>
                    <a:pt x="970" y="76"/>
                  </a:lnTo>
                  <a:lnTo>
                    <a:pt x="967" y="71"/>
                  </a:lnTo>
                  <a:lnTo>
                    <a:pt x="967" y="70"/>
                  </a:lnTo>
                  <a:lnTo>
                    <a:pt x="963" y="67"/>
                  </a:lnTo>
                  <a:lnTo>
                    <a:pt x="962" y="65"/>
                  </a:lnTo>
                  <a:lnTo>
                    <a:pt x="957" y="62"/>
                  </a:lnTo>
                  <a:lnTo>
                    <a:pt x="954" y="60"/>
                  </a:lnTo>
                  <a:lnTo>
                    <a:pt x="944" y="56"/>
                  </a:lnTo>
                  <a:lnTo>
                    <a:pt x="933" y="51"/>
                  </a:lnTo>
                  <a:lnTo>
                    <a:pt x="929" y="49"/>
                  </a:lnTo>
                  <a:lnTo>
                    <a:pt x="924" y="46"/>
                  </a:lnTo>
                  <a:lnTo>
                    <a:pt x="918" y="43"/>
                  </a:lnTo>
                  <a:lnTo>
                    <a:pt x="914" y="40"/>
                  </a:lnTo>
                  <a:lnTo>
                    <a:pt x="908" y="35"/>
                  </a:lnTo>
                  <a:lnTo>
                    <a:pt x="903" y="32"/>
                  </a:lnTo>
                  <a:lnTo>
                    <a:pt x="900" y="30"/>
                  </a:lnTo>
                  <a:lnTo>
                    <a:pt x="899" y="30"/>
                  </a:lnTo>
                  <a:lnTo>
                    <a:pt x="895" y="32"/>
                  </a:lnTo>
                  <a:lnTo>
                    <a:pt x="894" y="33"/>
                  </a:lnTo>
                  <a:lnTo>
                    <a:pt x="891" y="37"/>
                  </a:lnTo>
                  <a:lnTo>
                    <a:pt x="888" y="41"/>
                  </a:lnTo>
                  <a:lnTo>
                    <a:pt x="884" y="44"/>
                  </a:lnTo>
                  <a:lnTo>
                    <a:pt x="881" y="51"/>
                  </a:lnTo>
                  <a:lnTo>
                    <a:pt x="878" y="59"/>
                  </a:lnTo>
                  <a:lnTo>
                    <a:pt x="872" y="71"/>
                  </a:lnTo>
                  <a:lnTo>
                    <a:pt x="870" y="76"/>
                  </a:lnTo>
                  <a:lnTo>
                    <a:pt x="867" y="84"/>
                  </a:lnTo>
                  <a:lnTo>
                    <a:pt x="862" y="93"/>
                  </a:lnTo>
                  <a:lnTo>
                    <a:pt x="858" y="101"/>
                  </a:lnTo>
                  <a:lnTo>
                    <a:pt x="853" y="109"/>
                  </a:lnTo>
                  <a:lnTo>
                    <a:pt x="846" y="117"/>
                  </a:lnTo>
                  <a:lnTo>
                    <a:pt x="843" y="120"/>
                  </a:lnTo>
                  <a:lnTo>
                    <a:pt x="840" y="125"/>
                  </a:lnTo>
                  <a:lnTo>
                    <a:pt x="837" y="128"/>
                  </a:lnTo>
                  <a:lnTo>
                    <a:pt x="832" y="130"/>
                  </a:lnTo>
                  <a:lnTo>
                    <a:pt x="829" y="133"/>
                  </a:lnTo>
                  <a:lnTo>
                    <a:pt x="824" y="136"/>
                  </a:lnTo>
                  <a:lnTo>
                    <a:pt x="820" y="138"/>
                  </a:lnTo>
                  <a:lnTo>
                    <a:pt x="815" y="141"/>
                  </a:lnTo>
                  <a:lnTo>
                    <a:pt x="810" y="142"/>
                  </a:lnTo>
                  <a:lnTo>
                    <a:pt x="804" y="142"/>
                  </a:lnTo>
                  <a:lnTo>
                    <a:pt x="797" y="144"/>
                  </a:lnTo>
                  <a:lnTo>
                    <a:pt x="793" y="144"/>
                  </a:lnTo>
                  <a:lnTo>
                    <a:pt x="790" y="149"/>
                  </a:lnTo>
                  <a:lnTo>
                    <a:pt x="786" y="150"/>
                  </a:lnTo>
                  <a:lnTo>
                    <a:pt x="785" y="153"/>
                  </a:lnTo>
                  <a:lnTo>
                    <a:pt x="783" y="156"/>
                  </a:lnTo>
                  <a:lnTo>
                    <a:pt x="782" y="158"/>
                  </a:lnTo>
                  <a:lnTo>
                    <a:pt x="780" y="161"/>
                  </a:lnTo>
                  <a:lnTo>
                    <a:pt x="780" y="163"/>
                  </a:lnTo>
                  <a:lnTo>
                    <a:pt x="780" y="166"/>
                  </a:lnTo>
                  <a:lnTo>
                    <a:pt x="780" y="169"/>
                  </a:lnTo>
                  <a:lnTo>
                    <a:pt x="780" y="171"/>
                  </a:lnTo>
                  <a:lnTo>
                    <a:pt x="780" y="172"/>
                  </a:lnTo>
                  <a:lnTo>
                    <a:pt x="782" y="175"/>
                  </a:lnTo>
                  <a:lnTo>
                    <a:pt x="783" y="179"/>
                  </a:lnTo>
                  <a:lnTo>
                    <a:pt x="785" y="182"/>
                  </a:lnTo>
                  <a:lnTo>
                    <a:pt x="788" y="185"/>
                  </a:lnTo>
                  <a:lnTo>
                    <a:pt x="790" y="190"/>
                  </a:lnTo>
                  <a:lnTo>
                    <a:pt x="791" y="191"/>
                  </a:lnTo>
                  <a:lnTo>
                    <a:pt x="793" y="194"/>
                  </a:lnTo>
                  <a:lnTo>
                    <a:pt x="793" y="197"/>
                  </a:lnTo>
                  <a:lnTo>
                    <a:pt x="793" y="199"/>
                  </a:lnTo>
                  <a:lnTo>
                    <a:pt x="791" y="201"/>
                  </a:lnTo>
                  <a:lnTo>
                    <a:pt x="790" y="202"/>
                  </a:lnTo>
                  <a:lnTo>
                    <a:pt x="788" y="204"/>
                  </a:lnTo>
                  <a:lnTo>
                    <a:pt x="786" y="205"/>
                  </a:lnTo>
                  <a:lnTo>
                    <a:pt x="785" y="207"/>
                  </a:lnTo>
                  <a:lnTo>
                    <a:pt x="782" y="210"/>
                  </a:lnTo>
                  <a:lnTo>
                    <a:pt x="780" y="213"/>
                  </a:lnTo>
                  <a:lnTo>
                    <a:pt x="780" y="216"/>
                  </a:lnTo>
                  <a:lnTo>
                    <a:pt x="779" y="221"/>
                  </a:lnTo>
                  <a:lnTo>
                    <a:pt x="777" y="224"/>
                  </a:lnTo>
                  <a:lnTo>
                    <a:pt x="775" y="231"/>
                  </a:lnTo>
                  <a:lnTo>
                    <a:pt x="771" y="235"/>
                  </a:lnTo>
                  <a:lnTo>
                    <a:pt x="763" y="245"/>
                  </a:lnTo>
                  <a:lnTo>
                    <a:pt x="755" y="254"/>
                  </a:lnTo>
                  <a:lnTo>
                    <a:pt x="752" y="257"/>
                  </a:lnTo>
                  <a:lnTo>
                    <a:pt x="750" y="262"/>
                  </a:lnTo>
                  <a:lnTo>
                    <a:pt x="750" y="264"/>
                  </a:lnTo>
                  <a:lnTo>
                    <a:pt x="750" y="265"/>
                  </a:lnTo>
                  <a:lnTo>
                    <a:pt x="749" y="267"/>
                  </a:lnTo>
                  <a:lnTo>
                    <a:pt x="749" y="268"/>
                  </a:lnTo>
                  <a:lnTo>
                    <a:pt x="750" y="270"/>
                  </a:lnTo>
                  <a:lnTo>
                    <a:pt x="750" y="273"/>
                  </a:lnTo>
                  <a:lnTo>
                    <a:pt x="750" y="275"/>
                  </a:lnTo>
                  <a:lnTo>
                    <a:pt x="752" y="276"/>
                  </a:lnTo>
                  <a:lnTo>
                    <a:pt x="755" y="278"/>
                  </a:lnTo>
                  <a:lnTo>
                    <a:pt x="756" y="281"/>
                  </a:lnTo>
                  <a:lnTo>
                    <a:pt x="760" y="283"/>
                  </a:lnTo>
                  <a:lnTo>
                    <a:pt x="763" y="284"/>
                  </a:lnTo>
                  <a:lnTo>
                    <a:pt x="767" y="287"/>
                  </a:lnTo>
                  <a:lnTo>
                    <a:pt x="771" y="289"/>
                  </a:lnTo>
                  <a:lnTo>
                    <a:pt x="772" y="294"/>
                  </a:lnTo>
                  <a:lnTo>
                    <a:pt x="775" y="297"/>
                  </a:lnTo>
                  <a:lnTo>
                    <a:pt x="777" y="298"/>
                  </a:lnTo>
                  <a:lnTo>
                    <a:pt x="777" y="303"/>
                  </a:lnTo>
                  <a:lnTo>
                    <a:pt x="779" y="306"/>
                  </a:lnTo>
                  <a:lnTo>
                    <a:pt x="779" y="309"/>
                  </a:lnTo>
                  <a:lnTo>
                    <a:pt x="780" y="317"/>
                  </a:lnTo>
                  <a:lnTo>
                    <a:pt x="780" y="324"/>
                  </a:lnTo>
                  <a:lnTo>
                    <a:pt x="783" y="327"/>
                  </a:lnTo>
                  <a:lnTo>
                    <a:pt x="783" y="330"/>
                  </a:lnTo>
                  <a:lnTo>
                    <a:pt x="785" y="335"/>
                  </a:lnTo>
                  <a:lnTo>
                    <a:pt x="788" y="338"/>
                  </a:lnTo>
                  <a:lnTo>
                    <a:pt x="788" y="343"/>
                  </a:lnTo>
                  <a:lnTo>
                    <a:pt x="788" y="349"/>
                  </a:lnTo>
                  <a:lnTo>
                    <a:pt x="788" y="355"/>
                  </a:lnTo>
                  <a:lnTo>
                    <a:pt x="788" y="358"/>
                  </a:lnTo>
                  <a:lnTo>
                    <a:pt x="786" y="363"/>
                  </a:lnTo>
                  <a:lnTo>
                    <a:pt x="785" y="366"/>
                  </a:lnTo>
                  <a:lnTo>
                    <a:pt x="785" y="369"/>
                  </a:lnTo>
                  <a:lnTo>
                    <a:pt x="782" y="371"/>
                  </a:lnTo>
                  <a:lnTo>
                    <a:pt x="780" y="373"/>
                  </a:lnTo>
                  <a:lnTo>
                    <a:pt x="777" y="374"/>
                  </a:lnTo>
                  <a:lnTo>
                    <a:pt x="775" y="376"/>
                  </a:lnTo>
                  <a:lnTo>
                    <a:pt x="774" y="376"/>
                  </a:lnTo>
                  <a:lnTo>
                    <a:pt x="772" y="376"/>
                  </a:lnTo>
                  <a:lnTo>
                    <a:pt x="769" y="376"/>
                  </a:lnTo>
                  <a:lnTo>
                    <a:pt x="767" y="376"/>
                  </a:lnTo>
                  <a:lnTo>
                    <a:pt x="764" y="376"/>
                  </a:lnTo>
                  <a:lnTo>
                    <a:pt x="763" y="374"/>
                  </a:lnTo>
                  <a:lnTo>
                    <a:pt x="760" y="373"/>
                  </a:lnTo>
                  <a:lnTo>
                    <a:pt x="758" y="371"/>
                  </a:lnTo>
                  <a:lnTo>
                    <a:pt x="756" y="369"/>
                  </a:lnTo>
                  <a:lnTo>
                    <a:pt x="755" y="368"/>
                  </a:lnTo>
                  <a:lnTo>
                    <a:pt x="750" y="362"/>
                  </a:lnTo>
                  <a:lnTo>
                    <a:pt x="745" y="355"/>
                  </a:lnTo>
                  <a:lnTo>
                    <a:pt x="741" y="349"/>
                  </a:lnTo>
                  <a:lnTo>
                    <a:pt x="736" y="341"/>
                  </a:lnTo>
                  <a:lnTo>
                    <a:pt x="728" y="324"/>
                  </a:lnTo>
                  <a:lnTo>
                    <a:pt x="718" y="306"/>
                  </a:lnTo>
                  <a:lnTo>
                    <a:pt x="715" y="297"/>
                  </a:lnTo>
                  <a:lnTo>
                    <a:pt x="711" y="289"/>
                  </a:lnTo>
                  <a:lnTo>
                    <a:pt x="706" y="279"/>
                  </a:lnTo>
                  <a:lnTo>
                    <a:pt x="701" y="270"/>
                  </a:lnTo>
                  <a:lnTo>
                    <a:pt x="698" y="275"/>
                  </a:lnTo>
                  <a:lnTo>
                    <a:pt x="695" y="278"/>
                  </a:lnTo>
                  <a:lnTo>
                    <a:pt x="692" y="283"/>
                  </a:lnTo>
                  <a:lnTo>
                    <a:pt x="688" y="286"/>
                  </a:lnTo>
                  <a:lnTo>
                    <a:pt x="685" y="289"/>
                  </a:lnTo>
                  <a:lnTo>
                    <a:pt x="682" y="292"/>
                  </a:lnTo>
                  <a:lnTo>
                    <a:pt x="682" y="294"/>
                  </a:lnTo>
                  <a:lnTo>
                    <a:pt x="681" y="297"/>
                  </a:lnTo>
                  <a:lnTo>
                    <a:pt x="681" y="298"/>
                  </a:lnTo>
                  <a:lnTo>
                    <a:pt x="681" y="302"/>
                  </a:lnTo>
                  <a:lnTo>
                    <a:pt x="681" y="305"/>
                  </a:lnTo>
                  <a:lnTo>
                    <a:pt x="681" y="306"/>
                  </a:lnTo>
                  <a:lnTo>
                    <a:pt x="682" y="308"/>
                  </a:lnTo>
                  <a:lnTo>
                    <a:pt x="682" y="311"/>
                  </a:lnTo>
                  <a:lnTo>
                    <a:pt x="685" y="314"/>
                  </a:lnTo>
                  <a:lnTo>
                    <a:pt x="688" y="319"/>
                  </a:lnTo>
                  <a:lnTo>
                    <a:pt x="690" y="322"/>
                  </a:lnTo>
                  <a:lnTo>
                    <a:pt x="693" y="327"/>
                  </a:lnTo>
                  <a:lnTo>
                    <a:pt x="695" y="330"/>
                  </a:lnTo>
                  <a:lnTo>
                    <a:pt x="695" y="332"/>
                  </a:lnTo>
                  <a:lnTo>
                    <a:pt x="695" y="335"/>
                  </a:lnTo>
                  <a:lnTo>
                    <a:pt x="695" y="338"/>
                  </a:lnTo>
                  <a:lnTo>
                    <a:pt x="695" y="343"/>
                  </a:lnTo>
                  <a:lnTo>
                    <a:pt x="695" y="346"/>
                  </a:lnTo>
                  <a:lnTo>
                    <a:pt x="693" y="349"/>
                  </a:lnTo>
                  <a:lnTo>
                    <a:pt x="693" y="352"/>
                  </a:lnTo>
                  <a:lnTo>
                    <a:pt x="688" y="357"/>
                  </a:lnTo>
                  <a:lnTo>
                    <a:pt x="685" y="360"/>
                  </a:lnTo>
                  <a:lnTo>
                    <a:pt x="681" y="365"/>
                  </a:lnTo>
                  <a:lnTo>
                    <a:pt x="677" y="368"/>
                  </a:lnTo>
                  <a:lnTo>
                    <a:pt x="677" y="371"/>
                  </a:lnTo>
                  <a:lnTo>
                    <a:pt x="676" y="373"/>
                  </a:lnTo>
                  <a:lnTo>
                    <a:pt x="676" y="376"/>
                  </a:lnTo>
                  <a:lnTo>
                    <a:pt x="676" y="380"/>
                  </a:lnTo>
                  <a:lnTo>
                    <a:pt x="676" y="382"/>
                  </a:lnTo>
                  <a:lnTo>
                    <a:pt x="676" y="384"/>
                  </a:lnTo>
                  <a:lnTo>
                    <a:pt x="677" y="385"/>
                  </a:lnTo>
                  <a:lnTo>
                    <a:pt x="679" y="388"/>
                  </a:lnTo>
                  <a:lnTo>
                    <a:pt x="681" y="391"/>
                  </a:lnTo>
                  <a:lnTo>
                    <a:pt x="684" y="393"/>
                  </a:lnTo>
                  <a:lnTo>
                    <a:pt x="685" y="396"/>
                  </a:lnTo>
                  <a:lnTo>
                    <a:pt x="687" y="398"/>
                  </a:lnTo>
                  <a:lnTo>
                    <a:pt x="688" y="399"/>
                  </a:lnTo>
                  <a:lnTo>
                    <a:pt x="688" y="403"/>
                  </a:lnTo>
                  <a:lnTo>
                    <a:pt x="688" y="404"/>
                  </a:lnTo>
                  <a:lnTo>
                    <a:pt x="688" y="407"/>
                  </a:lnTo>
                  <a:lnTo>
                    <a:pt x="688" y="410"/>
                  </a:lnTo>
                  <a:lnTo>
                    <a:pt x="687" y="414"/>
                  </a:lnTo>
                  <a:lnTo>
                    <a:pt x="685" y="417"/>
                  </a:lnTo>
                  <a:lnTo>
                    <a:pt x="684" y="418"/>
                  </a:lnTo>
                  <a:lnTo>
                    <a:pt x="682" y="421"/>
                  </a:lnTo>
                  <a:lnTo>
                    <a:pt x="681" y="425"/>
                  </a:lnTo>
                  <a:lnTo>
                    <a:pt x="679" y="426"/>
                  </a:lnTo>
                  <a:lnTo>
                    <a:pt x="676" y="431"/>
                  </a:lnTo>
                  <a:lnTo>
                    <a:pt x="670" y="436"/>
                  </a:lnTo>
                  <a:lnTo>
                    <a:pt x="663" y="439"/>
                  </a:lnTo>
                  <a:lnTo>
                    <a:pt x="658" y="444"/>
                  </a:lnTo>
                  <a:lnTo>
                    <a:pt x="652" y="447"/>
                  </a:lnTo>
                  <a:lnTo>
                    <a:pt x="644" y="450"/>
                  </a:lnTo>
                  <a:lnTo>
                    <a:pt x="639" y="453"/>
                  </a:lnTo>
                  <a:lnTo>
                    <a:pt x="633" y="456"/>
                  </a:lnTo>
                  <a:lnTo>
                    <a:pt x="621" y="459"/>
                  </a:lnTo>
                  <a:lnTo>
                    <a:pt x="611" y="464"/>
                  </a:lnTo>
                  <a:lnTo>
                    <a:pt x="603" y="466"/>
                  </a:lnTo>
                  <a:lnTo>
                    <a:pt x="598" y="469"/>
                  </a:lnTo>
                  <a:lnTo>
                    <a:pt x="591" y="472"/>
                  </a:lnTo>
                  <a:lnTo>
                    <a:pt x="586" y="475"/>
                  </a:lnTo>
                  <a:lnTo>
                    <a:pt x="573" y="480"/>
                  </a:lnTo>
                  <a:lnTo>
                    <a:pt x="562" y="488"/>
                  </a:lnTo>
                  <a:lnTo>
                    <a:pt x="553" y="492"/>
                  </a:lnTo>
                  <a:lnTo>
                    <a:pt x="542" y="499"/>
                  </a:lnTo>
                  <a:lnTo>
                    <a:pt x="537" y="502"/>
                  </a:lnTo>
                  <a:lnTo>
                    <a:pt x="532" y="505"/>
                  </a:lnTo>
                  <a:lnTo>
                    <a:pt x="526" y="508"/>
                  </a:lnTo>
                  <a:lnTo>
                    <a:pt x="519" y="511"/>
                  </a:lnTo>
                  <a:lnTo>
                    <a:pt x="513" y="511"/>
                  </a:lnTo>
                  <a:lnTo>
                    <a:pt x="510" y="513"/>
                  </a:lnTo>
                  <a:lnTo>
                    <a:pt x="505" y="516"/>
                  </a:lnTo>
                  <a:lnTo>
                    <a:pt x="500" y="519"/>
                  </a:lnTo>
                  <a:lnTo>
                    <a:pt x="494" y="524"/>
                  </a:lnTo>
                  <a:lnTo>
                    <a:pt x="486" y="532"/>
                  </a:lnTo>
                  <a:lnTo>
                    <a:pt x="483" y="533"/>
                  </a:lnTo>
                  <a:lnTo>
                    <a:pt x="480" y="537"/>
                  </a:lnTo>
                  <a:lnTo>
                    <a:pt x="475" y="538"/>
                  </a:lnTo>
                  <a:lnTo>
                    <a:pt x="472" y="541"/>
                  </a:lnTo>
                  <a:lnTo>
                    <a:pt x="467" y="543"/>
                  </a:lnTo>
                  <a:lnTo>
                    <a:pt x="464" y="544"/>
                  </a:lnTo>
                  <a:lnTo>
                    <a:pt x="459" y="544"/>
                  </a:lnTo>
                  <a:lnTo>
                    <a:pt x="453" y="546"/>
                  </a:lnTo>
                  <a:lnTo>
                    <a:pt x="453" y="544"/>
                  </a:lnTo>
                  <a:lnTo>
                    <a:pt x="453" y="543"/>
                  </a:lnTo>
                  <a:lnTo>
                    <a:pt x="451" y="541"/>
                  </a:lnTo>
                  <a:lnTo>
                    <a:pt x="450" y="538"/>
                  </a:lnTo>
                  <a:lnTo>
                    <a:pt x="450" y="537"/>
                  </a:lnTo>
                  <a:lnTo>
                    <a:pt x="447" y="537"/>
                  </a:lnTo>
                  <a:lnTo>
                    <a:pt x="445" y="537"/>
                  </a:lnTo>
                  <a:lnTo>
                    <a:pt x="442" y="537"/>
                  </a:lnTo>
                  <a:lnTo>
                    <a:pt x="440" y="537"/>
                  </a:lnTo>
                  <a:lnTo>
                    <a:pt x="436" y="537"/>
                  </a:lnTo>
                  <a:lnTo>
                    <a:pt x="433" y="538"/>
                  </a:lnTo>
                  <a:lnTo>
                    <a:pt x="426" y="538"/>
                  </a:lnTo>
                  <a:lnTo>
                    <a:pt x="423" y="541"/>
                  </a:lnTo>
                  <a:lnTo>
                    <a:pt x="420" y="544"/>
                  </a:lnTo>
                  <a:lnTo>
                    <a:pt x="417" y="548"/>
                  </a:lnTo>
                  <a:lnTo>
                    <a:pt x="414" y="552"/>
                  </a:lnTo>
                  <a:lnTo>
                    <a:pt x="412" y="557"/>
                  </a:lnTo>
                  <a:lnTo>
                    <a:pt x="409" y="562"/>
                  </a:lnTo>
                  <a:lnTo>
                    <a:pt x="407" y="565"/>
                  </a:lnTo>
                  <a:lnTo>
                    <a:pt x="406" y="570"/>
                  </a:lnTo>
                  <a:lnTo>
                    <a:pt x="404" y="576"/>
                  </a:lnTo>
                  <a:lnTo>
                    <a:pt x="401" y="585"/>
                  </a:lnTo>
                  <a:lnTo>
                    <a:pt x="399" y="597"/>
                  </a:lnTo>
                  <a:lnTo>
                    <a:pt x="399" y="598"/>
                  </a:lnTo>
                  <a:lnTo>
                    <a:pt x="398" y="600"/>
                  </a:lnTo>
                  <a:lnTo>
                    <a:pt x="398" y="601"/>
                  </a:lnTo>
                  <a:lnTo>
                    <a:pt x="396" y="603"/>
                  </a:lnTo>
                  <a:lnTo>
                    <a:pt x="391" y="608"/>
                  </a:lnTo>
                  <a:lnTo>
                    <a:pt x="388" y="612"/>
                  </a:lnTo>
                  <a:lnTo>
                    <a:pt x="379" y="622"/>
                  </a:lnTo>
                  <a:lnTo>
                    <a:pt x="371" y="630"/>
                  </a:lnTo>
                  <a:lnTo>
                    <a:pt x="368" y="633"/>
                  </a:lnTo>
                  <a:lnTo>
                    <a:pt x="365" y="639"/>
                  </a:lnTo>
                  <a:lnTo>
                    <a:pt x="363" y="642"/>
                  </a:lnTo>
                  <a:lnTo>
                    <a:pt x="360" y="647"/>
                  </a:lnTo>
                  <a:lnTo>
                    <a:pt x="358" y="656"/>
                  </a:lnTo>
                  <a:lnTo>
                    <a:pt x="355" y="666"/>
                  </a:lnTo>
                  <a:lnTo>
                    <a:pt x="352" y="677"/>
                  </a:lnTo>
                  <a:lnTo>
                    <a:pt x="350" y="686"/>
                  </a:lnTo>
                  <a:lnTo>
                    <a:pt x="347" y="697"/>
                  </a:lnTo>
                  <a:lnTo>
                    <a:pt x="342" y="707"/>
                  </a:lnTo>
                  <a:lnTo>
                    <a:pt x="342" y="712"/>
                  </a:lnTo>
                  <a:lnTo>
                    <a:pt x="339" y="715"/>
                  </a:lnTo>
                  <a:lnTo>
                    <a:pt x="336" y="718"/>
                  </a:lnTo>
                  <a:lnTo>
                    <a:pt x="333" y="723"/>
                  </a:lnTo>
                  <a:lnTo>
                    <a:pt x="331" y="726"/>
                  </a:lnTo>
                  <a:lnTo>
                    <a:pt x="328" y="731"/>
                  </a:lnTo>
                  <a:lnTo>
                    <a:pt x="327" y="732"/>
                  </a:lnTo>
                  <a:lnTo>
                    <a:pt x="327" y="734"/>
                  </a:lnTo>
                  <a:lnTo>
                    <a:pt x="327" y="735"/>
                  </a:lnTo>
                  <a:lnTo>
                    <a:pt x="327" y="738"/>
                  </a:lnTo>
                  <a:lnTo>
                    <a:pt x="325" y="740"/>
                  </a:lnTo>
                  <a:lnTo>
                    <a:pt x="320" y="753"/>
                  </a:lnTo>
                  <a:lnTo>
                    <a:pt x="316" y="764"/>
                  </a:lnTo>
                  <a:lnTo>
                    <a:pt x="309" y="776"/>
                  </a:lnTo>
                  <a:lnTo>
                    <a:pt x="305" y="787"/>
                  </a:lnTo>
                  <a:lnTo>
                    <a:pt x="298" y="800"/>
                  </a:lnTo>
                  <a:lnTo>
                    <a:pt x="293" y="811"/>
                  </a:lnTo>
                  <a:lnTo>
                    <a:pt x="286" y="822"/>
                  </a:lnTo>
                  <a:lnTo>
                    <a:pt x="281" y="833"/>
                  </a:lnTo>
                  <a:lnTo>
                    <a:pt x="275" y="846"/>
                  </a:lnTo>
                  <a:lnTo>
                    <a:pt x="268" y="858"/>
                  </a:lnTo>
                  <a:lnTo>
                    <a:pt x="263" y="863"/>
                  </a:lnTo>
                  <a:lnTo>
                    <a:pt x="260" y="868"/>
                  </a:lnTo>
                  <a:lnTo>
                    <a:pt x="256" y="874"/>
                  </a:lnTo>
                  <a:lnTo>
                    <a:pt x="249" y="877"/>
                  </a:lnTo>
                  <a:lnTo>
                    <a:pt x="248" y="879"/>
                  </a:lnTo>
                  <a:lnTo>
                    <a:pt x="245" y="880"/>
                  </a:lnTo>
                  <a:lnTo>
                    <a:pt x="243" y="880"/>
                  </a:lnTo>
                  <a:lnTo>
                    <a:pt x="240" y="882"/>
                  </a:lnTo>
                  <a:lnTo>
                    <a:pt x="233" y="884"/>
                  </a:lnTo>
                  <a:lnTo>
                    <a:pt x="227" y="885"/>
                  </a:lnTo>
                  <a:lnTo>
                    <a:pt x="224" y="887"/>
                  </a:lnTo>
                  <a:lnTo>
                    <a:pt x="221" y="888"/>
                  </a:lnTo>
                  <a:lnTo>
                    <a:pt x="218" y="888"/>
                  </a:lnTo>
                  <a:lnTo>
                    <a:pt x="216" y="891"/>
                  </a:lnTo>
                  <a:lnTo>
                    <a:pt x="214" y="893"/>
                  </a:lnTo>
                  <a:lnTo>
                    <a:pt x="211" y="896"/>
                  </a:lnTo>
                  <a:lnTo>
                    <a:pt x="211" y="899"/>
                  </a:lnTo>
                  <a:lnTo>
                    <a:pt x="211" y="901"/>
                  </a:lnTo>
                  <a:lnTo>
                    <a:pt x="211" y="906"/>
                  </a:lnTo>
                  <a:lnTo>
                    <a:pt x="211" y="909"/>
                  </a:lnTo>
                  <a:lnTo>
                    <a:pt x="211" y="910"/>
                  </a:lnTo>
                  <a:lnTo>
                    <a:pt x="213" y="914"/>
                  </a:lnTo>
                  <a:lnTo>
                    <a:pt x="214" y="917"/>
                  </a:lnTo>
                  <a:lnTo>
                    <a:pt x="216" y="921"/>
                  </a:lnTo>
                  <a:lnTo>
                    <a:pt x="219" y="925"/>
                  </a:lnTo>
                  <a:lnTo>
                    <a:pt x="221" y="928"/>
                  </a:lnTo>
                  <a:lnTo>
                    <a:pt x="222" y="929"/>
                  </a:lnTo>
                  <a:lnTo>
                    <a:pt x="222" y="931"/>
                  </a:lnTo>
                  <a:lnTo>
                    <a:pt x="222" y="934"/>
                  </a:lnTo>
                  <a:lnTo>
                    <a:pt x="222" y="936"/>
                  </a:lnTo>
                  <a:lnTo>
                    <a:pt x="222" y="937"/>
                  </a:lnTo>
                  <a:lnTo>
                    <a:pt x="222" y="939"/>
                  </a:lnTo>
                  <a:lnTo>
                    <a:pt x="222" y="940"/>
                  </a:lnTo>
                  <a:lnTo>
                    <a:pt x="221" y="942"/>
                  </a:lnTo>
                  <a:lnTo>
                    <a:pt x="219" y="945"/>
                  </a:lnTo>
                  <a:lnTo>
                    <a:pt x="216" y="947"/>
                  </a:lnTo>
                  <a:lnTo>
                    <a:pt x="214" y="950"/>
                  </a:lnTo>
                  <a:lnTo>
                    <a:pt x="213" y="953"/>
                  </a:lnTo>
                  <a:lnTo>
                    <a:pt x="211" y="953"/>
                  </a:lnTo>
                  <a:lnTo>
                    <a:pt x="211" y="955"/>
                  </a:lnTo>
                  <a:lnTo>
                    <a:pt x="211" y="956"/>
                  </a:lnTo>
                  <a:lnTo>
                    <a:pt x="211" y="958"/>
                  </a:lnTo>
                  <a:lnTo>
                    <a:pt x="211" y="961"/>
                  </a:lnTo>
                  <a:lnTo>
                    <a:pt x="211" y="962"/>
                  </a:lnTo>
                  <a:lnTo>
                    <a:pt x="213" y="964"/>
                  </a:lnTo>
                  <a:lnTo>
                    <a:pt x="214" y="966"/>
                  </a:lnTo>
                  <a:lnTo>
                    <a:pt x="216" y="969"/>
                  </a:lnTo>
                  <a:lnTo>
                    <a:pt x="216" y="970"/>
                  </a:lnTo>
                  <a:lnTo>
                    <a:pt x="218" y="974"/>
                  </a:lnTo>
                  <a:lnTo>
                    <a:pt x="219" y="975"/>
                  </a:lnTo>
                  <a:lnTo>
                    <a:pt x="219" y="978"/>
                  </a:lnTo>
                  <a:lnTo>
                    <a:pt x="218" y="981"/>
                  </a:lnTo>
                  <a:lnTo>
                    <a:pt x="216" y="983"/>
                  </a:lnTo>
                  <a:lnTo>
                    <a:pt x="214" y="986"/>
                  </a:lnTo>
                  <a:lnTo>
                    <a:pt x="213" y="988"/>
                  </a:lnTo>
                  <a:lnTo>
                    <a:pt x="211" y="991"/>
                  </a:lnTo>
                  <a:lnTo>
                    <a:pt x="210" y="992"/>
                  </a:lnTo>
                  <a:lnTo>
                    <a:pt x="207" y="994"/>
                  </a:lnTo>
                  <a:lnTo>
                    <a:pt x="203" y="996"/>
                  </a:lnTo>
                  <a:lnTo>
                    <a:pt x="200" y="997"/>
                  </a:lnTo>
                  <a:lnTo>
                    <a:pt x="199" y="999"/>
                  </a:lnTo>
                  <a:lnTo>
                    <a:pt x="194" y="999"/>
                  </a:lnTo>
                  <a:lnTo>
                    <a:pt x="189" y="1000"/>
                  </a:lnTo>
                  <a:lnTo>
                    <a:pt x="183" y="1002"/>
                  </a:lnTo>
                  <a:lnTo>
                    <a:pt x="178" y="1002"/>
                  </a:lnTo>
                  <a:lnTo>
                    <a:pt x="175" y="1002"/>
                  </a:lnTo>
                  <a:lnTo>
                    <a:pt x="173" y="1003"/>
                  </a:lnTo>
                  <a:lnTo>
                    <a:pt x="172" y="1007"/>
                  </a:lnTo>
                  <a:lnTo>
                    <a:pt x="170" y="1008"/>
                  </a:lnTo>
                  <a:lnTo>
                    <a:pt x="170" y="1010"/>
                  </a:lnTo>
                  <a:lnTo>
                    <a:pt x="169" y="1015"/>
                  </a:lnTo>
                  <a:lnTo>
                    <a:pt x="169" y="1016"/>
                  </a:lnTo>
                  <a:lnTo>
                    <a:pt x="169" y="1022"/>
                  </a:lnTo>
                  <a:lnTo>
                    <a:pt x="166" y="1027"/>
                  </a:lnTo>
                  <a:lnTo>
                    <a:pt x="166" y="1029"/>
                  </a:lnTo>
                  <a:lnTo>
                    <a:pt x="164" y="1029"/>
                  </a:lnTo>
                  <a:lnTo>
                    <a:pt x="161" y="1030"/>
                  </a:lnTo>
                  <a:lnTo>
                    <a:pt x="158" y="1032"/>
                  </a:lnTo>
                  <a:lnTo>
                    <a:pt x="156" y="1030"/>
                  </a:lnTo>
                  <a:lnTo>
                    <a:pt x="151" y="1029"/>
                  </a:lnTo>
                  <a:lnTo>
                    <a:pt x="148" y="1027"/>
                  </a:lnTo>
                  <a:lnTo>
                    <a:pt x="142" y="1027"/>
                  </a:lnTo>
                  <a:lnTo>
                    <a:pt x="139" y="1027"/>
                  </a:lnTo>
                  <a:lnTo>
                    <a:pt x="135" y="1029"/>
                  </a:lnTo>
                  <a:lnTo>
                    <a:pt x="134" y="1029"/>
                  </a:lnTo>
                  <a:lnTo>
                    <a:pt x="131" y="1030"/>
                  </a:lnTo>
                  <a:lnTo>
                    <a:pt x="129" y="1032"/>
                  </a:lnTo>
                  <a:lnTo>
                    <a:pt x="128" y="1035"/>
                  </a:lnTo>
                  <a:lnTo>
                    <a:pt x="126" y="1037"/>
                  </a:lnTo>
                  <a:lnTo>
                    <a:pt x="124" y="1038"/>
                  </a:lnTo>
                  <a:lnTo>
                    <a:pt x="120" y="1049"/>
                  </a:lnTo>
                  <a:lnTo>
                    <a:pt x="113" y="1057"/>
                  </a:lnTo>
                  <a:lnTo>
                    <a:pt x="112" y="1059"/>
                  </a:lnTo>
                  <a:lnTo>
                    <a:pt x="109" y="1060"/>
                  </a:lnTo>
                  <a:lnTo>
                    <a:pt x="107" y="1060"/>
                  </a:lnTo>
                  <a:lnTo>
                    <a:pt x="104" y="1060"/>
                  </a:lnTo>
                  <a:lnTo>
                    <a:pt x="101" y="1060"/>
                  </a:lnTo>
                  <a:lnTo>
                    <a:pt x="99" y="1059"/>
                  </a:lnTo>
                  <a:lnTo>
                    <a:pt x="96" y="1059"/>
                  </a:lnTo>
                  <a:lnTo>
                    <a:pt x="94" y="1059"/>
                  </a:lnTo>
                  <a:lnTo>
                    <a:pt x="91" y="1060"/>
                  </a:lnTo>
                  <a:lnTo>
                    <a:pt x="88" y="1062"/>
                  </a:lnTo>
                  <a:lnTo>
                    <a:pt x="87" y="1063"/>
                  </a:lnTo>
                  <a:lnTo>
                    <a:pt x="83" y="1065"/>
                  </a:lnTo>
                  <a:lnTo>
                    <a:pt x="82" y="1068"/>
                  </a:lnTo>
                  <a:lnTo>
                    <a:pt x="79" y="1070"/>
                  </a:lnTo>
                  <a:lnTo>
                    <a:pt x="77" y="1074"/>
                  </a:lnTo>
                  <a:lnTo>
                    <a:pt x="75" y="1078"/>
                  </a:lnTo>
                  <a:lnTo>
                    <a:pt x="71" y="1084"/>
                  </a:lnTo>
                  <a:lnTo>
                    <a:pt x="69" y="1090"/>
                  </a:lnTo>
                  <a:lnTo>
                    <a:pt x="68" y="1095"/>
                  </a:lnTo>
                  <a:lnTo>
                    <a:pt x="68" y="1098"/>
                  </a:lnTo>
                  <a:lnTo>
                    <a:pt x="68" y="1101"/>
                  </a:lnTo>
                  <a:lnTo>
                    <a:pt x="66" y="1104"/>
                  </a:lnTo>
                  <a:lnTo>
                    <a:pt x="68" y="1106"/>
                  </a:lnTo>
                  <a:lnTo>
                    <a:pt x="68" y="1109"/>
                  </a:lnTo>
                  <a:lnTo>
                    <a:pt x="71" y="1114"/>
                  </a:lnTo>
                  <a:lnTo>
                    <a:pt x="74" y="1115"/>
                  </a:lnTo>
                  <a:lnTo>
                    <a:pt x="75" y="1119"/>
                  </a:lnTo>
                  <a:lnTo>
                    <a:pt x="80" y="1123"/>
                  </a:lnTo>
                  <a:lnTo>
                    <a:pt x="83" y="1127"/>
                  </a:lnTo>
                  <a:lnTo>
                    <a:pt x="88" y="1130"/>
                  </a:lnTo>
                  <a:lnTo>
                    <a:pt x="91" y="1131"/>
                  </a:lnTo>
                  <a:lnTo>
                    <a:pt x="96" y="1134"/>
                  </a:lnTo>
                  <a:lnTo>
                    <a:pt x="101" y="1136"/>
                  </a:lnTo>
                  <a:lnTo>
                    <a:pt x="105" y="1139"/>
                  </a:lnTo>
                  <a:lnTo>
                    <a:pt x="110" y="1141"/>
                  </a:lnTo>
                  <a:lnTo>
                    <a:pt x="115" y="1142"/>
                  </a:lnTo>
                  <a:lnTo>
                    <a:pt x="118" y="1142"/>
                  </a:lnTo>
                  <a:lnTo>
                    <a:pt x="121" y="1144"/>
                  </a:lnTo>
                  <a:lnTo>
                    <a:pt x="124" y="1142"/>
                  </a:lnTo>
                  <a:lnTo>
                    <a:pt x="128" y="1141"/>
                  </a:lnTo>
                  <a:lnTo>
                    <a:pt x="129" y="1139"/>
                  </a:lnTo>
                  <a:lnTo>
                    <a:pt x="131" y="1139"/>
                  </a:lnTo>
                  <a:lnTo>
                    <a:pt x="134" y="1138"/>
                  </a:lnTo>
                  <a:lnTo>
                    <a:pt x="132" y="1139"/>
                  </a:lnTo>
                  <a:lnTo>
                    <a:pt x="132" y="1144"/>
                  </a:lnTo>
                  <a:lnTo>
                    <a:pt x="131" y="1150"/>
                  </a:lnTo>
                  <a:lnTo>
                    <a:pt x="129" y="1153"/>
                  </a:lnTo>
                  <a:lnTo>
                    <a:pt x="128" y="1156"/>
                  </a:lnTo>
                  <a:lnTo>
                    <a:pt x="126" y="1161"/>
                  </a:lnTo>
                  <a:lnTo>
                    <a:pt x="124" y="1164"/>
                  </a:lnTo>
                  <a:lnTo>
                    <a:pt x="124" y="1169"/>
                  </a:lnTo>
                  <a:lnTo>
                    <a:pt x="123" y="1175"/>
                  </a:lnTo>
                  <a:lnTo>
                    <a:pt x="123" y="1180"/>
                  </a:lnTo>
                  <a:lnTo>
                    <a:pt x="124" y="1183"/>
                  </a:lnTo>
                  <a:lnTo>
                    <a:pt x="124" y="1185"/>
                  </a:lnTo>
                  <a:lnTo>
                    <a:pt x="124" y="1188"/>
                  </a:lnTo>
                  <a:lnTo>
                    <a:pt x="126" y="1193"/>
                  </a:lnTo>
                  <a:lnTo>
                    <a:pt x="129" y="1196"/>
                  </a:lnTo>
                  <a:lnTo>
                    <a:pt x="128" y="1197"/>
                  </a:lnTo>
                  <a:lnTo>
                    <a:pt x="124" y="1199"/>
                  </a:lnTo>
                  <a:lnTo>
                    <a:pt x="123" y="1201"/>
                  </a:lnTo>
                  <a:lnTo>
                    <a:pt x="120" y="1201"/>
                  </a:lnTo>
                  <a:lnTo>
                    <a:pt x="115" y="1202"/>
                  </a:lnTo>
                  <a:lnTo>
                    <a:pt x="109" y="1204"/>
                  </a:lnTo>
                  <a:lnTo>
                    <a:pt x="96" y="1202"/>
                  </a:lnTo>
                  <a:lnTo>
                    <a:pt x="88" y="1202"/>
                  </a:lnTo>
                  <a:lnTo>
                    <a:pt x="87" y="1205"/>
                  </a:lnTo>
                  <a:lnTo>
                    <a:pt x="87" y="1209"/>
                  </a:lnTo>
                  <a:lnTo>
                    <a:pt x="85" y="1210"/>
                  </a:lnTo>
                  <a:lnTo>
                    <a:pt x="83" y="1213"/>
                  </a:lnTo>
                  <a:lnTo>
                    <a:pt x="83" y="1215"/>
                  </a:lnTo>
                  <a:lnTo>
                    <a:pt x="82" y="1216"/>
                  </a:lnTo>
                  <a:lnTo>
                    <a:pt x="79" y="1216"/>
                  </a:lnTo>
                  <a:lnTo>
                    <a:pt x="75" y="1216"/>
                  </a:lnTo>
                  <a:lnTo>
                    <a:pt x="74" y="1216"/>
                  </a:lnTo>
                  <a:lnTo>
                    <a:pt x="71" y="1216"/>
                  </a:lnTo>
                  <a:lnTo>
                    <a:pt x="71" y="1215"/>
                  </a:lnTo>
                  <a:lnTo>
                    <a:pt x="68" y="1213"/>
                  </a:lnTo>
                  <a:lnTo>
                    <a:pt x="66" y="1210"/>
                  </a:lnTo>
                  <a:lnTo>
                    <a:pt x="64" y="1205"/>
                  </a:lnTo>
                  <a:lnTo>
                    <a:pt x="63" y="1202"/>
                  </a:lnTo>
                  <a:lnTo>
                    <a:pt x="58" y="1204"/>
                  </a:lnTo>
                  <a:lnTo>
                    <a:pt x="55" y="1204"/>
                  </a:lnTo>
                  <a:lnTo>
                    <a:pt x="53" y="1204"/>
                  </a:lnTo>
                  <a:lnTo>
                    <a:pt x="50" y="1204"/>
                  </a:lnTo>
                  <a:lnTo>
                    <a:pt x="49" y="1204"/>
                  </a:lnTo>
                  <a:lnTo>
                    <a:pt x="47" y="1202"/>
                  </a:lnTo>
                  <a:lnTo>
                    <a:pt x="47" y="1199"/>
                  </a:lnTo>
                  <a:lnTo>
                    <a:pt x="50" y="1196"/>
                  </a:lnTo>
                  <a:lnTo>
                    <a:pt x="52" y="1194"/>
                  </a:lnTo>
                  <a:lnTo>
                    <a:pt x="53" y="1193"/>
                  </a:lnTo>
                  <a:lnTo>
                    <a:pt x="55" y="1190"/>
                  </a:lnTo>
                  <a:lnTo>
                    <a:pt x="56" y="1190"/>
                  </a:lnTo>
                  <a:lnTo>
                    <a:pt x="58" y="1186"/>
                  </a:lnTo>
                  <a:lnTo>
                    <a:pt x="58" y="1183"/>
                  </a:lnTo>
                  <a:lnTo>
                    <a:pt x="58" y="1182"/>
                  </a:lnTo>
                  <a:lnTo>
                    <a:pt x="56" y="1180"/>
                  </a:lnTo>
                  <a:lnTo>
                    <a:pt x="56" y="1179"/>
                  </a:lnTo>
                  <a:lnTo>
                    <a:pt x="55" y="1177"/>
                  </a:lnTo>
                  <a:lnTo>
                    <a:pt x="53" y="1175"/>
                  </a:lnTo>
                  <a:lnTo>
                    <a:pt x="50" y="1175"/>
                  </a:lnTo>
                  <a:lnTo>
                    <a:pt x="47" y="1175"/>
                  </a:lnTo>
                  <a:lnTo>
                    <a:pt x="45" y="1174"/>
                  </a:lnTo>
                  <a:lnTo>
                    <a:pt x="42" y="1174"/>
                  </a:lnTo>
                  <a:lnTo>
                    <a:pt x="39" y="1174"/>
                  </a:lnTo>
                  <a:lnTo>
                    <a:pt x="33" y="1174"/>
                  </a:lnTo>
                  <a:lnTo>
                    <a:pt x="26" y="1175"/>
                  </a:lnTo>
                  <a:lnTo>
                    <a:pt x="25" y="1175"/>
                  </a:lnTo>
                  <a:lnTo>
                    <a:pt x="23" y="1177"/>
                  </a:lnTo>
                  <a:lnTo>
                    <a:pt x="22" y="1177"/>
                  </a:lnTo>
                  <a:lnTo>
                    <a:pt x="20" y="1180"/>
                  </a:lnTo>
                  <a:lnTo>
                    <a:pt x="19" y="1182"/>
                  </a:lnTo>
                  <a:lnTo>
                    <a:pt x="17" y="1183"/>
                  </a:lnTo>
                  <a:lnTo>
                    <a:pt x="17" y="1185"/>
                  </a:lnTo>
                  <a:lnTo>
                    <a:pt x="15" y="1188"/>
                  </a:lnTo>
                  <a:lnTo>
                    <a:pt x="15" y="1190"/>
                  </a:lnTo>
                  <a:lnTo>
                    <a:pt x="14" y="1193"/>
                  </a:lnTo>
                  <a:lnTo>
                    <a:pt x="14" y="1196"/>
                  </a:lnTo>
                  <a:lnTo>
                    <a:pt x="14" y="1197"/>
                  </a:lnTo>
                  <a:lnTo>
                    <a:pt x="14" y="1204"/>
                  </a:lnTo>
                  <a:lnTo>
                    <a:pt x="14" y="1209"/>
                  </a:lnTo>
                  <a:lnTo>
                    <a:pt x="15" y="1213"/>
                  </a:lnTo>
                  <a:lnTo>
                    <a:pt x="15" y="1218"/>
                  </a:lnTo>
                  <a:lnTo>
                    <a:pt x="17" y="1221"/>
                  </a:lnTo>
                  <a:lnTo>
                    <a:pt x="17" y="1226"/>
                  </a:lnTo>
                  <a:lnTo>
                    <a:pt x="20" y="1229"/>
                  </a:lnTo>
                  <a:lnTo>
                    <a:pt x="22" y="1232"/>
                  </a:lnTo>
                  <a:lnTo>
                    <a:pt x="22" y="1234"/>
                  </a:lnTo>
                  <a:lnTo>
                    <a:pt x="25" y="1237"/>
                  </a:lnTo>
                  <a:lnTo>
                    <a:pt x="26" y="1239"/>
                  </a:lnTo>
                  <a:lnTo>
                    <a:pt x="30" y="1240"/>
                  </a:lnTo>
                  <a:lnTo>
                    <a:pt x="33" y="1242"/>
                  </a:lnTo>
                  <a:lnTo>
                    <a:pt x="36" y="1242"/>
                  </a:lnTo>
                  <a:lnTo>
                    <a:pt x="41" y="1243"/>
                  </a:lnTo>
                  <a:lnTo>
                    <a:pt x="45" y="1243"/>
                  </a:lnTo>
                  <a:lnTo>
                    <a:pt x="47" y="1243"/>
                  </a:lnTo>
                  <a:lnTo>
                    <a:pt x="52" y="1243"/>
                  </a:lnTo>
                  <a:lnTo>
                    <a:pt x="55" y="1245"/>
                  </a:lnTo>
                  <a:lnTo>
                    <a:pt x="58" y="1246"/>
                  </a:lnTo>
                  <a:lnTo>
                    <a:pt x="61" y="1248"/>
                  </a:lnTo>
                  <a:lnTo>
                    <a:pt x="64" y="1250"/>
                  </a:lnTo>
                  <a:lnTo>
                    <a:pt x="68" y="1250"/>
                  </a:lnTo>
                  <a:lnTo>
                    <a:pt x="72" y="1251"/>
                  </a:lnTo>
                  <a:lnTo>
                    <a:pt x="79" y="1250"/>
                  </a:lnTo>
                  <a:lnTo>
                    <a:pt x="83" y="1250"/>
                  </a:lnTo>
                  <a:lnTo>
                    <a:pt x="88" y="1250"/>
                  </a:lnTo>
                  <a:lnTo>
                    <a:pt x="93" y="1248"/>
                  </a:lnTo>
                  <a:lnTo>
                    <a:pt x="98" y="1246"/>
                  </a:lnTo>
                  <a:lnTo>
                    <a:pt x="101" y="1246"/>
                  </a:lnTo>
                  <a:lnTo>
                    <a:pt x="104" y="1243"/>
                  </a:lnTo>
                  <a:lnTo>
                    <a:pt x="107" y="1243"/>
                  </a:lnTo>
                  <a:lnTo>
                    <a:pt x="117" y="1243"/>
                  </a:lnTo>
                  <a:lnTo>
                    <a:pt x="115" y="1246"/>
                  </a:lnTo>
                  <a:lnTo>
                    <a:pt x="112" y="1254"/>
                  </a:lnTo>
                  <a:lnTo>
                    <a:pt x="109" y="1262"/>
                  </a:lnTo>
                  <a:lnTo>
                    <a:pt x="104" y="1272"/>
                  </a:lnTo>
                  <a:lnTo>
                    <a:pt x="101" y="1280"/>
                  </a:lnTo>
                  <a:lnTo>
                    <a:pt x="96" y="1287"/>
                  </a:lnTo>
                  <a:lnTo>
                    <a:pt x="94" y="1292"/>
                  </a:lnTo>
                  <a:lnTo>
                    <a:pt x="93" y="1294"/>
                  </a:lnTo>
                  <a:lnTo>
                    <a:pt x="91" y="1295"/>
                  </a:lnTo>
                  <a:lnTo>
                    <a:pt x="88" y="1295"/>
                  </a:lnTo>
                  <a:lnTo>
                    <a:pt x="87" y="1295"/>
                  </a:lnTo>
                  <a:lnTo>
                    <a:pt x="85" y="1295"/>
                  </a:lnTo>
                  <a:lnTo>
                    <a:pt x="83" y="1294"/>
                  </a:lnTo>
                  <a:lnTo>
                    <a:pt x="82" y="1292"/>
                  </a:lnTo>
                  <a:lnTo>
                    <a:pt x="79" y="1292"/>
                  </a:lnTo>
                  <a:lnTo>
                    <a:pt x="77" y="1291"/>
                  </a:lnTo>
                  <a:lnTo>
                    <a:pt x="75" y="1291"/>
                  </a:lnTo>
                  <a:lnTo>
                    <a:pt x="72" y="1291"/>
                  </a:lnTo>
                  <a:lnTo>
                    <a:pt x="71" y="1291"/>
                  </a:lnTo>
                  <a:lnTo>
                    <a:pt x="69" y="1291"/>
                  </a:lnTo>
                  <a:lnTo>
                    <a:pt x="66" y="1292"/>
                  </a:lnTo>
                  <a:lnTo>
                    <a:pt x="64" y="1292"/>
                  </a:lnTo>
                  <a:lnTo>
                    <a:pt x="58" y="1295"/>
                  </a:lnTo>
                  <a:lnTo>
                    <a:pt x="53" y="1300"/>
                  </a:lnTo>
                  <a:lnTo>
                    <a:pt x="47" y="1303"/>
                  </a:lnTo>
                  <a:lnTo>
                    <a:pt x="44" y="1308"/>
                  </a:lnTo>
                  <a:lnTo>
                    <a:pt x="41" y="1311"/>
                  </a:lnTo>
                  <a:lnTo>
                    <a:pt x="39" y="1313"/>
                  </a:lnTo>
                  <a:lnTo>
                    <a:pt x="36" y="1316"/>
                  </a:lnTo>
                  <a:lnTo>
                    <a:pt x="34" y="1319"/>
                  </a:lnTo>
                  <a:lnTo>
                    <a:pt x="33" y="1321"/>
                  </a:lnTo>
                  <a:lnTo>
                    <a:pt x="33" y="1325"/>
                  </a:lnTo>
                  <a:lnTo>
                    <a:pt x="31" y="1330"/>
                  </a:lnTo>
                  <a:lnTo>
                    <a:pt x="30" y="1333"/>
                  </a:lnTo>
                  <a:lnTo>
                    <a:pt x="30" y="1338"/>
                  </a:lnTo>
                  <a:lnTo>
                    <a:pt x="28" y="1344"/>
                  </a:lnTo>
                  <a:lnTo>
                    <a:pt x="26" y="1347"/>
                  </a:lnTo>
                  <a:lnTo>
                    <a:pt x="26" y="1350"/>
                  </a:lnTo>
                  <a:lnTo>
                    <a:pt x="25" y="1354"/>
                  </a:lnTo>
                  <a:lnTo>
                    <a:pt x="22" y="1357"/>
                  </a:lnTo>
                  <a:lnTo>
                    <a:pt x="14" y="1366"/>
                  </a:lnTo>
                  <a:lnTo>
                    <a:pt x="8" y="1374"/>
                  </a:lnTo>
                  <a:lnTo>
                    <a:pt x="4" y="1377"/>
                  </a:lnTo>
                  <a:lnTo>
                    <a:pt x="1" y="1382"/>
                  </a:lnTo>
                  <a:lnTo>
                    <a:pt x="1" y="1384"/>
                  </a:lnTo>
                  <a:lnTo>
                    <a:pt x="0" y="1387"/>
                  </a:lnTo>
                  <a:lnTo>
                    <a:pt x="0" y="1390"/>
                  </a:lnTo>
                  <a:lnTo>
                    <a:pt x="0" y="1392"/>
                  </a:lnTo>
                  <a:lnTo>
                    <a:pt x="0" y="1396"/>
                  </a:lnTo>
                  <a:lnTo>
                    <a:pt x="0" y="1398"/>
                  </a:lnTo>
                  <a:lnTo>
                    <a:pt x="1" y="1399"/>
                  </a:lnTo>
                  <a:lnTo>
                    <a:pt x="3" y="1401"/>
                  </a:lnTo>
                  <a:lnTo>
                    <a:pt x="4" y="1403"/>
                  </a:lnTo>
                  <a:lnTo>
                    <a:pt x="8" y="1404"/>
                  </a:lnTo>
                  <a:lnTo>
                    <a:pt x="9" y="1404"/>
                  </a:lnTo>
                  <a:lnTo>
                    <a:pt x="11" y="1404"/>
                  </a:lnTo>
                  <a:lnTo>
                    <a:pt x="14" y="1404"/>
                  </a:lnTo>
                  <a:lnTo>
                    <a:pt x="17" y="1404"/>
                  </a:lnTo>
                  <a:lnTo>
                    <a:pt x="20" y="1404"/>
                  </a:lnTo>
                  <a:lnTo>
                    <a:pt x="23" y="1404"/>
                  </a:lnTo>
                  <a:lnTo>
                    <a:pt x="26" y="1404"/>
                  </a:lnTo>
                  <a:lnTo>
                    <a:pt x="31" y="1406"/>
                  </a:lnTo>
                  <a:lnTo>
                    <a:pt x="34" y="1407"/>
                  </a:lnTo>
                  <a:lnTo>
                    <a:pt x="41" y="1410"/>
                  </a:lnTo>
                  <a:lnTo>
                    <a:pt x="42" y="1410"/>
                  </a:lnTo>
                  <a:lnTo>
                    <a:pt x="45" y="1412"/>
                  </a:lnTo>
                  <a:lnTo>
                    <a:pt x="47" y="1414"/>
                  </a:lnTo>
                  <a:lnTo>
                    <a:pt x="47" y="1415"/>
                  </a:lnTo>
                  <a:lnTo>
                    <a:pt x="50" y="1418"/>
                  </a:lnTo>
                  <a:lnTo>
                    <a:pt x="50" y="1420"/>
                  </a:lnTo>
                  <a:lnTo>
                    <a:pt x="52" y="1423"/>
                  </a:lnTo>
                  <a:lnTo>
                    <a:pt x="52" y="1425"/>
                  </a:lnTo>
                  <a:lnTo>
                    <a:pt x="50" y="1428"/>
                  </a:lnTo>
                  <a:lnTo>
                    <a:pt x="45" y="1433"/>
                  </a:lnTo>
                  <a:lnTo>
                    <a:pt x="41" y="1437"/>
                  </a:lnTo>
                  <a:lnTo>
                    <a:pt x="34" y="1442"/>
                  </a:lnTo>
                  <a:lnTo>
                    <a:pt x="34" y="1448"/>
                  </a:lnTo>
                  <a:lnTo>
                    <a:pt x="33" y="1455"/>
                  </a:lnTo>
                  <a:lnTo>
                    <a:pt x="33" y="1453"/>
                  </a:lnTo>
                  <a:lnTo>
                    <a:pt x="33" y="1451"/>
                  </a:lnTo>
                  <a:lnTo>
                    <a:pt x="34" y="1451"/>
                  </a:lnTo>
                  <a:lnTo>
                    <a:pt x="38" y="1448"/>
                  </a:lnTo>
                  <a:lnTo>
                    <a:pt x="41" y="1448"/>
                  </a:lnTo>
                  <a:lnTo>
                    <a:pt x="42" y="1447"/>
                  </a:lnTo>
                  <a:lnTo>
                    <a:pt x="47" y="1447"/>
                  </a:lnTo>
                  <a:lnTo>
                    <a:pt x="50" y="1447"/>
                  </a:lnTo>
                  <a:lnTo>
                    <a:pt x="55" y="1448"/>
                  </a:lnTo>
                  <a:lnTo>
                    <a:pt x="71" y="1451"/>
                  </a:lnTo>
                  <a:lnTo>
                    <a:pt x="75" y="1453"/>
                  </a:lnTo>
                  <a:lnTo>
                    <a:pt x="79" y="1450"/>
                  </a:lnTo>
                  <a:lnTo>
                    <a:pt x="79" y="1445"/>
                  </a:lnTo>
                  <a:lnTo>
                    <a:pt x="80" y="1442"/>
                  </a:lnTo>
                  <a:lnTo>
                    <a:pt x="80" y="1437"/>
                  </a:lnTo>
                  <a:lnTo>
                    <a:pt x="82" y="1431"/>
                  </a:lnTo>
                  <a:lnTo>
                    <a:pt x="83" y="1423"/>
                  </a:lnTo>
                  <a:lnTo>
                    <a:pt x="85" y="1418"/>
                  </a:lnTo>
                  <a:lnTo>
                    <a:pt x="87" y="1415"/>
                  </a:lnTo>
                  <a:lnTo>
                    <a:pt x="88" y="1412"/>
                  </a:lnTo>
                  <a:lnTo>
                    <a:pt x="88" y="1410"/>
                  </a:lnTo>
                  <a:lnTo>
                    <a:pt x="91" y="1407"/>
                  </a:lnTo>
                  <a:lnTo>
                    <a:pt x="94" y="1406"/>
                  </a:lnTo>
                  <a:lnTo>
                    <a:pt x="98" y="1404"/>
                  </a:lnTo>
                  <a:lnTo>
                    <a:pt x="101" y="1404"/>
                  </a:lnTo>
                  <a:lnTo>
                    <a:pt x="104" y="1404"/>
                  </a:lnTo>
                  <a:lnTo>
                    <a:pt x="107" y="1404"/>
                  </a:lnTo>
                  <a:lnTo>
                    <a:pt x="110" y="1406"/>
                  </a:lnTo>
                  <a:lnTo>
                    <a:pt x="113" y="1407"/>
                  </a:lnTo>
                  <a:lnTo>
                    <a:pt x="118" y="1410"/>
                  </a:lnTo>
                  <a:lnTo>
                    <a:pt x="123" y="1412"/>
                  </a:lnTo>
                  <a:lnTo>
                    <a:pt x="129" y="1415"/>
                  </a:lnTo>
                  <a:lnTo>
                    <a:pt x="134" y="1418"/>
                  </a:lnTo>
                  <a:lnTo>
                    <a:pt x="137" y="1420"/>
                  </a:lnTo>
                  <a:lnTo>
                    <a:pt x="139" y="1420"/>
                  </a:lnTo>
                  <a:lnTo>
                    <a:pt x="142" y="1420"/>
                  </a:lnTo>
                  <a:lnTo>
                    <a:pt x="147" y="1420"/>
                  </a:lnTo>
                  <a:lnTo>
                    <a:pt x="148" y="1420"/>
                  </a:lnTo>
                  <a:lnTo>
                    <a:pt x="150" y="1420"/>
                  </a:lnTo>
                  <a:lnTo>
                    <a:pt x="151" y="1420"/>
                  </a:lnTo>
                  <a:lnTo>
                    <a:pt x="151" y="1418"/>
                  </a:lnTo>
                  <a:lnTo>
                    <a:pt x="153" y="1417"/>
                  </a:lnTo>
                  <a:lnTo>
                    <a:pt x="153" y="1415"/>
                  </a:lnTo>
                  <a:lnTo>
                    <a:pt x="153" y="1414"/>
                  </a:lnTo>
                  <a:lnTo>
                    <a:pt x="153" y="1412"/>
                  </a:lnTo>
                  <a:lnTo>
                    <a:pt x="153" y="1410"/>
                  </a:lnTo>
                  <a:lnTo>
                    <a:pt x="153" y="1409"/>
                  </a:lnTo>
                  <a:lnTo>
                    <a:pt x="151" y="1407"/>
                  </a:lnTo>
                  <a:lnTo>
                    <a:pt x="150" y="1404"/>
                  </a:lnTo>
                  <a:lnTo>
                    <a:pt x="145" y="1403"/>
                  </a:lnTo>
                  <a:lnTo>
                    <a:pt x="140" y="1398"/>
                  </a:lnTo>
                  <a:lnTo>
                    <a:pt x="135" y="1395"/>
                  </a:lnTo>
                  <a:lnTo>
                    <a:pt x="131" y="1392"/>
                  </a:lnTo>
                  <a:lnTo>
                    <a:pt x="129" y="1390"/>
                  </a:lnTo>
                  <a:lnTo>
                    <a:pt x="128" y="1388"/>
                  </a:lnTo>
                  <a:lnTo>
                    <a:pt x="126" y="1387"/>
                  </a:lnTo>
                  <a:lnTo>
                    <a:pt x="124" y="1385"/>
                  </a:lnTo>
                  <a:lnTo>
                    <a:pt x="124" y="1377"/>
                  </a:lnTo>
                  <a:lnTo>
                    <a:pt x="131" y="1376"/>
                  </a:lnTo>
                  <a:lnTo>
                    <a:pt x="135" y="1376"/>
                  </a:lnTo>
                  <a:lnTo>
                    <a:pt x="137" y="1374"/>
                  </a:lnTo>
                  <a:lnTo>
                    <a:pt x="139" y="1374"/>
                  </a:lnTo>
                  <a:lnTo>
                    <a:pt x="140" y="1374"/>
                  </a:lnTo>
                  <a:lnTo>
                    <a:pt x="142" y="1371"/>
                  </a:lnTo>
                  <a:lnTo>
                    <a:pt x="140" y="1369"/>
                  </a:lnTo>
                  <a:lnTo>
                    <a:pt x="137" y="1369"/>
                  </a:lnTo>
                  <a:lnTo>
                    <a:pt x="135" y="1366"/>
                  </a:lnTo>
                  <a:lnTo>
                    <a:pt x="132" y="1365"/>
                  </a:lnTo>
                  <a:lnTo>
                    <a:pt x="129" y="1365"/>
                  </a:lnTo>
                  <a:lnTo>
                    <a:pt x="128" y="1362"/>
                  </a:lnTo>
                  <a:lnTo>
                    <a:pt x="126" y="1362"/>
                  </a:lnTo>
                  <a:lnTo>
                    <a:pt x="126" y="1360"/>
                  </a:lnTo>
                  <a:lnTo>
                    <a:pt x="124" y="1358"/>
                  </a:lnTo>
                  <a:lnTo>
                    <a:pt x="124" y="1357"/>
                  </a:lnTo>
                  <a:lnTo>
                    <a:pt x="124" y="1354"/>
                  </a:lnTo>
                  <a:lnTo>
                    <a:pt x="128" y="1350"/>
                  </a:lnTo>
                  <a:lnTo>
                    <a:pt x="129" y="1346"/>
                  </a:lnTo>
                  <a:lnTo>
                    <a:pt x="131" y="1344"/>
                  </a:lnTo>
                  <a:lnTo>
                    <a:pt x="134" y="1341"/>
                  </a:lnTo>
                  <a:lnTo>
                    <a:pt x="137" y="1338"/>
                  </a:lnTo>
                  <a:lnTo>
                    <a:pt x="140" y="1338"/>
                  </a:lnTo>
                  <a:lnTo>
                    <a:pt x="142" y="1338"/>
                  </a:lnTo>
                  <a:lnTo>
                    <a:pt x="143" y="1336"/>
                  </a:lnTo>
                  <a:lnTo>
                    <a:pt x="147" y="1336"/>
                  </a:lnTo>
                  <a:lnTo>
                    <a:pt x="150" y="1338"/>
                  </a:lnTo>
                  <a:lnTo>
                    <a:pt x="154" y="1339"/>
                  </a:lnTo>
                  <a:lnTo>
                    <a:pt x="161" y="1343"/>
                  </a:lnTo>
                  <a:lnTo>
                    <a:pt x="169" y="1346"/>
                  </a:lnTo>
                  <a:lnTo>
                    <a:pt x="175" y="1349"/>
                  </a:lnTo>
                  <a:lnTo>
                    <a:pt x="181" y="1354"/>
                  </a:lnTo>
                  <a:lnTo>
                    <a:pt x="186" y="1357"/>
                  </a:lnTo>
                  <a:lnTo>
                    <a:pt x="189" y="1358"/>
                  </a:lnTo>
                  <a:lnTo>
                    <a:pt x="205" y="1358"/>
                  </a:lnTo>
                  <a:lnTo>
                    <a:pt x="216" y="1358"/>
                  </a:lnTo>
                  <a:lnTo>
                    <a:pt x="224" y="1358"/>
                  </a:lnTo>
                  <a:lnTo>
                    <a:pt x="235" y="1358"/>
                  </a:lnTo>
                  <a:lnTo>
                    <a:pt x="235" y="1360"/>
                  </a:lnTo>
                  <a:lnTo>
                    <a:pt x="238" y="1360"/>
                  </a:lnTo>
                  <a:lnTo>
                    <a:pt x="243" y="1362"/>
                  </a:lnTo>
                  <a:lnTo>
                    <a:pt x="246" y="1362"/>
                  </a:lnTo>
                  <a:lnTo>
                    <a:pt x="249" y="1363"/>
                  </a:lnTo>
                  <a:lnTo>
                    <a:pt x="257" y="1365"/>
                  </a:lnTo>
                  <a:lnTo>
                    <a:pt x="265" y="1368"/>
                  </a:lnTo>
                  <a:lnTo>
                    <a:pt x="268" y="1369"/>
                  </a:lnTo>
                  <a:lnTo>
                    <a:pt x="273" y="1371"/>
                  </a:lnTo>
                  <a:lnTo>
                    <a:pt x="276" y="1371"/>
                  </a:lnTo>
                  <a:lnTo>
                    <a:pt x="281" y="1371"/>
                  </a:lnTo>
                  <a:lnTo>
                    <a:pt x="284" y="1373"/>
                  </a:lnTo>
                  <a:lnTo>
                    <a:pt x="289" y="1373"/>
                  </a:lnTo>
                  <a:lnTo>
                    <a:pt x="290" y="1371"/>
                  </a:lnTo>
                  <a:lnTo>
                    <a:pt x="297" y="1371"/>
                  </a:lnTo>
                  <a:lnTo>
                    <a:pt x="311" y="1371"/>
                  </a:lnTo>
                  <a:lnTo>
                    <a:pt x="311" y="1374"/>
                  </a:lnTo>
                  <a:lnTo>
                    <a:pt x="314" y="1374"/>
                  </a:lnTo>
                  <a:lnTo>
                    <a:pt x="317" y="1374"/>
                  </a:lnTo>
                  <a:lnTo>
                    <a:pt x="319" y="1374"/>
                  </a:lnTo>
                  <a:lnTo>
                    <a:pt x="320" y="1373"/>
                  </a:lnTo>
                  <a:lnTo>
                    <a:pt x="324" y="1371"/>
                  </a:lnTo>
                  <a:lnTo>
                    <a:pt x="327" y="1369"/>
                  </a:lnTo>
                  <a:lnTo>
                    <a:pt x="330" y="1366"/>
                  </a:lnTo>
                  <a:lnTo>
                    <a:pt x="331" y="1365"/>
                  </a:lnTo>
                  <a:lnTo>
                    <a:pt x="335" y="1365"/>
                  </a:lnTo>
                  <a:lnTo>
                    <a:pt x="338" y="1363"/>
                  </a:lnTo>
                  <a:lnTo>
                    <a:pt x="339" y="1363"/>
                  </a:lnTo>
                  <a:lnTo>
                    <a:pt x="341" y="1363"/>
                  </a:lnTo>
                  <a:lnTo>
                    <a:pt x="342" y="1365"/>
                  </a:lnTo>
                  <a:lnTo>
                    <a:pt x="344" y="1365"/>
                  </a:lnTo>
                  <a:lnTo>
                    <a:pt x="346" y="1365"/>
                  </a:lnTo>
                  <a:lnTo>
                    <a:pt x="349" y="1366"/>
                  </a:lnTo>
                  <a:lnTo>
                    <a:pt x="350" y="1369"/>
                  </a:lnTo>
                  <a:lnTo>
                    <a:pt x="355" y="1374"/>
                  </a:lnTo>
                  <a:lnTo>
                    <a:pt x="358" y="1379"/>
                  </a:lnTo>
                  <a:lnTo>
                    <a:pt x="360" y="1377"/>
                  </a:lnTo>
                  <a:lnTo>
                    <a:pt x="361" y="1376"/>
                  </a:lnTo>
                  <a:lnTo>
                    <a:pt x="363" y="1374"/>
                  </a:lnTo>
                  <a:lnTo>
                    <a:pt x="365" y="1374"/>
                  </a:lnTo>
                  <a:lnTo>
                    <a:pt x="368" y="1373"/>
                  </a:lnTo>
                  <a:lnTo>
                    <a:pt x="371" y="1373"/>
                  </a:lnTo>
                  <a:lnTo>
                    <a:pt x="376" y="1373"/>
                  </a:lnTo>
                  <a:lnTo>
                    <a:pt x="384" y="1373"/>
                  </a:lnTo>
                  <a:lnTo>
                    <a:pt x="396" y="1373"/>
                  </a:lnTo>
                  <a:lnTo>
                    <a:pt x="409" y="1373"/>
                  </a:lnTo>
                  <a:lnTo>
                    <a:pt x="420" y="1373"/>
                  </a:lnTo>
                  <a:lnTo>
                    <a:pt x="431" y="1373"/>
                  </a:lnTo>
                  <a:lnTo>
                    <a:pt x="439" y="1373"/>
                  </a:lnTo>
                  <a:lnTo>
                    <a:pt x="442" y="1373"/>
                  </a:lnTo>
                  <a:lnTo>
                    <a:pt x="445" y="1373"/>
                  </a:lnTo>
                  <a:lnTo>
                    <a:pt x="447" y="1371"/>
                  </a:lnTo>
                  <a:lnTo>
                    <a:pt x="448" y="1371"/>
                  </a:lnTo>
                  <a:lnTo>
                    <a:pt x="450" y="1369"/>
                  </a:lnTo>
                  <a:lnTo>
                    <a:pt x="451" y="1368"/>
                  </a:lnTo>
                  <a:lnTo>
                    <a:pt x="453" y="1366"/>
                  </a:lnTo>
                  <a:lnTo>
                    <a:pt x="455" y="1365"/>
                  </a:lnTo>
                  <a:lnTo>
                    <a:pt x="455" y="1362"/>
                  </a:lnTo>
                  <a:lnTo>
                    <a:pt x="458" y="1363"/>
                  </a:lnTo>
                  <a:lnTo>
                    <a:pt x="463" y="1363"/>
                  </a:lnTo>
                  <a:lnTo>
                    <a:pt x="466" y="1363"/>
                  </a:lnTo>
                  <a:lnTo>
                    <a:pt x="469" y="1363"/>
                  </a:lnTo>
                  <a:lnTo>
                    <a:pt x="475" y="1362"/>
                  </a:lnTo>
                  <a:lnTo>
                    <a:pt x="480" y="1358"/>
                  </a:lnTo>
                  <a:lnTo>
                    <a:pt x="480" y="1355"/>
                  </a:lnTo>
                  <a:lnTo>
                    <a:pt x="482" y="1355"/>
                  </a:lnTo>
                  <a:lnTo>
                    <a:pt x="488" y="1355"/>
                  </a:lnTo>
                  <a:lnTo>
                    <a:pt x="493" y="1355"/>
                  </a:lnTo>
                  <a:lnTo>
                    <a:pt x="496" y="1357"/>
                  </a:lnTo>
                  <a:lnTo>
                    <a:pt x="500" y="1357"/>
                  </a:lnTo>
                  <a:lnTo>
                    <a:pt x="505" y="1358"/>
                  </a:lnTo>
                  <a:lnTo>
                    <a:pt x="508" y="1358"/>
                  </a:lnTo>
                  <a:lnTo>
                    <a:pt x="513" y="1362"/>
                  </a:lnTo>
                  <a:lnTo>
                    <a:pt x="519" y="1365"/>
                  </a:lnTo>
                  <a:lnTo>
                    <a:pt x="521" y="1366"/>
                  </a:lnTo>
                  <a:lnTo>
                    <a:pt x="523" y="1368"/>
                  </a:lnTo>
                  <a:lnTo>
                    <a:pt x="524" y="1369"/>
                  </a:lnTo>
                  <a:lnTo>
                    <a:pt x="527" y="1371"/>
                  </a:lnTo>
                  <a:lnTo>
                    <a:pt x="529" y="1374"/>
                  </a:lnTo>
                  <a:lnTo>
                    <a:pt x="532" y="1379"/>
                  </a:lnTo>
                  <a:lnTo>
                    <a:pt x="537" y="1382"/>
                  </a:lnTo>
                  <a:lnTo>
                    <a:pt x="540" y="1384"/>
                  </a:lnTo>
                  <a:lnTo>
                    <a:pt x="542" y="1385"/>
                  </a:lnTo>
                  <a:lnTo>
                    <a:pt x="545" y="1387"/>
                  </a:lnTo>
                  <a:lnTo>
                    <a:pt x="546" y="1387"/>
                  </a:lnTo>
                  <a:lnTo>
                    <a:pt x="549" y="1387"/>
                  </a:lnTo>
                  <a:lnTo>
                    <a:pt x="553" y="1387"/>
                  </a:lnTo>
                  <a:lnTo>
                    <a:pt x="554" y="1387"/>
                  </a:lnTo>
                  <a:lnTo>
                    <a:pt x="557" y="1384"/>
                  </a:lnTo>
                  <a:lnTo>
                    <a:pt x="559" y="1382"/>
                  </a:lnTo>
                  <a:lnTo>
                    <a:pt x="560" y="1380"/>
                  </a:lnTo>
                  <a:lnTo>
                    <a:pt x="562" y="1377"/>
                  </a:lnTo>
                  <a:lnTo>
                    <a:pt x="564" y="1374"/>
                  </a:lnTo>
                  <a:lnTo>
                    <a:pt x="565" y="1371"/>
                  </a:lnTo>
                  <a:lnTo>
                    <a:pt x="567" y="1365"/>
                  </a:lnTo>
                  <a:lnTo>
                    <a:pt x="567" y="1357"/>
                  </a:lnTo>
                  <a:lnTo>
                    <a:pt x="567" y="1350"/>
                  </a:lnTo>
                  <a:lnTo>
                    <a:pt x="567" y="1343"/>
                  </a:lnTo>
                  <a:lnTo>
                    <a:pt x="567" y="1339"/>
                  </a:lnTo>
                  <a:lnTo>
                    <a:pt x="568" y="1338"/>
                  </a:lnTo>
                  <a:lnTo>
                    <a:pt x="570" y="1336"/>
                  </a:lnTo>
                  <a:lnTo>
                    <a:pt x="570" y="1335"/>
                  </a:lnTo>
                  <a:lnTo>
                    <a:pt x="570" y="1333"/>
                  </a:lnTo>
                  <a:lnTo>
                    <a:pt x="572" y="1333"/>
                  </a:lnTo>
                  <a:lnTo>
                    <a:pt x="573" y="1333"/>
                  </a:lnTo>
                  <a:lnTo>
                    <a:pt x="575" y="1332"/>
                  </a:lnTo>
                  <a:lnTo>
                    <a:pt x="581" y="1330"/>
                  </a:lnTo>
                  <a:lnTo>
                    <a:pt x="586" y="1330"/>
                  </a:lnTo>
                  <a:lnTo>
                    <a:pt x="586" y="1328"/>
                  </a:lnTo>
                  <a:lnTo>
                    <a:pt x="586" y="1327"/>
                  </a:lnTo>
                  <a:lnTo>
                    <a:pt x="587" y="1325"/>
                  </a:lnTo>
                  <a:lnTo>
                    <a:pt x="587" y="1324"/>
                  </a:lnTo>
                  <a:lnTo>
                    <a:pt x="587" y="1319"/>
                  </a:lnTo>
                  <a:lnTo>
                    <a:pt x="587" y="1314"/>
                  </a:lnTo>
                  <a:lnTo>
                    <a:pt x="589" y="1311"/>
                  </a:lnTo>
                  <a:lnTo>
                    <a:pt x="589" y="1305"/>
                  </a:lnTo>
                  <a:lnTo>
                    <a:pt x="591" y="1303"/>
                  </a:lnTo>
                  <a:lnTo>
                    <a:pt x="591" y="1300"/>
                  </a:lnTo>
                  <a:lnTo>
                    <a:pt x="594" y="1297"/>
                  </a:lnTo>
                  <a:lnTo>
                    <a:pt x="595" y="1294"/>
                  </a:lnTo>
                  <a:lnTo>
                    <a:pt x="600" y="1292"/>
                  </a:lnTo>
                  <a:lnTo>
                    <a:pt x="603" y="1291"/>
                  </a:lnTo>
                  <a:lnTo>
                    <a:pt x="613" y="1287"/>
                  </a:lnTo>
                  <a:lnTo>
                    <a:pt x="621" y="1284"/>
                  </a:lnTo>
                  <a:lnTo>
                    <a:pt x="624" y="1284"/>
                  </a:lnTo>
                  <a:lnTo>
                    <a:pt x="627" y="1283"/>
                  </a:lnTo>
                  <a:lnTo>
                    <a:pt x="632" y="1281"/>
                  </a:lnTo>
                  <a:lnTo>
                    <a:pt x="633" y="1280"/>
                  </a:lnTo>
                  <a:lnTo>
                    <a:pt x="635" y="1278"/>
                  </a:lnTo>
                  <a:lnTo>
                    <a:pt x="635" y="1276"/>
                  </a:lnTo>
                  <a:lnTo>
                    <a:pt x="636" y="1275"/>
                  </a:lnTo>
                  <a:lnTo>
                    <a:pt x="636" y="1273"/>
                  </a:lnTo>
                  <a:lnTo>
                    <a:pt x="635" y="1272"/>
                  </a:lnTo>
                  <a:lnTo>
                    <a:pt x="635" y="1270"/>
                  </a:lnTo>
                  <a:lnTo>
                    <a:pt x="633" y="1267"/>
                  </a:lnTo>
                  <a:lnTo>
                    <a:pt x="628" y="1257"/>
                  </a:lnTo>
                  <a:lnTo>
                    <a:pt x="625" y="1246"/>
                  </a:lnTo>
                  <a:lnTo>
                    <a:pt x="624" y="1243"/>
                  </a:lnTo>
                  <a:lnTo>
                    <a:pt x="624" y="1242"/>
                  </a:lnTo>
                  <a:lnTo>
                    <a:pt x="622" y="1239"/>
                  </a:lnTo>
                  <a:lnTo>
                    <a:pt x="621" y="1237"/>
                  </a:lnTo>
                  <a:lnTo>
                    <a:pt x="619" y="1237"/>
                  </a:lnTo>
                  <a:lnTo>
                    <a:pt x="617" y="1235"/>
                  </a:lnTo>
                  <a:lnTo>
                    <a:pt x="616" y="1234"/>
                  </a:lnTo>
                  <a:lnTo>
                    <a:pt x="614" y="1234"/>
                  </a:lnTo>
                  <a:lnTo>
                    <a:pt x="611" y="1234"/>
                  </a:lnTo>
                  <a:lnTo>
                    <a:pt x="608" y="1235"/>
                  </a:lnTo>
                  <a:lnTo>
                    <a:pt x="608" y="1237"/>
                  </a:lnTo>
                  <a:lnTo>
                    <a:pt x="606" y="1239"/>
                  </a:lnTo>
                  <a:lnTo>
                    <a:pt x="606" y="1240"/>
                  </a:lnTo>
                  <a:lnTo>
                    <a:pt x="605" y="1242"/>
                  </a:lnTo>
                  <a:lnTo>
                    <a:pt x="603" y="1242"/>
                  </a:lnTo>
                  <a:lnTo>
                    <a:pt x="602" y="1242"/>
                  </a:lnTo>
                  <a:lnTo>
                    <a:pt x="598" y="1240"/>
                  </a:lnTo>
                  <a:lnTo>
                    <a:pt x="598" y="1239"/>
                  </a:lnTo>
                  <a:lnTo>
                    <a:pt x="595" y="1237"/>
                  </a:lnTo>
                  <a:lnTo>
                    <a:pt x="595" y="1234"/>
                  </a:lnTo>
                  <a:lnTo>
                    <a:pt x="595" y="1232"/>
                  </a:lnTo>
                  <a:lnTo>
                    <a:pt x="595" y="1231"/>
                  </a:lnTo>
                  <a:lnTo>
                    <a:pt x="594" y="1229"/>
                  </a:lnTo>
                  <a:lnTo>
                    <a:pt x="595" y="1226"/>
                  </a:lnTo>
                  <a:lnTo>
                    <a:pt x="595" y="1224"/>
                  </a:lnTo>
                  <a:lnTo>
                    <a:pt x="595" y="1223"/>
                  </a:lnTo>
                  <a:lnTo>
                    <a:pt x="598" y="1221"/>
                  </a:lnTo>
                  <a:lnTo>
                    <a:pt x="600" y="1218"/>
                  </a:lnTo>
                  <a:lnTo>
                    <a:pt x="603" y="1215"/>
                  </a:lnTo>
                  <a:lnTo>
                    <a:pt x="605" y="1212"/>
                  </a:lnTo>
                  <a:lnTo>
                    <a:pt x="606" y="1210"/>
                  </a:lnTo>
                  <a:lnTo>
                    <a:pt x="606" y="1209"/>
                  </a:lnTo>
                  <a:lnTo>
                    <a:pt x="606" y="1205"/>
                  </a:lnTo>
                  <a:lnTo>
                    <a:pt x="606" y="1204"/>
                  </a:lnTo>
                  <a:lnTo>
                    <a:pt x="606" y="1199"/>
                  </a:lnTo>
                  <a:lnTo>
                    <a:pt x="606" y="1196"/>
                  </a:lnTo>
                  <a:lnTo>
                    <a:pt x="603" y="1191"/>
                  </a:lnTo>
                  <a:lnTo>
                    <a:pt x="606" y="1185"/>
                  </a:lnTo>
                  <a:lnTo>
                    <a:pt x="609" y="1179"/>
                  </a:lnTo>
                  <a:lnTo>
                    <a:pt x="614" y="1172"/>
                  </a:lnTo>
                  <a:lnTo>
                    <a:pt x="619" y="1164"/>
                  </a:lnTo>
                  <a:lnTo>
                    <a:pt x="621" y="1161"/>
                  </a:lnTo>
                  <a:lnTo>
                    <a:pt x="624" y="1160"/>
                  </a:lnTo>
                  <a:lnTo>
                    <a:pt x="627" y="1156"/>
                  </a:lnTo>
                  <a:lnTo>
                    <a:pt x="630" y="1153"/>
                  </a:lnTo>
                  <a:lnTo>
                    <a:pt x="633" y="1152"/>
                  </a:lnTo>
                  <a:lnTo>
                    <a:pt x="636" y="1150"/>
                  </a:lnTo>
                  <a:lnTo>
                    <a:pt x="638" y="1149"/>
                  </a:lnTo>
                  <a:lnTo>
                    <a:pt x="641" y="1149"/>
                  </a:lnTo>
                  <a:lnTo>
                    <a:pt x="643" y="1149"/>
                  </a:lnTo>
                  <a:lnTo>
                    <a:pt x="644" y="1150"/>
                  </a:lnTo>
                  <a:lnTo>
                    <a:pt x="646" y="1152"/>
                  </a:lnTo>
                  <a:lnTo>
                    <a:pt x="647" y="1152"/>
                  </a:lnTo>
                  <a:lnTo>
                    <a:pt x="647" y="1155"/>
                  </a:lnTo>
                  <a:lnTo>
                    <a:pt x="647" y="1156"/>
                  </a:lnTo>
                  <a:lnTo>
                    <a:pt x="649" y="1160"/>
                  </a:lnTo>
                  <a:lnTo>
                    <a:pt x="649" y="1161"/>
                  </a:lnTo>
                  <a:lnTo>
                    <a:pt x="649" y="1164"/>
                  </a:lnTo>
                  <a:lnTo>
                    <a:pt x="647" y="1166"/>
                  </a:lnTo>
                  <a:lnTo>
                    <a:pt x="647" y="1168"/>
                  </a:lnTo>
                  <a:lnTo>
                    <a:pt x="644" y="1169"/>
                  </a:lnTo>
                  <a:lnTo>
                    <a:pt x="644" y="1171"/>
                  </a:lnTo>
                  <a:lnTo>
                    <a:pt x="641" y="1172"/>
                  </a:lnTo>
                  <a:lnTo>
                    <a:pt x="641" y="1175"/>
                  </a:lnTo>
                  <a:lnTo>
                    <a:pt x="644" y="1177"/>
                  </a:lnTo>
                  <a:lnTo>
                    <a:pt x="646" y="1180"/>
                  </a:lnTo>
                  <a:lnTo>
                    <a:pt x="649" y="1183"/>
                  </a:lnTo>
                  <a:lnTo>
                    <a:pt x="658" y="1186"/>
                  </a:lnTo>
                  <a:lnTo>
                    <a:pt x="668" y="1191"/>
                  </a:lnTo>
                  <a:lnTo>
                    <a:pt x="681" y="1196"/>
                  </a:lnTo>
                  <a:lnTo>
                    <a:pt x="690" y="1199"/>
                  </a:lnTo>
                  <a:lnTo>
                    <a:pt x="695" y="1201"/>
                  </a:lnTo>
                  <a:lnTo>
                    <a:pt x="700" y="1201"/>
                  </a:lnTo>
                  <a:lnTo>
                    <a:pt x="703" y="1202"/>
                  </a:lnTo>
                  <a:lnTo>
                    <a:pt x="704" y="1202"/>
                  </a:lnTo>
                  <a:lnTo>
                    <a:pt x="707" y="1202"/>
                  </a:lnTo>
                  <a:lnTo>
                    <a:pt x="711" y="1201"/>
                  </a:lnTo>
                  <a:lnTo>
                    <a:pt x="714" y="1201"/>
                  </a:lnTo>
                  <a:lnTo>
                    <a:pt x="715" y="1201"/>
                  </a:lnTo>
                  <a:lnTo>
                    <a:pt x="718" y="1199"/>
                  </a:lnTo>
                  <a:lnTo>
                    <a:pt x="720" y="1197"/>
                  </a:lnTo>
                  <a:lnTo>
                    <a:pt x="723" y="1197"/>
                  </a:lnTo>
                  <a:lnTo>
                    <a:pt x="726" y="1197"/>
                  </a:lnTo>
                  <a:lnTo>
                    <a:pt x="730" y="1197"/>
                  </a:lnTo>
                  <a:lnTo>
                    <a:pt x="731" y="1197"/>
                  </a:lnTo>
                  <a:lnTo>
                    <a:pt x="734" y="1197"/>
                  </a:lnTo>
                  <a:lnTo>
                    <a:pt x="736" y="1199"/>
                  </a:lnTo>
                  <a:lnTo>
                    <a:pt x="742" y="1201"/>
                  </a:lnTo>
                  <a:lnTo>
                    <a:pt x="747" y="1204"/>
                  </a:lnTo>
                  <a:lnTo>
                    <a:pt x="752" y="1205"/>
                  </a:lnTo>
                  <a:lnTo>
                    <a:pt x="756" y="1205"/>
                  </a:lnTo>
                  <a:lnTo>
                    <a:pt x="758" y="1207"/>
                  </a:lnTo>
                  <a:lnTo>
                    <a:pt x="761" y="1207"/>
                  </a:lnTo>
                  <a:lnTo>
                    <a:pt x="764" y="1207"/>
                  </a:lnTo>
                  <a:lnTo>
                    <a:pt x="767" y="1205"/>
                  </a:lnTo>
                  <a:lnTo>
                    <a:pt x="774" y="1204"/>
                  </a:lnTo>
                  <a:lnTo>
                    <a:pt x="780" y="1201"/>
                  </a:lnTo>
                  <a:lnTo>
                    <a:pt x="785" y="1197"/>
                  </a:lnTo>
                  <a:lnTo>
                    <a:pt x="790" y="1193"/>
                  </a:lnTo>
                  <a:lnTo>
                    <a:pt x="793" y="1190"/>
                  </a:lnTo>
                  <a:lnTo>
                    <a:pt x="796" y="1185"/>
                  </a:lnTo>
                  <a:lnTo>
                    <a:pt x="799" y="1180"/>
                  </a:lnTo>
                  <a:lnTo>
                    <a:pt x="802" y="1175"/>
                  </a:lnTo>
                  <a:lnTo>
                    <a:pt x="813" y="1175"/>
                  </a:lnTo>
                  <a:lnTo>
                    <a:pt x="816" y="1169"/>
                  </a:lnTo>
                  <a:lnTo>
                    <a:pt x="818" y="1164"/>
                  </a:lnTo>
                  <a:lnTo>
                    <a:pt x="821" y="1160"/>
                  </a:lnTo>
                  <a:lnTo>
                    <a:pt x="823" y="1153"/>
                  </a:lnTo>
                  <a:lnTo>
                    <a:pt x="824" y="1149"/>
                  </a:lnTo>
                  <a:lnTo>
                    <a:pt x="826" y="1144"/>
                  </a:lnTo>
                  <a:lnTo>
                    <a:pt x="828" y="1139"/>
                  </a:lnTo>
                  <a:lnTo>
                    <a:pt x="831" y="1136"/>
                  </a:lnTo>
                  <a:lnTo>
                    <a:pt x="832" y="1131"/>
                  </a:lnTo>
                  <a:lnTo>
                    <a:pt x="834" y="1130"/>
                  </a:lnTo>
                  <a:lnTo>
                    <a:pt x="837" y="1127"/>
                  </a:lnTo>
                  <a:lnTo>
                    <a:pt x="839" y="1125"/>
                  </a:lnTo>
                  <a:lnTo>
                    <a:pt x="843" y="1123"/>
                  </a:lnTo>
                  <a:lnTo>
                    <a:pt x="850" y="1120"/>
                  </a:lnTo>
                  <a:lnTo>
                    <a:pt x="856" y="1119"/>
                  </a:lnTo>
                  <a:lnTo>
                    <a:pt x="861" y="1115"/>
                  </a:lnTo>
                  <a:lnTo>
                    <a:pt x="862" y="1114"/>
                  </a:lnTo>
                  <a:lnTo>
                    <a:pt x="865" y="1112"/>
                  </a:lnTo>
                  <a:lnTo>
                    <a:pt x="867" y="1111"/>
                  </a:lnTo>
                  <a:lnTo>
                    <a:pt x="870" y="1108"/>
                  </a:lnTo>
                  <a:lnTo>
                    <a:pt x="872" y="1103"/>
                  </a:lnTo>
                  <a:lnTo>
                    <a:pt x="875" y="1098"/>
                  </a:lnTo>
                  <a:lnTo>
                    <a:pt x="876" y="1093"/>
                  </a:lnTo>
                  <a:lnTo>
                    <a:pt x="878" y="1089"/>
                  </a:lnTo>
                  <a:lnTo>
                    <a:pt x="883" y="1074"/>
                  </a:lnTo>
                  <a:lnTo>
                    <a:pt x="888" y="1062"/>
                  </a:lnTo>
                  <a:lnTo>
                    <a:pt x="891" y="1056"/>
                  </a:lnTo>
                  <a:lnTo>
                    <a:pt x="892" y="1049"/>
                  </a:lnTo>
                  <a:lnTo>
                    <a:pt x="895" y="1044"/>
                  </a:lnTo>
                  <a:lnTo>
                    <a:pt x="900" y="1040"/>
                  </a:lnTo>
                  <a:lnTo>
                    <a:pt x="902" y="1038"/>
                  </a:lnTo>
                  <a:lnTo>
                    <a:pt x="903" y="1037"/>
                  </a:lnTo>
                  <a:lnTo>
                    <a:pt x="905" y="1035"/>
                  </a:lnTo>
                  <a:lnTo>
                    <a:pt x="908" y="1033"/>
                  </a:lnTo>
                  <a:lnTo>
                    <a:pt x="911" y="1032"/>
                  </a:lnTo>
                  <a:lnTo>
                    <a:pt x="913" y="1032"/>
                  </a:lnTo>
                  <a:lnTo>
                    <a:pt x="916" y="1032"/>
                  </a:lnTo>
                  <a:lnTo>
                    <a:pt x="918" y="1032"/>
                  </a:lnTo>
                  <a:lnTo>
                    <a:pt x="924" y="1032"/>
                  </a:lnTo>
                  <a:lnTo>
                    <a:pt x="929" y="1032"/>
                  </a:lnTo>
                  <a:lnTo>
                    <a:pt x="932" y="1033"/>
                  </a:lnTo>
                  <a:lnTo>
                    <a:pt x="937" y="1035"/>
                  </a:lnTo>
                  <a:lnTo>
                    <a:pt x="944" y="1038"/>
                  </a:lnTo>
                  <a:lnTo>
                    <a:pt x="951" y="1040"/>
                  </a:lnTo>
                  <a:lnTo>
                    <a:pt x="982" y="1040"/>
                  </a:lnTo>
                  <a:lnTo>
                    <a:pt x="987" y="1044"/>
                  </a:lnTo>
                  <a:lnTo>
                    <a:pt x="992" y="1048"/>
                  </a:lnTo>
                  <a:lnTo>
                    <a:pt x="998" y="1049"/>
                  </a:lnTo>
                  <a:lnTo>
                    <a:pt x="1003" y="1051"/>
                  </a:lnTo>
                  <a:lnTo>
                    <a:pt x="1009" y="1052"/>
                  </a:lnTo>
                  <a:lnTo>
                    <a:pt x="1016" y="1052"/>
                  </a:lnTo>
                  <a:lnTo>
                    <a:pt x="1022" y="1052"/>
                  </a:lnTo>
                  <a:lnTo>
                    <a:pt x="1028" y="1052"/>
                  </a:lnTo>
                  <a:lnTo>
                    <a:pt x="1033" y="1052"/>
                  </a:lnTo>
                  <a:lnTo>
                    <a:pt x="1039" y="1054"/>
                  </a:lnTo>
                  <a:lnTo>
                    <a:pt x="1044" y="1056"/>
                  </a:lnTo>
                  <a:lnTo>
                    <a:pt x="1047" y="1057"/>
                  </a:lnTo>
                  <a:lnTo>
                    <a:pt x="1050" y="1059"/>
                  </a:lnTo>
                  <a:lnTo>
                    <a:pt x="1053" y="1060"/>
                  </a:lnTo>
                  <a:lnTo>
                    <a:pt x="1057" y="1062"/>
                  </a:lnTo>
                  <a:lnTo>
                    <a:pt x="1060" y="1065"/>
                  </a:lnTo>
                  <a:lnTo>
                    <a:pt x="1066" y="1068"/>
                  </a:lnTo>
                  <a:lnTo>
                    <a:pt x="1072" y="1073"/>
                  </a:lnTo>
                  <a:lnTo>
                    <a:pt x="1076" y="1073"/>
                  </a:lnTo>
                  <a:lnTo>
                    <a:pt x="1080" y="1074"/>
                  </a:lnTo>
                  <a:lnTo>
                    <a:pt x="1085" y="1076"/>
                  </a:lnTo>
                  <a:lnTo>
                    <a:pt x="1088" y="1076"/>
                  </a:lnTo>
                  <a:lnTo>
                    <a:pt x="1091" y="1076"/>
                  </a:lnTo>
                  <a:lnTo>
                    <a:pt x="1095" y="1074"/>
                  </a:lnTo>
                  <a:lnTo>
                    <a:pt x="1098" y="1073"/>
                  </a:lnTo>
                  <a:lnTo>
                    <a:pt x="1101" y="1071"/>
                  </a:lnTo>
                  <a:lnTo>
                    <a:pt x="1106" y="1067"/>
                  </a:lnTo>
                  <a:lnTo>
                    <a:pt x="1110" y="1062"/>
                  </a:lnTo>
                  <a:lnTo>
                    <a:pt x="1113" y="1059"/>
                  </a:lnTo>
                  <a:lnTo>
                    <a:pt x="1115" y="1057"/>
                  </a:lnTo>
                  <a:lnTo>
                    <a:pt x="1118" y="1054"/>
                  </a:lnTo>
                  <a:lnTo>
                    <a:pt x="1121" y="1052"/>
                  </a:lnTo>
                  <a:lnTo>
                    <a:pt x="1126" y="1051"/>
                  </a:lnTo>
                  <a:lnTo>
                    <a:pt x="1129" y="1049"/>
                  </a:lnTo>
                  <a:lnTo>
                    <a:pt x="1134" y="1048"/>
                  </a:lnTo>
                  <a:lnTo>
                    <a:pt x="1139" y="1048"/>
                  </a:lnTo>
                  <a:lnTo>
                    <a:pt x="1142" y="1048"/>
                  </a:lnTo>
                  <a:lnTo>
                    <a:pt x="1143" y="1049"/>
                  </a:lnTo>
                  <a:lnTo>
                    <a:pt x="1147" y="1051"/>
                  </a:lnTo>
                  <a:lnTo>
                    <a:pt x="1150" y="1052"/>
                  </a:lnTo>
                  <a:lnTo>
                    <a:pt x="1153" y="1056"/>
                  </a:lnTo>
                  <a:lnTo>
                    <a:pt x="1156" y="1059"/>
                  </a:lnTo>
                  <a:lnTo>
                    <a:pt x="1161" y="1062"/>
                  </a:lnTo>
                  <a:lnTo>
                    <a:pt x="1162" y="1062"/>
                  </a:lnTo>
                  <a:lnTo>
                    <a:pt x="1164" y="1063"/>
                  </a:lnTo>
                  <a:lnTo>
                    <a:pt x="1167" y="1065"/>
                  </a:lnTo>
                  <a:lnTo>
                    <a:pt x="1169" y="1065"/>
                  </a:lnTo>
                  <a:lnTo>
                    <a:pt x="1169" y="1062"/>
                  </a:lnTo>
                  <a:lnTo>
                    <a:pt x="1170" y="1059"/>
                  </a:lnTo>
                  <a:lnTo>
                    <a:pt x="1170" y="1057"/>
                  </a:lnTo>
                  <a:lnTo>
                    <a:pt x="1172" y="1056"/>
                  </a:lnTo>
                  <a:lnTo>
                    <a:pt x="1174" y="1052"/>
                  </a:lnTo>
                  <a:lnTo>
                    <a:pt x="1175" y="1051"/>
                  </a:lnTo>
                  <a:lnTo>
                    <a:pt x="1177" y="1049"/>
                  </a:lnTo>
                  <a:lnTo>
                    <a:pt x="1180" y="1048"/>
                  </a:lnTo>
                  <a:lnTo>
                    <a:pt x="1185" y="1044"/>
                  </a:lnTo>
                  <a:lnTo>
                    <a:pt x="1189" y="1043"/>
                  </a:lnTo>
                  <a:lnTo>
                    <a:pt x="1196" y="1041"/>
                  </a:lnTo>
                  <a:lnTo>
                    <a:pt x="1202" y="1038"/>
                  </a:lnTo>
                  <a:lnTo>
                    <a:pt x="1208" y="1037"/>
                  </a:lnTo>
                  <a:lnTo>
                    <a:pt x="1213" y="1035"/>
                  </a:lnTo>
                  <a:lnTo>
                    <a:pt x="1215" y="1033"/>
                  </a:lnTo>
                  <a:lnTo>
                    <a:pt x="1218" y="1032"/>
                  </a:lnTo>
                  <a:lnTo>
                    <a:pt x="1221" y="1030"/>
                  </a:lnTo>
                  <a:lnTo>
                    <a:pt x="1222" y="1029"/>
                  </a:lnTo>
                  <a:lnTo>
                    <a:pt x="1224" y="1027"/>
                  </a:lnTo>
                  <a:lnTo>
                    <a:pt x="1226" y="1024"/>
                  </a:lnTo>
                  <a:lnTo>
                    <a:pt x="1227" y="1022"/>
                  </a:lnTo>
                  <a:lnTo>
                    <a:pt x="1229" y="1019"/>
                  </a:lnTo>
                  <a:lnTo>
                    <a:pt x="1229" y="1016"/>
                  </a:lnTo>
                  <a:lnTo>
                    <a:pt x="1229" y="1015"/>
                  </a:lnTo>
                  <a:lnTo>
                    <a:pt x="1229" y="1010"/>
                  </a:lnTo>
                  <a:lnTo>
                    <a:pt x="1229" y="1007"/>
                  </a:lnTo>
                  <a:lnTo>
                    <a:pt x="1224" y="1007"/>
                  </a:lnTo>
                  <a:lnTo>
                    <a:pt x="1218" y="1005"/>
                  </a:lnTo>
                  <a:lnTo>
                    <a:pt x="1215" y="1003"/>
                  </a:lnTo>
                  <a:lnTo>
                    <a:pt x="1210" y="1002"/>
                  </a:lnTo>
                  <a:lnTo>
                    <a:pt x="1205" y="999"/>
                  </a:lnTo>
                  <a:lnTo>
                    <a:pt x="1200" y="996"/>
                  </a:lnTo>
                  <a:lnTo>
                    <a:pt x="1197" y="994"/>
                  </a:lnTo>
                  <a:lnTo>
                    <a:pt x="1194" y="989"/>
                  </a:lnTo>
                  <a:lnTo>
                    <a:pt x="1192" y="986"/>
                  </a:lnTo>
                  <a:lnTo>
                    <a:pt x="1189" y="981"/>
                  </a:lnTo>
                  <a:lnTo>
                    <a:pt x="1188" y="975"/>
                  </a:lnTo>
                  <a:lnTo>
                    <a:pt x="1185" y="970"/>
                  </a:lnTo>
                  <a:lnTo>
                    <a:pt x="1185" y="966"/>
                  </a:lnTo>
                  <a:lnTo>
                    <a:pt x="1183" y="961"/>
                  </a:lnTo>
                  <a:lnTo>
                    <a:pt x="1181" y="955"/>
                  </a:lnTo>
                  <a:lnTo>
                    <a:pt x="1181" y="950"/>
                  </a:lnTo>
                  <a:close/>
                  <a:moveTo>
                    <a:pt x="1181" y="950"/>
                  </a:moveTo>
                  <a:lnTo>
                    <a:pt x="1181" y="950"/>
                  </a:lnTo>
                  <a:close/>
                  <a:moveTo>
                    <a:pt x="1004" y="49"/>
                  </a:moveTo>
                  <a:lnTo>
                    <a:pt x="1004" y="59"/>
                  </a:lnTo>
                  <a:lnTo>
                    <a:pt x="1006" y="60"/>
                  </a:lnTo>
                  <a:lnTo>
                    <a:pt x="1008" y="62"/>
                  </a:lnTo>
                  <a:lnTo>
                    <a:pt x="1011" y="62"/>
                  </a:lnTo>
                  <a:lnTo>
                    <a:pt x="1012" y="62"/>
                  </a:lnTo>
                  <a:lnTo>
                    <a:pt x="1016" y="60"/>
                  </a:lnTo>
                  <a:lnTo>
                    <a:pt x="1019" y="59"/>
                  </a:lnTo>
                  <a:lnTo>
                    <a:pt x="1020" y="57"/>
                  </a:lnTo>
                  <a:lnTo>
                    <a:pt x="1022" y="56"/>
                  </a:lnTo>
                  <a:lnTo>
                    <a:pt x="1022" y="54"/>
                  </a:lnTo>
                  <a:lnTo>
                    <a:pt x="1019" y="54"/>
                  </a:lnTo>
                  <a:lnTo>
                    <a:pt x="1017" y="54"/>
                  </a:lnTo>
                  <a:lnTo>
                    <a:pt x="1014" y="52"/>
                  </a:lnTo>
                  <a:lnTo>
                    <a:pt x="1012" y="52"/>
                  </a:lnTo>
                  <a:lnTo>
                    <a:pt x="1008" y="51"/>
                  </a:lnTo>
                  <a:lnTo>
                    <a:pt x="1004" y="49"/>
                  </a:lnTo>
                  <a:close/>
                  <a:moveTo>
                    <a:pt x="946" y="10"/>
                  </a:moveTo>
                  <a:lnTo>
                    <a:pt x="946" y="0"/>
                  </a:lnTo>
                  <a:lnTo>
                    <a:pt x="940" y="0"/>
                  </a:lnTo>
                  <a:lnTo>
                    <a:pt x="935" y="0"/>
                  </a:lnTo>
                  <a:lnTo>
                    <a:pt x="932" y="0"/>
                  </a:lnTo>
                  <a:lnTo>
                    <a:pt x="927" y="0"/>
                  </a:lnTo>
                  <a:lnTo>
                    <a:pt x="924" y="2"/>
                  </a:lnTo>
                  <a:lnTo>
                    <a:pt x="919" y="5"/>
                  </a:lnTo>
                  <a:lnTo>
                    <a:pt x="918" y="7"/>
                  </a:lnTo>
                  <a:lnTo>
                    <a:pt x="916" y="8"/>
                  </a:lnTo>
                  <a:lnTo>
                    <a:pt x="914" y="10"/>
                  </a:lnTo>
                  <a:lnTo>
                    <a:pt x="913" y="11"/>
                  </a:lnTo>
                  <a:lnTo>
                    <a:pt x="911" y="13"/>
                  </a:lnTo>
                  <a:lnTo>
                    <a:pt x="911" y="16"/>
                  </a:lnTo>
                  <a:lnTo>
                    <a:pt x="911" y="18"/>
                  </a:lnTo>
                  <a:lnTo>
                    <a:pt x="911" y="21"/>
                  </a:lnTo>
                  <a:lnTo>
                    <a:pt x="911" y="22"/>
                  </a:lnTo>
                  <a:lnTo>
                    <a:pt x="911" y="26"/>
                  </a:lnTo>
                  <a:lnTo>
                    <a:pt x="913" y="26"/>
                  </a:lnTo>
                  <a:lnTo>
                    <a:pt x="916" y="29"/>
                  </a:lnTo>
                  <a:lnTo>
                    <a:pt x="918" y="29"/>
                  </a:lnTo>
                  <a:lnTo>
                    <a:pt x="921" y="29"/>
                  </a:lnTo>
                  <a:lnTo>
                    <a:pt x="922" y="30"/>
                  </a:lnTo>
                  <a:lnTo>
                    <a:pt x="924" y="30"/>
                  </a:lnTo>
                  <a:lnTo>
                    <a:pt x="932" y="30"/>
                  </a:lnTo>
                  <a:lnTo>
                    <a:pt x="938" y="29"/>
                  </a:lnTo>
                  <a:lnTo>
                    <a:pt x="941" y="29"/>
                  </a:lnTo>
                  <a:lnTo>
                    <a:pt x="944" y="29"/>
                  </a:lnTo>
                  <a:lnTo>
                    <a:pt x="949" y="29"/>
                  </a:lnTo>
                  <a:lnTo>
                    <a:pt x="952" y="30"/>
                  </a:lnTo>
                  <a:lnTo>
                    <a:pt x="952" y="21"/>
                  </a:lnTo>
                  <a:lnTo>
                    <a:pt x="949" y="21"/>
                  </a:lnTo>
                  <a:lnTo>
                    <a:pt x="946" y="19"/>
                  </a:lnTo>
                  <a:lnTo>
                    <a:pt x="944" y="19"/>
                  </a:lnTo>
                  <a:lnTo>
                    <a:pt x="943" y="18"/>
                  </a:lnTo>
                  <a:lnTo>
                    <a:pt x="941" y="16"/>
                  </a:lnTo>
                  <a:lnTo>
                    <a:pt x="944" y="16"/>
                  </a:lnTo>
                  <a:lnTo>
                    <a:pt x="944" y="13"/>
                  </a:lnTo>
                  <a:lnTo>
                    <a:pt x="946" y="10"/>
                  </a:lnTo>
                  <a:close/>
                  <a:moveTo>
                    <a:pt x="1076" y="109"/>
                  </a:moveTo>
                  <a:lnTo>
                    <a:pt x="1074" y="109"/>
                  </a:lnTo>
                  <a:lnTo>
                    <a:pt x="1074" y="112"/>
                  </a:lnTo>
                  <a:lnTo>
                    <a:pt x="1072" y="112"/>
                  </a:lnTo>
                  <a:lnTo>
                    <a:pt x="1072" y="114"/>
                  </a:lnTo>
                  <a:lnTo>
                    <a:pt x="1069" y="115"/>
                  </a:lnTo>
                  <a:lnTo>
                    <a:pt x="1065" y="117"/>
                  </a:lnTo>
                  <a:lnTo>
                    <a:pt x="1061" y="119"/>
                  </a:lnTo>
                  <a:lnTo>
                    <a:pt x="1058" y="120"/>
                  </a:lnTo>
                  <a:lnTo>
                    <a:pt x="1057" y="122"/>
                  </a:lnTo>
                  <a:lnTo>
                    <a:pt x="1057" y="123"/>
                  </a:lnTo>
                  <a:lnTo>
                    <a:pt x="1055" y="123"/>
                  </a:lnTo>
                  <a:lnTo>
                    <a:pt x="1055" y="125"/>
                  </a:lnTo>
                  <a:lnTo>
                    <a:pt x="1055" y="128"/>
                  </a:lnTo>
                  <a:lnTo>
                    <a:pt x="1057" y="130"/>
                  </a:lnTo>
                  <a:lnTo>
                    <a:pt x="1058" y="131"/>
                  </a:lnTo>
                  <a:lnTo>
                    <a:pt x="1060" y="133"/>
                  </a:lnTo>
                  <a:lnTo>
                    <a:pt x="1061" y="133"/>
                  </a:lnTo>
                  <a:lnTo>
                    <a:pt x="1063" y="133"/>
                  </a:lnTo>
                  <a:lnTo>
                    <a:pt x="1065" y="133"/>
                  </a:lnTo>
                  <a:lnTo>
                    <a:pt x="1066" y="133"/>
                  </a:lnTo>
                  <a:lnTo>
                    <a:pt x="1071" y="131"/>
                  </a:lnTo>
                  <a:lnTo>
                    <a:pt x="1076" y="130"/>
                  </a:lnTo>
                  <a:lnTo>
                    <a:pt x="1080" y="126"/>
                  </a:lnTo>
                  <a:lnTo>
                    <a:pt x="1085" y="125"/>
                  </a:lnTo>
                  <a:lnTo>
                    <a:pt x="1088" y="122"/>
                  </a:lnTo>
                  <a:lnTo>
                    <a:pt x="1090" y="120"/>
                  </a:lnTo>
                  <a:lnTo>
                    <a:pt x="1093" y="117"/>
                  </a:lnTo>
                  <a:lnTo>
                    <a:pt x="1093" y="115"/>
                  </a:lnTo>
                  <a:lnTo>
                    <a:pt x="1093" y="114"/>
                  </a:lnTo>
                  <a:lnTo>
                    <a:pt x="1091" y="112"/>
                  </a:lnTo>
                  <a:lnTo>
                    <a:pt x="1088" y="112"/>
                  </a:lnTo>
                  <a:lnTo>
                    <a:pt x="1087" y="111"/>
                  </a:lnTo>
                  <a:lnTo>
                    <a:pt x="1083" y="109"/>
                  </a:lnTo>
                  <a:lnTo>
                    <a:pt x="1080" y="109"/>
                  </a:lnTo>
                  <a:lnTo>
                    <a:pt x="1079" y="109"/>
                  </a:lnTo>
                  <a:lnTo>
                    <a:pt x="1076" y="109"/>
                  </a:lnTo>
                  <a:close/>
                </a:path>
              </a:pathLst>
            </a:custGeom>
            <a:solidFill>
              <a:srgbClr val="0070C0">
                <a:alpha val="10000"/>
              </a:srgbClr>
            </a:solidFill>
            <a:ln w="9525">
              <a:solidFill>
                <a:srgbClr val="FFFFFF">
                  <a:alpha val="0"/>
                </a:srgbClr>
              </a:solidFill>
              <a:round/>
              <a:headEnd/>
              <a:tailEnd/>
            </a:ln>
          </p:spPr>
          <p:txBody>
            <a:bodyPr lIns="91413" tIns="45707" rIns="91413" bIns="45707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372">
                <a:defRPr/>
              </a:pPr>
              <a:endParaRPr lang="ru-RU" sz="1700" dirty="0">
                <a:solidFill>
                  <a:srgbClr val="C7E0FB"/>
                </a:solidFill>
                <a:latin typeface="Arial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873C5EC1-2C96-4FFE-87EC-EA3EAEBEDCC4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 rot="389746">
              <a:off x="13605595" y="2762971"/>
              <a:ext cx="6504856" cy="7844200"/>
            </a:xfrm>
            <a:custGeom>
              <a:avLst/>
              <a:gdLst>
                <a:gd name="T0" fmla="*/ 2147483647 w 2367"/>
                <a:gd name="T1" fmla="*/ 2147483647 h 3110"/>
                <a:gd name="T2" fmla="*/ 2147483647 w 2367"/>
                <a:gd name="T3" fmla="*/ 2147483647 h 3110"/>
                <a:gd name="T4" fmla="*/ 2147483647 w 2367"/>
                <a:gd name="T5" fmla="*/ 2147483647 h 3110"/>
                <a:gd name="T6" fmla="*/ 2147483647 w 2367"/>
                <a:gd name="T7" fmla="*/ 2147483647 h 3110"/>
                <a:gd name="T8" fmla="*/ 2147483647 w 2367"/>
                <a:gd name="T9" fmla="*/ 2147483647 h 3110"/>
                <a:gd name="T10" fmla="*/ 2147483647 w 2367"/>
                <a:gd name="T11" fmla="*/ 2147483647 h 3110"/>
                <a:gd name="T12" fmla="*/ 2147483647 w 2367"/>
                <a:gd name="T13" fmla="*/ 2147483647 h 3110"/>
                <a:gd name="T14" fmla="*/ 2147483647 w 2367"/>
                <a:gd name="T15" fmla="*/ 2147483647 h 3110"/>
                <a:gd name="T16" fmla="*/ 2147483647 w 2367"/>
                <a:gd name="T17" fmla="*/ 2147483647 h 3110"/>
                <a:gd name="T18" fmla="*/ 2147483647 w 2367"/>
                <a:gd name="T19" fmla="*/ 2147483647 h 3110"/>
                <a:gd name="T20" fmla="*/ 2147483647 w 2367"/>
                <a:gd name="T21" fmla="*/ 2147483647 h 3110"/>
                <a:gd name="T22" fmla="*/ 2147483647 w 2367"/>
                <a:gd name="T23" fmla="*/ 2147483647 h 3110"/>
                <a:gd name="T24" fmla="*/ 2147483647 w 2367"/>
                <a:gd name="T25" fmla="*/ 2147483647 h 3110"/>
                <a:gd name="T26" fmla="*/ 2147483647 w 2367"/>
                <a:gd name="T27" fmla="*/ 2147483647 h 3110"/>
                <a:gd name="T28" fmla="*/ 2147483647 w 2367"/>
                <a:gd name="T29" fmla="*/ 2147483647 h 3110"/>
                <a:gd name="T30" fmla="*/ 2147483647 w 2367"/>
                <a:gd name="T31" fmla="*/ 2147483647 h 3110"/>
                <a:gd name="T32" fmla="*/ 2147483647 w 2367"/>
                <a:gd name="T33" fmla="*/ 2147483647 h 3110"/>
                <a:gd name="T34" fmla="*/ 2147483647 w 2367"/>
                <a:gd name="T35" fmla="*/ 2147483647 h 3110"/>
                <a:gd name="T36" fmla="*/ 2147483647 w 2367"/>
                <a:gd name="T37" fmla="*/ 2147483647 h 3110"/>
                <a:gd name="T38" fmla="*/ 2147483647 w 2367"/>
                <a:gd name="T39" fmla="*/ 2147483647 h 3110"/>
                <a:gd name="T40" fmla="*/ 2147483647 w 2367"/>
                <a:gd name="T41" fmla="*/ 2147483647 h 3110"/>
                <a:gd name="T42" fmla="*/ 2147483647 w 2367"/>
                <a:gd name="T43" fmla="*/ 2147483647 h 3110"/>
                <a:gd name="T44" fmla="*/ 2147483647 w 2367"/>
                <a:gd name="T45" fmla="*/ 2147483647 h 3110"/>
                <a:gd name="T46" fmla="*/ 2147483647 w 2367"/>
                <a:gd name="T47" fmla="*/ 2147483647 h 3110"/>
                <a:gd name="T48" fmla="*/ 2147483647 w 2367"/>
                <a:gd name="T49" fmla="*/ 2147483647 h 3110"/>
                <a:gd name="T50" fmla="*/ 2147483647 w 2367"/>
                <a:gd name="T51" fmla="*/ 2147483647 h 3110"/>
                <a:gd name="T52" fmla="*/ 2147483647 w 2367"/>
                <a:gd name="T53" fmla="*/ 2147483647 h 3110"/>
                <a:gd name="T54" fmla="*/ 2147483647 w 2367"/>
                <a:gd name="T55" fmla="*/ 2147483647 h 3110"/>
                <a:gd name="T56" fmla="*/ 2147483647 w 2367"/>
                <a:gd name="T57" fmla="*/ 2147483647 h 3110"/>
                <a:gd name="T58" fmla="*/ 2147483647 w 2367"/>
                <a:gd name="T59" fmla="*/ 2147483647 h 3110"/>
                <a:gd name="T60" fmla="*/ 2147483647 w 2367"/>
                <a:gd name="T61" fmla="*/ 2147483647 h 3110"/>
                <a:gd name="T62" fmla="*/ 2147483647 w 2367"/>
                <a:gd name="T63" fmla="*/ 2147483647 h 3110"/>
                <a:gd name="T64" fmla="*/ 2147483647 w 2367"/>
                <a:gd name="T65" fmla="*/ 2147483647 h 3110"/>
                <a:gd name="T66" fmla="*/ 2147483647 w 2367"/>
                <a:gd name="T67" fmla="*/ 2147483647 h 3110"/>
                <a:gd name="T68" fmla="*/ 2147483647 w 2367"/>
                <a:gd name="T69" fmla="*/ 2147483647 h 3110"/>
                <a:gd name="T70" fmla="*/ 2147483647 w 2367"/>
                <a:gd name="T71" fmla="*/ 2147483647 h 3110"/>
                <a:gd name="T72" fmla="*/ 2147483647 w 2367"/>
                <a:gd name="T73" fmla="*/ 2147483647 h 3110"/>
                <a:gd name="T74" fmla="*/ 2147483647 w 2367"/>
                <a:gd name="T75" fmla="*/ 2147483647 h 3110"/>
                <a:gd name="T76" fmla="*/ 2147483647 w 2367"/>
                <a:gd name="T77" fmla="*/ 2147483647 h 3110"/>
                <a:gd name="T78" fmla="*/ 2147483647 w 2367"/>
                <a:gd name="T79" fmla="*/ 2147483647 h 3110"/>
                <a:gd name="T80" fmla="*/ 2147483647 w 2367"/>
                <a:gd name="T81" fmla="*/ 2147483647 h 3110"/>
                <a:gd name="T82" fmla="*/ 2147483647 w 2367"/>
                <a:gd name="T83" fmla="*/ 2147483647 h 3110"/>
                <a:gd name="T84" fmla="*/ 2147483647 w 2367"/>
                <a:gd name="T85" fmla="*/ 2147483647 h 3110"/>
                <a:gd name="T86" fmla="*/ 2147483647 w 2367"/>
                <a:gd name="T87" fmla="*/ 2147483647 h 3110"/>
                <a:gd name="T88" fmla="*/ 2147483647 w 2367"/>
                <a:gd name="T89" fmla="*/ 2147483647 h 3110"/>
                <a:gd name="T90" fmla="*/ 2147483647 w 2367"/>
                <a:gd name="T91" fmla="*/ 2147483647 h 3110"/>
                <a:gd name="T92" fmla="*/ 2147483647 w 2367"/>
                <a:gd name="T93" fmla="*/ 2147483647 h 3110"/>
                <a:gd name="T94" fmla="*/ 2147483647 w 2367"/>
                <a:gd name="T95" fmla="*/ 2147483647 h 3110"/>
                <a:gd name="T96" fmla="*/ 2147483647 w 2367"/>
                <a:gd name="T97" fmla="*/ 2147483647 h 3110"/>
                <a:gd name="T98" fmla="*/ 2147483647 w 2367"/>
                <a:gd name="T99" fmla="*/ 2147483647 h 3110"/>
                <a:gd name="T100" fmla="*/ 2147483647 w 2367"/>
                <a:gd name="T101" fmla="*/ 2147483647 h 3110"/>
                <a:gd name="T102" fmla="*/ 2147483647 w 2367"/>
                <a:gd name="T103" fmla="*/ 2147483647 h 3110"/>
                <a:gd name="T104" fmla="*/ 2147483647 w 2367"/>
                <a:gd name="T105" fmla="*/ 2147483647 h 3110"/>
                <a:gd name="T106" fmla="*/ 2147483647 w 2367"/>
                <a:gd name="T107" fmla="*/ 2147483647 h 3110"/>
                <a:gd name="T108" fmla="*/ 2147483647 w 2367"/>
                <a:gd name="T109" fmla="*/ 2147483647 h 3110"/>
                <a:gd name="T110" fmla="*/ 2147483647 w 2367"/>
                <a:gd name="T111" fmla="*/ 2147483647 h 3110"/>
                <a:gd name="T112" fmla="*/ 2147483647 w 2367"/>
                <a:gd name="T113" fmla="*/ 2147483647 h 3110"/>
                <a:gd name="T114" fmla="*/ 2147483647 w 2367"/>
                <a:gd name="T115" fmla="*/ 2147483647 h 3110"/>
                <a:gd name="T116" fmla="*/ 2147483647 w 2367"/>
                <a:gd name="T117" fmla="*/ 2147483647 h 3110"/>
                <a:gd name="T118" fmla="*/ 2147483647 w 2367"/>
                <a:gd name="T119" fmla="*/ 2147483647 h 3110"/>
                <a:gd name="T120" fmla="*/ 2147483647 w 2367"/>
                <a:gd name="T121" fmla="*/ 2147483647 h 3110"/>
                <a:gd name="T122" fmla="*/ 2147483647 w 2367"/>
                <a:gd name="T123" fmla="*/ 2147483647 h 3110"/>
                <a:gd name="T124" fmla="*/ 2147483647 w 2367"/>
                <a:gd name="T125" fmla="*/ 2147483647 h 311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367"/>
                <a:gd name="T190" fmla="*/ 0 h 3110"/>
                <a:gd name="T191" fmla="*/ 2367 w 2367"/>
                <a:gd name="T192" fmla="*/ 3110 h 311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367" h="3110">
                  <a:moveTo>
                    <a:pt x="1422" y="2128"/>
                  </a:moveTo>
                  <a:lnTo>
                    <a:pt x="1424" y="2126"/>
                  </a:lnTo>
                  <a:lnTo>
                    <a:pt x="1427" y="2126"/>
                  </a:lnTo>
                  <a:lnTo>
                    <a:pt x="1428" y="2126"/>
                  </a:lnTo>
                  <a:lnTo>
                    <a:pt x="1431" y="2126"/>
                  </a:lnTo>
                  <a:lnTo>
                    <a:pt x="1433" y="2129"/>
                  </a:lnTo>
                  <a:lnTo>
                    <a:pt x="1436" y="2129"/>
                  </a:lnTo>
                  <a:lnTo>
                    <a:pt x="1436" y="2109"/>
                  </a:lnTo>
                  <a:lnTo>
                    <a:pt x="1431" y="2113"/>
                  </a:lnTo>
                  <a:lnTo>
                    <a:pt x="1428" y="2118"/>
                  </a:lnTo>
                  <a:lnTo>
                    <a:pt x="1425" y="2123"/>
                  </a:lnTo>
                  <a:lnTo>
                    <a:pt x="1422" y="2128"/>
                  </a:lnTo>
                  <a:close/>
                  <a:moveTo>
                    <a:pt x="1638" y="2601"/>
                  </a:moveTo>
                  <a:lnTo>
                    <a:pt x="1635" y="2604"/>
                  </a:lnTo>
                  <a:lnTo>
                    <a:pt x="1630" y="2609"/>
                  </a:lnTo>
                  <a:lnTo>
                    <a:pt x="1626" y="2620"/>
                  </a:lnTo>
                  <a:lnTo>
                    <a:pt x="1621" y="2632"/>
                  </a:lnTo>
                  <a:lnTo>
                    <a:pt x="1615" y="2643"/>
                  </a:lnTo>
                  <a:lnTo>
                    <a:pt x="1610" y="2655"/>
                  </a:lnTo>
                  <a:lnTo>
                    <a:pt x="1604" y="2667"/>
                  </a:lnTo>
                  <a:lnTo>
                    <a:pt x="1599" y="2678"/>
                  </a:lnTo>
                  <a:lnTo>
                    <a:pt x="1593" y="2688"/>
                  </a:lnTo>
                  <a:lnTo>
                    <a:pt x="1588" y="2697"/>
                  </a:lnTo>
                  <a:lnTo>
                    <a:pt x="1582" y="2705"/>
                  </a:lnTo>
                  <a:lnTo>
                    <a:pt x="1575" y="2713"/>
                  </a:lnTo>
                  <a:lnTo>
                    <a:pt x="1567" y="2719"/>
                  </a:lnTo>
                  <a:lnTo>
                    <a:pt x="1561" y="2727"/>
                  </a:lnTo>
                  <a:lnTo>
                    <a:pt x="1555" y="2732"/>
                  </a:lnTo>
                  <a:lnTo>
                    <a:pt x="1547" y="2737"/>
                  </a:lnTo>
                  <a:lnTo>
                    <a:pt x="1544" y="2740"/>
                  </a:lnTo>
                  <a:lnTo>
                    <a:pt x="1540" y="2741"/>
                  </a:lnTo>
                  <a:lnTo>
                    <a:pt x="1536" y="2743"/>
                  </a:lnTo>
                  <a:lnTo>
                    <a:pt x="1534" y="2744"/>
                  </a:lnTo>
                  <a:lnTo>
                    <a:pt x="1529" y="2744"/>
                  </a:lnTo>
                  <a:lnTo>
                    <a:pt x="1528" y="2746"/>
                  </a:lnTo>
                  <a:lnTo>
                    <a:pt x="1523" y="2746"/>
                  </a:lnTo>
                  <a:lnTo>
                    <a:pt x="1520" y="2746"/>
                  </a:lnTo>
                  <a:lnTo>
                    <a:pt x="1518" y="2746"/>
                  </a:lnTo>
                  <a:lnTo>
                    <a:pt x="1515" y="2744"/>
                  </a:lnTo>
                  <a:lnTo>
                    <a:pt x="1514" y="2744"/>
                  </a:lnTo>
                  <a:lnTo>
                    <a:pt x="1510" y="2743"/>
                  </a:lnTo>
                  <a:lnTo>
                    <a:pt x="1507" y="2741"/>
                  </a:lnTo>
                  <a:lnTo>
                    <a:pt x="1506" y="2740"/>
                  </a:lnTo>
                  <a:lnTo>
                    <a:pt x="1504" y="2737"/>
                  </a:lnTo>
                  <a:lnTo>
                    <a:pt x="1503" y="2733"/>
                  </a:lnTo>
                  <a:lnTo>
                    <a:pt x="1491" y="2711"/>
                  </a:lnTo>
                  <a:lnTo>
                    <a:pt x="1485" y="2696"/>
                  </a:lnTo>
                  <a:lnTo>
                    <a:pt x="1484" y="2694"/>
                  </a:lnTo>
                  <a:lnTo>
                    <a:pt x="1482" y="2692"/>
                  </a:lnTo>
                  <a:lnTo>
                    <a:pt x="1480" y="2691"/>
                  </a:lnTo>
                  <a:lnTo>
                    <a:pt x="1479" y="2688"/>
                  </a:lnTo>
                  <a:lnTo>
                    <a:pt x="1476" y="2688"/>
                  </a:lnTo>
                  <a:lnTo>
                    <a:pt x="1472" y="2686"/>
                  </a:lnTo>
                  <a:lnTo>
                    <a:pt x="1469" y="2686"/>
                  </a:lnTo>
                  <a:lnTo>
                    <a:pt x="1465" y="2684"/>
                  </a:lnTo>
                  <a:lnTo>
                    <a:pt x="1472" y="2669"/>
                  </a:lnTo>
                  <a:lnTo>
                    <a:pt x="1474" y="2664"/>
                  </a:lnTo>
                  <a:lnTo>
                    <a:pt x="1472" y="2667"/>
                  </a:lnTo>
                  <a:lnTo>
                    <a:pt x="1469" y="2678"/>
                  </a:lnTo>
                  <a:lnTo>
                    <a:pt x="1468" y="2681"/>
                  </a:lnTo>
                  <a:lnTo>
                    <a:pt x="1465" y="2684"/>
                  </a:lnTo>
                  <a:lnTo>
                    <a:pt x="1460" y="2684"/>
                  </a:lnTo>
                  <a:lnTo>
                    <a:pt x="1454" y="2684"/>
                  </a:lnTo>
                  <a:lnTo>
                    <a:pt x="1446" y="2684"/>
                  </a:lnTo>
                  <a:lnTo>
                    <a:pt x="1438" y="2683"/>
                  </a:lnTo>
                  <a:lnTo>
                    <a:pt x="1430" y="2683"/>
                  </a:lnTo>
                  <a:lnTo>
                    <a:pt x="1419" y="2683"/>
                  </a:lnTo>
                  <a:lnTo>
                    <a:pt x="1409" y="2683"/>
                  </a:lnTo>
                  <a:lnTo>
                    <a:pt x="1398" y="2683"/>
                  </a:lnTo>
                  <a:lnTo>
                    <a:pt x="1392" y="2683"/>
                  </a:lnTo>
                  <a:lnTo>
                    <a:pt x="1386" y="2684"/>
                  </a:lnTo>
                  <a:lnTo>
                    <a:pt x="1379" y="2686"/>
                  </a:lnTo>
                  <a:lnTo>
                    <a:pt x="1375" y="2688"/>
                  </a:lnTo>
                  <a:lnTo>
                    <a:pt x="1365" y="2694"/>
                  </a:lnTo>
                  <a:lnTo>
                    <a:pt x="1354" y="2700"/>
                  </a:lnTo>
                  <a:lnTo>
                    <a:pt x="1351" y="2703"/>
                  </a:lnTo>
                  <a:lnTo>
                    <a:pt x="1346" y="2707"/>
                  </a:lnTo>
                  <a:lnTo>
                    <a:pt x="1341" y="2708"/>
                  </a:lnTo>
                  <a:lnTo>
                    <a:pt x="1337" y="2710"/>
                  </a:lnTo>
                  <a:lnTo>
                    <a:pt x="1333" y="2711"/>
                  </a:lnTo>
                  <a:lnTo>
                    <a:pt x="1332" y="2711"/>
                  </a:lnTo>
                  <a:lnTo>
                    <a:pt x="1329" y="2711"/>
                  </a:lnTo>
                  <a:lnTo>
                    <a:pt x="1326" y="2711"/>
                  </a:lnTo>
                  <a:lnTo>
                    <a:pt x="1324" y="2711"/>
                  </a:lnTo>
                  <a:lnTo>
                    <a:pt x="1321" y="2711"/>
                  </a:lnTo>
                  <a:lnTo>
                    <a:pt x="1318" y="2710"/>
                  </a:lnTo>
                  <a:lnTo>
                    <a:pt x="1314" y="2708"/>
                  </a:lnTo>
                  <a:lnTo>
                    <a:pt x="1311" y="2707"/>
                  </a:lnTo>
                  <a:lnTo>
                    <a:pt x="1305" y="2703"/>
                  </a:lnTo>
                  <a:lnTo>
                    <a:pt x="1300" y="2700"/>
                  </a:lnTo>
                  <a:lnTo>
                    <a:pt x="1296" y="2696"/>
                  </a:lnTo>
                  <a:lnTo>
                    <a:pt x="1283" y="2686"/>
                  </a:lnTo>
                  <a:lnTo>
                    <a:pt x="1270" y="2673"/>
                  </a:lnTo>
                  <a:lnTo>
                    <a:pt x="1243" y="2645"/>
                  </a:lnTo>
                  <a:lnTo>
                    <a:pt x="1213" y="2613"/>
                  </a:lnTo>
                  <a:lnTo>
                    <a:pt x="1198" y="2599"/>
                  </a:lnTo>
                  <a:lnTo>
                    <a:pt x="1183" y="2584"/>
                  </a:lnTo>
                  <a:lnTo>
                    <a:pt x="1175" y="2576"/>
                  </a:lnTo>
                  <a:lnTo>
                    <a:pt x="1166" y="2569"/>
                  </a:lnTo>
                  <a:lnTo>
                    <a:pt x="1158" y="2563"/>
                  </a:lnTo>
                  <a:lnTo>
                    <a:pt x="1150" y="2557"/>
                  </a:lnTo>
                  <a:lnTo>
                    <a:pt x="1142" y="2550"/>
                  </a:lnTo>
                  <a:lnTo>
                    <a:pt x="1134" y="2546"/>
                  </a:lnTo>
                  <a:lnTo>
                    <a:pt x="1126" y="2541"/>
                  </a:lnTo>
                  <a:lnTo>
                    <a:pt x="1119" y="2538"/>
                  </a:lnTo>
                  <a:lnTo>
                    <a:pt x="1111" y="2533"/>
                  </a:lnTo>
                  <a:lnTo>
                    <a:pt x="1103" y="2531"/>
                  </a:lnTo>
                  <a:lnTo>
                    <a:pt x="1095" y="2530"/>
                  </a:lnTo>
                  <a:lnTo>
                    <a:pt x="1087" y="2527"/>
                  </a:lnTo>
                  <a:lnTo>
                    <a:pt x="1085" y="2527"/>
                  </a:lnTo>
                  <a:lnTo>
                    <a:pt x="1082" y="2527"/>
                  </a:lnTo>
                  <a:lnTo>
                    <a:pt x="1081" y="2528"/>
                  </a:lnTo>
                  <a:lnTo>
                    <a:pt x="1079" y="2530"/>
                  </a:lnTo>
                  <a:lnTo>
                    <a:pt x="1074" y="2531"/>
                  </a:lnTo>
                  <a:lnTo>
                    <a:pt x="1068" y="2535"/>
                  </a:lnTo>
                  <a:lnTo>
                    <a:pt x="1062" y="2535"/>
                  </a:lnTo>
                  <a:lnTo>
                    <a:pt x="1057" y="2538"/>
                  </a:lnTo>
                  <a:lnTo>
                    <a:pt x="1051" y="2538"/>
                  </a:lnTo>
                  <a:lnTo>
                    <a:pt x="1043" y="2539"/>
                  </a:lnTo>
                  <a:lnTo>
                    <a:pt x="1035" y="2541"/>
                  </a:lnTo>
                  <a:lnTo>
                    <a:pt x="1024" y="2543"/>
                  </a:lnTo>
                  <a:lnTo>
                    <a:pt x="1013" y="2544"/>
                  </a:lnTo>
                  <a:lnTo>
                    <a:pt x="999" y="2544"/>
                  </a:lnTo>
                  <a:lnTo>
                    <a:pt x="994" y="2546"/>
                  </a:lnTo>
                  <a:lnTo>
                    <a:pt x="987" y="2547"/>
                  </a:lnTo>
                  <a:lnTo>
                    <a:pt x="981" y="2550"/>
                  </a:lnTo>
                  <a:lnTo>
                    <a:pt x="973" y="2554"/>
                  </a:lnTo>
                  <a:lnTo>
                    <a:pt x="965" y="2558"/>
                  </a:lnTo>
                  <a:lnTo>
                    <a:pt x="957" y="2563"/>
                  </a:lnTo>
                  <a:lnTo>
                    <a:pt x="948" y="2568"/>
                  </a:lnTo>
                  <a:lnTo>
                    <a:pt x="940" y="2574"/>
                  </a:lnTo>
                  <a:lnTo>
                    <a:pt x="938" y="2572"/>
                  </a:lnTo>
                  <a:lnTo>
                    <a:pt x="935" y="2568"/>
                  </a:lnTo>
                  <a:lnTo>
                    <a:pt x="932" y="2563"/>
                  </a:lnTo>
                  <a:lnTo>
                    <a:pt x="931" y="2560"/>
                  </a:lnTo>
                  <a:lnTo>
                    <a:pt x="927" y="2558"/>
                  </a:lnTo>
                  <a:lnTo>
                    <a:pt x="924" y="2555"/>
                  </a:lnTo>
                  <a:lnTo>
                    <a:pt x="921" y="2554"/>
                  </a:lnTo>
                  <a:lnTo>
                    <a:pt x="920" y="2550"/>
                  </a:lnTo>
                  <a:lnTo>
                    <a:pt x="916" y="2549"/>
                  </a:lnTo>
                  <a:lnTo>
                    <a:pt x="915" y="2547"/>
                  </a:lnTo>
                  <a:lnTo>
                    <a:pt x="912" y="2541"/>
                  </a:lnTo>
                  <a:lnTo>
                    <a:pt x="905" y="2535"/>
                  </a:lnTo>
                  <a:lnTo>
                    <a:pt x="901" y="2531"/>
                  </a:lnTo>
                  <a:lnTo>
                    <a:pt x="899" y="2528"/>
                  </a:lnTo>
                  <a:lnTo>
                    <a:pt x="899" y="2527"/>
                  </a:lnTo>
                  <a:lnTo>
                    <a:pt x="897" y="2527"/>
                  </a:lnTo>
                  <a:lnTo>
                    <a:pt x="897" y="2525"/>
                  </a:lnTo>
                  <a:lnTo>
                    <a:pt x="897" y="2524"/>
                  </a:lnTo>
                  <a:lnTo>
                    <a:pt x="897" y="2522"/>
                  </a:lnTo>
                  <a:lnTo>
                    <a:pt x="899" y="2520"/>
                  </a:lnTo>
                  <a:lnTo>
                    <a:pt x="901" y="2517"/>
                  </a:lnTo>
                  <a:lnTo>
                    <a:pt x="905" y="2517"/>
                  </a:lnTo>
                  <a:lnTo>
                    <a:pt x="907" y="2516"/>
                  </a:lnTo>
                  <a:lnTo>
                    <a:pt x="908" y="2514"/>
                  </a:lnTo>
                  <a:lnTo>
                    <a:pt x="910" y="2514"/>
                  </a:lnTo>
                  <a:lnTo>
                    <a:pt x="912" y="2513"/>
                  </a:lnTo>
                  <a:lnTo>
                    <a:pt x="912" y="2511"/>
                  </a:lnTo>
                  <a:lnTo>
                    <a:pt x="912" y="2509"/>
                  </a:lnTo>
                  <a:lnTo>
                    <a:pt x="910" y="2506"/>
                  </a:lnTo>
                  <a:lnTo>
                    <a:pt x="908" y="2505"/>
                  </a:lnTo>
                  <a:lnTo>
                    <a:pt x="905" y="2502"/>
                  </a:lnTo>
                  <a:lnTo>
                    <a:pt x="901" y="2500"/>
                  </a:lnTo>
                  <a:lnTo>
                    <a:pt x="896" y="2494"/>
                  </a:lnTo>
                  <a:lnTo>
                    <a:pt x="891" y="2492"/>
                  </a:lnTo>
                  <a:lnTo>
                    <a:pt x="888" y="2489"/>
                  </a:lnTo>
                  <a:lnTo>
                    <a:pt x="888" y="2487"/>
                  </a:lnTo>
                  <a:lnTo>
                    <a:pt x="888" y="2486"/>
                  </a:lnTo>
                  <a:lnTo>
                    <a:pt x="888" y="2484"/>
                  </a:lnTo>
                  <a:lnTo>
                    <a:pt x="889" y="2481"/>
                  </a:lnTo>
                  <a:lnTo>
                    <a:pt x="891" y="2479"/>
                  </a:lnTo>
                  <a:lnTo>
                    <a:pt x="889" y="2476"/>
                  </a:lnTo>
                  <a:lnTo>
                    <a:pt x="888" y="2472"/>
                  </a:lnTo>
                  <a:lnTo>
                    <a:pt x="888" y="2467"/>
                  </a:lnTo>
                  <a:lnTo>
                    <a:pt x="885" y="2464"/>
                  </a:lnTo>
                  <a:lnTo>
                    <a:pt x="883" y="2459"/>
                  </a:lnTo>
                  <a:lnTo>
                    <a:pt x="878" y="2453"/>
                  </a:lnTo>
                  <a:lnTo>
                    <a:pt x="877" y="2448"/>
                  </a:lnTo>
                  <a:lnTo>
                    <a:pt x="874" y="2443"/>
                  </a:lnTo>
                  <a:lnTo>
                    <a:pt x="871" y="2440"/>
                  </a:lnTo>
                  <a:lnTo>
                    <a:pt x="869" y="2437"/>
                  </a:lnTo>
                  <a:lnTo>
                    <a:pt x="867" y="2435"/>
                  </a:lnTo>
                  <a:lnTo>
                    <a:pt x="866" y="2435"/>
                  </a:lnTo>
                  <a:lnTo>
                    <a:pt x="864" y="2435"/>
                  </a:lnTo>
                  <a:lnTo>
                    <a:pt x="863" y="2437"/>
                  </a:lnTo>
                  <a:lnTo>
                    <a:pt x="861" y="2438"/>
                  </a:lnTo>
                  <a:lnTo>
                    <a:pt x="859" y="2438"/>
                  </a:lnTo>
                  <a:lnTo>
                    <a:pt x="858" y="2440"/>
                  </a:lnTo>
                  <a:lnTo>
                    <a:pt x="858" y="2442"/>
                  </a:lnTo>
                  <a:lnTo>
                    <a:pt x="855" y="2443"/>
                  </a:lnTo>
                  <a:lnTo>
                    <a:pt x="853" y="2445"/>
                  </a:lnTo>
                  <a:lnTo>
                    <a:pt x="852" y="2445"/>
                  </a:lnTo>
                  <a:lnTo>
                    <a:pt x="850" y="2445"/>
                  </a:lnTo>
                  <a:lnTo>
                    <a:pt x="850" y="2443"/>
                  </a:lnTo>
                  <a:lnTo>
                    <a:pt x="848" y="2443"/>
                  </a:lnTo>
                  <a:lnTo>
                    <a:pt x="845" y="2442"/>
                  </a:lnTo>
                  <a:lnTo>
                    <a:pt x="844" y="2438"/>
                  </a:lnTo>
                  <a:lnTo>
                    <a:pt x="841" y="2435"/>
                  </a:lnTo>
                  <a:lnTo>
                    <a:pt x="837" y="2431"/>
                  </a:lnTo>
                  <a:lnTo>
                    <a:pt x="836" y="2426"/>
                  </a:lnTo>
                  <a:lnTo>
                    <a:pt x="834" y="2423"/>
                  </a:lnTo>
                  <a:lnTo>
                    <a:pt x="831" y="2421"/>
                  </a:lnTo>
                  <a:lnTo>
                    <a:pt x="829" y="2419"/>
                  </a:lnTo>
                  <a:lnTo>
                    <a:pt x="828" y="2419"/>
                  </a:lnTo>
                  <a:lnTo>
                    <a:pt x="826" y="2419"/>
                  </a:lnTo>
                  <a:lnTo>
                    <a:pt x="825" y="2421"/>
                  </a:lnTo>
                  <a:lnTo>
                    <a:pt x="822" y="2423"/>
                  </a:lnTo>
                  <a:lnTo>
                    <a:pt x="820" y="2423"/>
                  </a:lnTo>
                  <a:lnTo>
                    <a:pt x="815" y="2427"/>
                  </a:lnTo>
                  <a:lnTo>
                    <a:pt x="810" y="2432"/>
                  </a:lnTo>
                  <a:lnTo>
                    <a:pt x="806" y="2435"/>
                  </a:lnTo>
                  <a:lnTo>
                    <a:pt x="804" y="2437"/>
                  </a:lnTo>
                  <a:lnTo>
                    <a:pt x="801" y="2438"/>
                  </a:lnTo>
                  <a:lnTo>
                    <a:pt x="798" y="2440"/>
                  </a:lnTo>
                  <a:lnTo>
                    <a:pt x="795" y="2440"/>
                  </a:lnTo>
                  <a:lnTo>
                    <a:pt x="793" y="2440"/>
                  </a:lnTo>
                  <a:lnTo>
                    <a:pt x="790" y="2440"/>
                  </a:lnTo>
                  <a:lnTo>
                    <a:pt x="788" y="2438"/>
                  </a:lnTo>
                  <a:lnTo>
                    <a:pt x="787" y="2437"/>
                  </a:lnTo>
                  <a:lnTo>
                    <a:pt x="785" y="2435"/>
                  </a:lnTo>
                  <a:lnTo>
                    <a:pt x="784" y="2434"/>
                  </a:lnTo>
                  <a:lnTo>
                    <a:pt x="784" y="2431"/>
                  </a:lnTo>
                  <a:lnTo>
                    <a:pt x="784" y="2429"/>
                  </a:lnTo>
                  <a:lnTo>
                    <a:pt x="784" y="2426"/>
                  </a:lnTo>
                  <a:lnTo>
                    <a:pt x="785" y="2424"/>
                  </a:lnTo>
                  <a:lnTo>
                    <a:pt x="788" y="2421"/>
                  </a:lnTo>
                  <a:lnTo>
                    <a:pt x="792" y="2418"/>
                  </a:lnTo>
                  <a:lnTo>
                    <a:pt x="793" y="2415"/>
                  </a:lnTo>
                  <a:lnTo>
                    <a:pt x="793" y="2413"/>
                  </a:lnTo>
                  <a:lnTo>
                    <a:pt x="792" y="2413"/>
                  </a:lnTo>
                  <a:lnTo>
                    <a:pt x="792" y="2412"/>
                  </a:lnTo>
                  <a:lnTo>
                    <a:pt x="788" y="2410"/>
                  </a:lnTo>
                  <a:lnTo>
                    <a:pt x="785" y="2410"/>
                  </a:lnTo>
                  <a:lnTo>
                    <a:pt x="782" y="2408"/>
                  </a:lnTo>
                  <a:lnTo>
                    <a:pt x="777" y="2407"/>
                  </a:lnTo>
                  <a:lnTo>
                    <a:pt x="774" y="2405"/>
                  </a:lnTo>
                  <a:lnTo>
                    <a:pt x="773" y="2402"/>
                  </a:lnTo>
                  <a:lnTo>
                    <a:pt x="771" y="2402"/>
                  </a:lnTo>
                  <a:lnTo>
                    <a:pt x="768" y="2402"/>
                  </a:lnTo>
                  <a:lnTo>
                    <a:pt x="766" y="2402"/>
                  </a:lnTo>
                  <a:lnTo>
                    <a:pt x="763" y="2401"/>
                  </a:lnTo>
                  <a:lnTo>
                    <a:pt x="757" y="2399"/>
                  </a:lnTo>
                  <a:lnTo>
                    <a:pt x="755" y="2397"/>
                  </a:lnTo>
                  <a:lnTo>
                    <a:pt x="752" y="2394"/>
                  </a:lnTo>
                  <a:lnTo>
                    <a:pt x="752" y="2393"/>
                  </a:lnTo>
                  <a:lnTo>
                    <a:pt x="750" y="2391"/>
                  </a:lnTo>
                  <a:lnTo>
                    <a:pt x="750" y="2388"/>
                  </a:lnTo>
                  <a:lnTo>
                    <a:pt x="750" y="2386"/>
                  </a:lnTo>
                  <a:lnTo>
                    <a:pt x="750" y="2383"/>
                  </a:lnTo>
                  <a:lnTo>
                    <a:pt x="750" y="2382"/>
                  </a:lnTo>
                  <a:lnTo>
                    <a:pt x="754" y="2374"/>
                  </a:lnTo>
                  <a:lnTo>
                    <a:pt x="754" y="2372"/>
                  </a:lnTo>
                  <a:lnTo>
                    <a:pt x="750" y="2372"/>
                  </a:lnTo>
                  <a:lnTo>
                    <a:pt x="744" y="2372"/>
                  </a:lnTo>
                  <a:lnTo>
                    <a:pt x="741" y="2369"/>
                  </a:lnTo>
                  <a:lnTo>
                    <a:pt x="738" y="2369"/>
                  </a:lnTo>
                  <a:lnTo>
                    <a:pt x="733" y="2366"/>
                  </a:lnTo>
                  <a:lnTo>
                    <a:pt x="730" y="2364"/>
                  </a:lnTo>
                  <a:lnTo>
                    <a:pt x="727" y="2364"/>
                  </a:lnTo>
                  <a:lnTo>
                    <a:pt x="724" y="2361"/>
                  </a:lnTo>
                  <a:lnTo>
                    <a:pt x="722" y="2358"/>
                  </a:lnTo>
                  <a:lnTo>
                    <a:pt x="719" y="2356"/>
                  </a:lnTo>
                  <a:lnTo>
                    <a:pt x="717" y="2353"/>
                  </a:lnTo>
                  <a:lnTo>
                    <a:pt x="713" y="2345"/>
                  </a:lnTo>
                  <a:lnTo>
                    <a:pt x="708" y="2341"/>
                  </a:lnTo>
                  <a:lnTo>
                    <a:pt x="701" y="2326"/>
                  </a:lnTo>
                  <a:lnTo>
                    <a:pt x="694" y="2312"/>
                  </a:lnTo>
                  <a:lnTo>
                    <a:pt x="690" y="2306"/>
                  </a:lnTo>
                  <a:lnTo>
                    <a:pt x="686" y="2300"/>
                  </a:lnTo>
                  <a:lnTo>
                    <a:pt x="684" y="2296"/>
                  </a:lnTo>
                  <a:lnTo>
                    <a:pt x="683" y="2293"/>
                  </a:lnTo>
                  <a:lnTo>
                    <a:pt x="679" y="2290"/>
                  </a:lnTo>
                  <a:lnTo>
                    <a:pt x="678" y="2289"/>
                  </a:lnTo>
                  <a:lnTo>
                    <a:pt x="673" y="2285"/>
                  </a:lnTo>
                  <a:lnTo>
                    <a:pt x="668" y="2281"/>
                  </a:lnTo>
                  <a:lnTo>
                    <a:pt x="662" y="2278"/>
                  </a:lnTo>
                  <a:lnTo>
                    <a:pt x="656" y="2273"/>
                  </a:lnTo>
                  <a:lnTo>
                    <a:pt x="649" y="2268"/>
                  </a:lnTo>
                  <a:lnTo>
                    <a:pt x="645" y="2265"/>
                  </a:lnTo>
                  <a:lnTo>
                    <a:pt x="643" y="2262"/>
                  </a:lnTo>
                  <a:lnTo>
                    <a:pt x="640" y="2259"/>
                  </a:lnTo>
                  <a:lnTo>
                    <a:pt x="638" y="2257"/>
                  </a:lnTo>
                  <a:lnTo>
                    <a:pt x="637" y="2254"/>
                  </a:lnTo>
                  <a:lnTo>
                    <a:pt x="635" y="2243"/>
                  </a:lnTo>
                  <a:lnTo>
                    <a:pt x="632" y="2233"/>
                  </a:lnTo>
                  <a:lnTo>
                    <a:pt x="630" y="2229"/>
                  </a:lnTo>
                  <a:lnTo>
                    <a:pt x="629" y="2224"/>
                  </a:lnTo>
                  <a:lnTo>
                    <a:pt x="627" y="2224"/>
                  </a:lnTo>
                  <a:lnTo>
                    <a:pt x="624" y="2221"/>
                  </a:lnTo>
                  <a:lnTo>
                    <a:pt x="624" y="2219"/>
                  </a:lnTo>
                  <a:lnTo>
                    <a:pt x="621" y="2218"/>
                  </a:lnTo>
                  <a:lnTo>
                    <a:pt x="602" y="2218"/>
                  </a:lnTo>
                  <a:lnTo>
                    <a:pt x="602" y="2221"/>
                  </a:lnTo>
                  <a:lnTo>
                    <a:pt x="600" y="2224"/>
                  </a:lnTo>
                  <a:lnTo>
                    <a:pt x="599" y="2229"/>
                  </a:lnTo>
                  <a:lnTo>
                    <a:pt x="597" y="2230"/>
                  </a:lnTo>
                  <a:lnTo>
                    <a:pt x="596" y="2232"/>
                  </a:lnTo>
                  <a:lnTo>
                    <a:pt x="594" y="2233"/>
                  </a:lnTo>
                  <a:lnTo>
                    <a:pt x="589" y="2233"/>
                  </a:lnTo>
                  <a:lnTo>
                    <a:pt x="585" y="2233"/>
                  </a:lnTo>
                  <a:lnTo>
                    <a:pt x="583" y="2233"/>
                  </a:lnTo>
                  <a:lnTo>
                    <a:pt x="578" y="2233"/>
                  </a:lnTo>
                  <a:lnTo>
                    <a:pt x="575" y="2233"/>
                  </a:lnTo>
                  <a:lnTo>
                    <a:pt x="573" y="2232"/>
                  </a:lnTo>
                  <a:lnTo>
                    <a:pt x="570" y="2232"/>
                  </a:lnTo>
                  <a:lnTo>
                    <a:pt x="569" y="2229"/>
                  </a:lnTo>
                  <a:lnTo>
                    <a:pt x="566" y="2225"/>
                  </a:lnTo>
                  <a:lnTo>
                    <a:pt x="562" y="2222"/>
                  </a:lnTo>
                  <a:lnTo>
                    <a:pt x="561" y="2218"/>
                  </a:lnTo>
                  <a:lnTo>
                    <a:pt x="558" y="2213"/>
                  </a:lnTo>
                  <a:lnTo>
                    <a:pt x="555" y="2208"/>
                  </a:lnTo>
                  <a:lnTo>
                    <a:pt x="553" y="2205"/>
                  </a:lnTo>
                  <a:lnTo>
                    <a:pt x="548" y="2200"/>
                  </a:lnTo>
                  <a:lnTo>
                    <a:pt x="547" y="2196"/>
                  </a:lnTo>
                  <a:lnTo>
                    <a:pt x="542" y="2192"/>
                  </a:lnTo>
                  <a:lnTo>
                    <a:pt x="540" y="2191"/>
                  </a:lnTo>
                  <a:lnTo>
                    <a:pt x="537" y="2188"/>
                  </a:lnTo>
                  <a:lnTo>
                    <a:pt x="534" y="2188"/>
                  </a:lnTo>
                  <a:lnTo>
                    <a:pt x="532" y="2186"/>
                  </a:lnTo>
                  <a:lnTo>
                    <a:pt x="529" y="2184"/>
                  </a:lnTo>
                  <a:lnTo>
                    <a:pt x="528" y="2184"/>
                  </a:lnTo>
                  <a:lnTo>
                    <a:pt x="523" y="2183"/>
                  </a:lnTo>
                  <a:lnTo>
                    <a:pt x="520" y="2183"/>
                  </a:lnTo>
                  <a:lnTo>
                    <a:pt x="509" y="2184"/>
                  </a:lnTo>
                  <a:lnTo>
                    <a:pt x="501" y="2184"/>
                  </a:lnTo>
                  <a:lnTo>
                    <a:pt x="496" y="2186"/>
                  </a:lnTo>
                  <a:lnTo>
                    <a:pt x="494" y="2188"/>
                  </a:lnTo>
                  <a:lnTo>
                    <a:pt x="490" y="2188"/>
                  </a:lnTo>
                  <a:lnTo>
                    <a:pt x="487" y="2189"/>
                  </a:lnTo>
                  <a:lnTo>
                    <a:pt x="485" y="2191"/>
                  </a:lnTo>
                  <a:lnTo>
                    <a:pt x="483" y="2192"/>
                  </a:lnTo>
                  <a:lnTo>
                    <a:pt x="480" y="2194"/>
                  </a:lnTo>
                  <a:lnTo>
                    <a:pt x="479" y="2196"/>
                  </a:lnTo>
                  <a:lnTo>
                    <a:pt x="477" y="2197"/>
                  </a:lnTo>
                  <a:lnTo>
                    <a:pt x="476" y="2200"/>
                  </a:lnTo>
                  <a:lnTo>
                    <a:pt x="476" y="2202"/>
                  </a:lnTo>
                  <a:lnTo>
                    <a:pt x="474" y="2205"/>
                  </a:lnTo>
                  <a:lnTo>
                    <a:pt x="472" y="2211"/>
                  </a:lnTo>
                  <a:lnTo>
                    <a:pt x="471" y="2216"/>
                  </a:lnTo>
                  <a:lnTo>
                    <a:pt x="471" y="2224"/>
                  </a:lnTo>
                  <a:lnTo>
                    <a:pt x="469" y="2230"/>
                  </a:lnTo>
                  <a:lnTo>
                    <a:pt x="468" y="2238"/>
                  </a:lnTo>
                  <a:lnTo>
                    <a:pt x="468" y="2246"/>
                  </a:lnTo>
                  <a:lnTo>
                    <a:pt x="466" y="2254"/>
                  </a:lnTo>
                  <a:lnTo>
                    <a:pt x="463" y="2265"/>
                  </a:lnTo>
                  <a:lnTo>
                    <a:pt x="461" y="2270"/>
                  </a:lnTo>
                  <a:lnTo>
                    <a:pt x="460" y="2274"/>
                  </a:lnTo>
                  <a:lnTo>
                    <a:pt x="458" y="2278"/>
                  </a:lnTo>
                  <a:lnTo>
                    <a:pt x="455" y="2282"/>
                  </a:lnTo>
                  <a:lnTo>
                    <a:pt x="450" y="2290"/>
                  </a:lnTo>
                  <a:lnTo>
                    <a:pt x="444" y="2298"/>
                  </a:lnTo>
                  <a:lnTo>
                    <a:pt x="439" y="2306"/>
                  </a:lnTo>
                  <a:lnTo>
                    <a:pt x="434" y="2314"/>
                  </a:lnTo>
                  <a:lnTo>
                    <a:pt x="433" y="2319"/>
                  </a:lnTo>
                  <a:lnTo>
                    <a:pt x="430" y="2323"/>
                  </a:lnTo>
                  <a:lnTo>
                    <a:pt x="430" y="2326"/>
                  </a:lnTo>
                  <a:lnTo>
                    <a:pt x="428" y="2331"/>
                  </a:lnTo>
                  <a:lnTo>
                    <a:pt x="425" y="2331"/>
                  </a:lnTo>
                  <a:lnTo>
                    <a:pt x="422" y="2331"/>
                  </a:lnTo>
                  <a:lnTo>
                    <a:pt x="420" y="2330"/>
                  </a:lnTo>
                  <a:lnTo>
                    <a:pt x="417" y="2328"/>
                  </a:lnTo>
                  <a:lnTo>
                    <a:pt x="414" y="2325"/>
                  </a:lnTo>
                  <a:lnTo>
                    <a:pt x="411" y="2320"/>
                  </a:lnTo>
                  <a:lnTo>
                    <a:pt x="406" y="2317"/>
                  </a:lnTo>
                  <a:lnTo>
                    <a:pt x="404" y="2314"/>
                  </a:lnTo>
                  <a:lnTo>
                    <a:pt x="403" y="2312"/>
                  </a:lnTo>
                  <a:lnTo>
                    <a:pt x="401" y="2311"/>
                  </a:lnTo>
                  <a:lnTo>
                    <a:pt x="400" y="2311"/>
                  </a:lnTo>
                  <a:lnTo>
                    <a:pt x="398" y="2311"/>
                  </a:lnTo>
                  <a:lnTo>
                    <a:pt x="395" y="2311"/>
                  </a:lnTo>
                  <a:lnTo>
                    <a:pt x="392" y="2311"/>
                  </a:lnTo>
                  <a:lnTo>
                    <a:pt x="389" y="2312"/>
                  </a:lnTo>
                  <a:lnTo>
                    <a:pt x="387" y="2312"/>
                  </a:lnTo>
                  <a:lnTo>
                    <a:pt x="382" y="2315"/>
                  </a:lnTo>
                  <a:lnTo>
                    <a:pt x="378" y="2319"/>
                  </a:lnTo>
                  <a:lnTo>
                    <a:pt x="373" y="2323"/>
                  </a:lnTo>
                  <a:lnTo>
                    <a:pt x="368" y="2328"/>
                  </a:lnTo>
                  <a:lnTo>
                    <a:pt x="363" y="2333"/>
                  </a:lnTo>
                  <a:lnTo>
                    <a:pt x="360" y="2337"/>
                  </a:lnTo>
                  <a:lnTo>
                    <a:pt x="355" y="2344"/>
                  </a:lnTo>
                  <a:lnTo>
                    <a:pt x="351" y="2349"/>
                  </a:lnTo>
                  <a:lnTo>
                    <a:pt x="346" y="2352"/>
                  </a:lnTo>
                  <a:lnTo>
                    <a:pt x="340" y="2356"/>
                  </a:lnTo>
                  <a:lnTo>
                    <a:pt x="338" y="2358"/>
                  </a:lnTo>
                  <a:lnTo>
                    <a:pt x="335" y="2360"/>
                  </a:lnTo>
                  <a:lnTo>
                    <a:pt x="332" y="2361"/>
                  </a:lnTo>
                  <a:lnTo>
                    <a:pt x="330" y="2363"/>
                  </a:lnTo>
                  <a:lnTo>
                    <a:pt x="325" y="2364"/>
                  </a:lnTo>
                  <a:lnTo>
                    <a:pt x="322" y="2364"/>
                  </a:lnTo>
                  <a:lnTo>
                    <a:pt x="319" y="2364"/>
                  </a:lnTo>
                  <a:lnTo>
                    <a:pt x="316" y="2364"/>
                  </a:lnTo>
                  <a:lnTo>
                    <a:pt x="311" y="2364"/>
                  </a:lnTo>
                  <a:lnTo>
                    <a:pt x="308" y="2364"/>
                  </a:lnTo>
                  <a:lnTo>
                    <a:pt x="305" y="2364"/>
                  </a:lnTo>
                  <a:lnTo>
                    <a:pt x="302" y="2363"/>
                  </a:lnTo>
                  <a:lnTo>
                    <a:pt x="300" y="2361"/>
                  </a:lnTo>
                  <a:lnTo>
                    <a:pt x="299" y="2360"/>
                  </a:lnTo>
                  <a:lnTo>
                    <a:pt x="297" y="2356"/>
                  </a:lnTo>
                  <a:lnTo>
                    <a:pt x="297" y="2355"/>
                  </a:lnTo>
                  <a:lnTo>
                    <a:pt x="295" y="2353"/>
                  </a:lnTo>
                  <a:lnTo>
                    <a:pt x="294" y="2350"/>
                  </a:lnTo>
                  <a:lnTo>
                    <a:pt x="294" y="2349"/>
                  </a:lnTo>
                  <a:lnTo>
                    <a:pt x="294" y="2345"/>
                  </a:lnTo>
                  <a:lnTo>
                    <a:pt x="294" y="2341"/>
                  </a:lnTo>
                  <a:lnTo>
                    <a:pt x="294" y="2336"/>
                  </a:lnTo>
                  <a:lnTo>
                    <a:pt x="294" y="2323"/>
                  </a:lnTo>
                  <a:lnTo>
                    <a:pt x="294" y="2311"/>
                  </a:lnTo>
                  <a:lnTo>
                    <a:pt x="294" y="2301"/>
                  </a:lnTo>
                  <a:lnTo>
                    <a:pt x="294" y="2292"/>
                  </a:lnTo>
                  <a:lnTo>
                    <a:pt x="294" y="2282"/>
                  </a:lnTo>
                  <a:lnTo>
                    <a:pt x="294" y="2271"/>
                  </a:lnTo>
                  <a:lnTo>
                    <a:pt x="294" y="2260"/>
                  </a:lnTo>
                  <a:lnTo>
                    <a:pt x="294" y="2248"/>
                  </a:lnTo>
                  <a:lnTo>
                    <a:pt x="294" y="2241"/>
                  </a:lnTo>
                  <a:lnTo>
                    <a:pt x="294" y="2237"/>
                  </a:lnTo>
                  <a:lnTo>
                    <a:pt x="295" y="2232"/>
                  </a:lnTo>
                  <a:lnTo>
                    <a:pt x="297" y="2225"/>
                  </a:lnTo>
                  <a:lnTo>
                    <a:pt x="299" y="2221"/>
                  </a:lnTo>
                  <a:lnTo>
                    <a:pt x="300" y="2216"/>
                  </a:lnTo>
                  <a:lnTo>
                    <a:pt x="302" y="2211"/>
                  </a:lnTo>
                  <a:lnTo>
                    <a:pt x="302" y="2205"/>
                  </a:lnTo>
                  <a:lnTo>
                    <a:pt x="292" y="2200"/>
                  </a:lnTo>
                  <a:lnTo>
                    <a:pt x="284" y="2196"/>
                  </a:lnTo>
                  <a:lnTo>
                    <a:pt x="280" y="2192"/>
                  </a:lnTo>
                  <a:lnTo>
                    <a:pt x="276" y="2191"/>
                  </a:lnTo>
                  <a:lnTo>
                    <a:pt x="272" y="2188"/>
                  </a:lnTo>
                  <a:lnTo>
                    <a:pt x="269" y="2184"/>
                  </a:lnTo>
                  <a:lnTo>
                    <a:pt x="265" y="2181"/>
                  </a:lnTo>
                  <a:lnTo>
                    <a:pt x="264" y="2178"/>
                  </a:lnTo>
                  <a:lnTo>
                    <a:pt x="261" y="2173"/>
                  </a:lnTo>
                  <a:lnTo>
                    <a:pt x="259" y="2170"/>
                  </a:lnTo>
                  <a:lnTo>
                    <a:pt x="258" y="2166"/>
                  </a:lnTo>
                  <a:lnTo>
                    <a:pt x="256" y="2161"/>
                  </a:lnTo>
                  <a:lnTo>
                    <a:pt x="256" y="2158"/>
                  </a:lnTo>
                  <a:lnTo>
                    <a:pt x="256" y="2151"/>
                  </a:lnTo>
                  <a:lnTo>
                    <a:pt x="256" y="2150"/>
                  </a:lnTo>
                  <a:lnTo>
                    <a:pt x="256" y="2147"/>
                  </a:lnTo>
                  <a:lnTo>
                    <a:pt x="256" y="2140"/>
                  </a:lnTo>
                  <a:lnTo>
                    <a:pt x="256" y="2131"/>
                  </a:lnTo>
                  <a:lnTo>
                    <a:pt x="256" y="2129"/>
                  </a:lnTo>
                  <a:lnTo>
                    <a:pt x="256" y="2126"/>
                  </a:lnTo>
                  <a:lnTo>
                    <a:pt x="253" y="2125"/>
                  </a:lnTo>
                  <a:lnTo>
                    <a:pt x="253" y="2121"/>
                  </a:lnTo>
                  <a:lnTo>
                    <a:pt x="251" y="2121"/>
                  </a:lnTo>
                  <a:lnTo>
                    <a:pt x="248" y="2120"/>
                  </a:lnTo>
                  <a:lnTo>
                    <a:pt x="246" y="2118"/>
                  </a:lnTo>
                  <a:lnTo>
                    <a:pt x="243" y="2118"/>
                  </a:lnTo>
                  <a:lnTo>
                    <a:pt x="239" y="2117"/>
                  </a:lnTo>
                  <a:lnTo>
                    <a:pt x="235" y="2113"/>
                  </a:lnTo>
                  <a:lnTo>
                    <a:pt x="232" y="2113"/>
                  </a:lnTo>
                  <a:lnTo>
                    <a:pt x="231" y="2112"/>
                  </a:lnTo>
                  <a:lnTo>
                    <a:pt x="229" y="2110"/>
                  </a:lnTo>
                  <a:lnTo>
                    <a:pt x="227" y="2109"/>
                  </a:lnTo>
                  <a:lnTo>
                    <a:pt x="226" y="2106"/>
                  </a:lnTo>
                  <a:lnTo>
                    <a:pt x="224" y="2104"/>
                  </a:lnTo>
                  <a:lnTo>
                    <a:pt x="224" y="2101"/>
                  </a:lnTo>
                  <a:lnTo>
                    <a:pt x="223" y="2096"/>
                  </a:lnTo>
                  <a:lnTo>
                    <a:pt x="221" y="2091"/>
                  </a:lnTo>
                  <a:lnTo>
                    <a:pt x="221" y="2085"/>
                  </a:lnTo>
                  <a:lnTo>
                    <a:pt x="220" y="2080"/>
                  </a:lnTo>
                  <a:lnTo>
                    <a:pt x="220" y="2076"/>
                  </a:lnTo>
                  <a:lnTo>
                    <a:pt x="218" y="2072"/>
                  </a:lnTo>
                  <a:lnTo>
                    <a:pt x="218" y="2069"/>
                  </a:lnTo>
                  <a:lnTo>
                    <a:pt x="216" y="2068"/>
                  </a:lnTo>
                  <a:lnTo>
                    <a:pt x="215" y="2065"/>
                  </a:lnTo>
                  <a:lnTo>
                    <a:pt x="213" y="2060"/>
                  </a:lnTo>
                  <a:lnTo>
                    <a:pt x="212" y="2057"/>
                  </a:lnTo>
                  <a:lnTo>
                    <a:pt x="210" y="2054"/>
                  </a:lnTo>
                  <a:lnTo>
                    <a:pt x="207" y="2052"/>
                  </a:lnTo>
                  <a:lnTo>
                    <a:pt x="205" y="2049"/>
                  </a:lnTo>
                  <a:lnTo>
                    <a:pt x="204" y="2046"/>
                  </a:lnTo>
                  <a:lnTo>
                    <a:pt x="201" y="2044"/>
                  </a:lnTo>
                  <a:lnTo>
                    <a:pt x="197" y="2043"/>
                  </a:lnTo>
                  <a:lnTo>
                    <a:pt x="194" y="2039"/>
                  </a:lnTo>
                  <a:lnTo>
                    <a:pt x="193" y="2039"/>
                  </a:lnTo>
                  <a:lnTo>
                    <a:pt x="190" y="2038"/>
                  </a:lnTo>
                  <a:lnTo>
                    <a:pt x="185" y="2036"/>
                  </a:lnTo>
                  <a:lnTo>
                    <a:pt x="177" y="2035"/>
                  </a:lnTo>
                  <a:lnTo>
                    <a:pt x="167" y="2031"/>
                  </a:lnTo>
                  <a:lnTo>
                    <a:pt x="169" y="2030"/>
                  </a:lnTo>
                  <a:lnTo>
                    <a:pt x="171" y="2027"/>
                  </a:lnTo>
                  <a:lnTo>
                    <a:pt x="171" y="2024"/>
                  </a:lnTo>
                  <a:lnTo>
                    <a:pt x="174" y="2022"/>
                  </a:lnTo>
                  <a:lnTo>
                    <a:pt x="174" y="2019"/>
                  </a:lnTo>
                  <a:lnTo>
                    <a:pt x="175" y="2017"/>
                  </a:lnTo>
                  <a:lnTo>
                    <a:pt x="177" y="2014"/>
                  </a:lnTo>
                  <a:lnTo>
                    <a:pt x="177" y="2011"/>
                  </a:lnTo>
                  <a:lnTo>
                    <a:pt x="177" y="2006"/>
                  </a:lnTo>
                  <a:lnTo>
                    <a:pt x="175" y="2003"/>
                  </a:lnTo>
                  <a:lnTo>
                    <a:pt x="174" y="2001"/>
                  </a:lnTo>
                  <a:lnTo>
                    <a:pt x="172" y="2000"/>
                  </a:lnTo>
                  <a:lnTo>
                    <a:pt x="169" y="1998"/>
                  </a:lnTo>
                  <a:lnTo>
                    <a:pt x="166" y="1998"/>
                  </a:lnTo>
                  <a:lnTo>
                    <a:pt x="163" y="1998"/>
                  </a:lnTo>
                  <a:lnTo>
                    <a:pt x="160" y="1998"/>
                  </a:lnTo>
                  <a:lnTo>
                    <a:pt x="152" y="1998"/>
                  </a:lnTo>
                  <a:lnTo>
                    <a:pt x="144" y="1998"/>
                  </a:lnTo>
                  <a:lnTo>
                    <a:pt x="139" y="1998"/>
                  </a:lnTo>
                  <a:lnTo>
                    <a:pt x="136" y="1998"/>
                  </a:lnTo>
                  <a:lnTo>
                    <a:pt x="133" y="1998"/>
                  </a:lnTo>
                  <a:lnTo>
                    <a:pt x="128" y="1997"/>
                  </a:lnTo>
                  <a:lnTo>
                    <a:pt x="122" y="1994"/>
                  </a:lnTo>
                  <a:lnTo>
                    <a:pt x="115" y="1992"/>
                  </a:lnTo>
                  <a:lnTo>
                    <a:pt x="114" y="1990"/>
                  </a:lnTo>
                  <a:lnTo>
                    <a:pt x="112" y="1990"/>
                  </a:lnTo>
                  <a:lnTo>
                    <a:pt x="109" y="1990"/>
                  </a:lnTo>
                  <a:lnTo>
                    <a:pt x="106" y="1989"/>
                  </a:lnTo>
                  <a:lnTo>
                    <a:pt x="98" y="1990"/>
                  </a:lnTo>
                  <a:lnTo>
                    <a:pt x="88" y="1990"/>
                  </a:lnTo>
                  <a:lnTo>
                    <a:pt x="85" y="1990"/>
                  </a:lnTo>
                  <a:lnTo>
                    <a:pt x="81" y="1990"/>
                  </a:lnTo>
                  <a:lnTo>
                    <a:pt x="76" y="1990"/>
                  </a:lnTo>
                  <a:lnTo>
                    <a:pt x="71" y="1989"/>
                  </a:lnTo>
                  <a:lnTo>
                    <a:pt x="71" y="1973"/>
                  </a:lnTo>
                  <a:lnTo>
                    <a:pt x="71" y="1964"/>
                  </a:lnTo>
                  <a:lnTo>
                    <a:pt x="71" y="1957"/>
                  </a:lnTo>
                  <a:lnTo>
                    <a:pt x="71" y="1946"/>
                  </a:lnTo>
                  <a:lnTo>
                    <a:pt x="73" y="1943"/>
                  </a:lnTo>
                  <a:lnTo>
                    <a:pt x="73" y="1940"/>
                  </a:lnTo>
                  <a:lnTo>
                    <a:pt x="74" y="1938"/>
                  </a:lnTo>
                  <a:lnTo>
                    <a:pt x="76" y="1935"/>
                  </a:lnTo>
                  <a:lnTo>
                    <a:pt x="77" y="1931"/>
                  </a:lnTo>
                  <a:lnTo>
                    <a:pt x="81" y="1927"/>
                  </a:lnTo>
                  <a:lnTo>
                    <a:pt x="84" y="1924"/>
                  </a:lnTo>
                  <a:lnTo>
                    <a:pt x="87" y="1919"/>
                  </a:lnTo>
                  <a:lnTo>
                    <a:pt x="87" y="1918"/>
                  </a:lnTo>
                  <a:lnTo>
                    <a:pt x="88" y="1916"/>
                  </a:lnTo>
                  <a:lnTo>
                    <a:pt x="88" y="1915"/>
                  </a:lnTo>
                  <a:lnTo>
                    <a:pt x="88" y="1913"/>
                  </a:lnTo>
                  <a:lnTo>
                    <a:pt x="88" y="1908"/>
                  </a:lnTo>
                  <a:lnTo>
                    <a:pt x="88" y="1904"/>
                  </a:lnTo>
                  <a:lnTo>
                    <a:pt x="87" y="1901"/>
                  </a:lnTo>
                  <a:lnTo>
                    <a:pt x="84" y="1896"/>
                  </a:lnTo>
                  <a:lnTo>
                    <a:pt x="82" y="1893"/>
                  </a:lnTo>
                  <a:lnTo>
                    <a:pt x="79" y="1890"/>
                  </a:lnTo>
                  <a:lnTo>
                    <a:pt x="76" y="1886"/>
                  </a:lnTo>
                  <a:lnTo>
                    <a:pt x="73" y="1882"/>
                  </a:lnTo>
                  <a:lnTo>
                    <a:pt x="66" y="1875"/>
                  </a:lnTo>
                  <a:lnTo>
                    <a:pt x="62" y="1869"/>
                  </a:lnTo>
                  <a:lnTo>
                    <a:pt x="58" y="1863"/>
                  </a:lnTo>
                  <a:lnTo>
                    <a:pt x="55" y="1861"/>
                  </a:lnTo>
                  <a:lnTo>
                    <a:pt x="55" y="1856"/>
                  </a:lnTo>
                  <a:lnTo>
                    <a:pt x="54" y="1852"/>
                  </a:lnTo>
                  <a:lnTo>
                    <a:pt x="54" y="1848"/>
                  </a:lnTo>
                  <a:lnTo>
                    <a:pt x="54" y="1847"/>
                  </a:lnTo>
                  <a:lnTo>
                    <a:pt x="54" y="1844"/>
                  </a:lnTo>
                  <a:lnTo>
                    <a:pt x="54" y="1842"/>
                  </a:lnTo>
                  <a:lnTo>
                    <a:pt x="54" y="1837"/>
                  </a:lnTo>
                  <a:lnTo>
                    <a:pt x="54" y="1834"/>
                  </a:lnTo>
                  <a:lnTo>
                    <a:pt x="55" y="1830"/>
                  </a:lnTo>
                  <a:lnTo>
                    <a:pt x="55" y="1825"/>
                  </a:lnTo>
                  <a:lnTo>
                    <a:pt x="57" y="1823"/>
                  </a:lnTo>
                  <a:lnTo>
                    <a:pt x="57" y="1822"/>
                  </a:lnTo>
                  <a:lnTo>
                    <a:pt x="55" y="1820"/>
                  </a:lnTo>
                  <a:lnTo>
                    <a:pt x="55" y="1817"/>
                  </a:lnTo>
                  <a:lnTo>
                    <a:pt x="54" y="1815"/>
                  </a:lnTo>
                  <a:lnTo>
                    <a:pt x="54" y="1814"/>
                  </a:lnTo>
                  <a:lnTo>
                    <a:pt x="51" y="1812"/>
                  </a:lnTo>
                  <a:lnTo>
                    <a:pt x="49" y="1809"/>
                  </a:lnTo>
                  <a:lnTo>
                    <a:pt x="44" y="1809"/>
                  </a:lnTo>
                  <a:lnTo>
                    <a:pt x="35" y="1807"/>
                  </a:lnTo>
                  <a:lnTo>
                    <a:pt x="25" y="1804"/>
                  </a:lnTo>
                  <a:lnTo>
                    <a:pt x="27" y="1801"/>
                  </a:lnTo>
                  <a:lnTo>
                    <a:pt x="28" y="1798"/>
                  </a:lnTo>
                  <a:lnTo>
                    <a:pt x="30" y="1796"/>
                  </a:lnTo>
                  <a:lnTo>
                    <a:pt x="32" y="1795"/>
                  </a:lnTo>
                  <a:lnTo>
                    <a:pt x="36" y="1790"/>
                  </a:lnTo>
                  <a:lnTo>
                    <a:pt x="41" y="1787"/>
                  </a:lnTo>
                  <a:lnTo>
                    <a:pt x="46" y="1784"/>
                  </a:lnTo>
                  <a:lnTo>
                    <a:pt x="51" y="1779"/>
                  </a:lnTo>
                  <a:lnTo>
                    <a:pt x="51" y="1778"/>
                  </a:lnTo>
                  <a:lnTo>
                    <a:pt x="54" y="1776"/>
                  </a:lnTo>
                  <a:lnTo>
                    <a:pt x="54" y="1773"/>
                  </a:lnTo>
                  <a:lnTo>
                    <a:pt x="54" y="1768"/>
                  </a:lnTo>
                  <a:lnTo>
                    <a:pt x="54" y="1757"/>
                  </a:lnTo>
                  <a:lnTo>
                    <a:pt x="52" y="1746"/>
                  </a:lnTo>
                  <a:lnTo>
                    <a:pt x="51" y="1735"/>
                  </a:lnTo>
                  <a:lnTo>
                    <a:pt x="49" y="1722"/>
                  </a:lnTo>
                  <a:lnTo>
                    <a:pt x="47" y="1711"/>
                  </a:lnTo>
                  <a:lnTo>
                    <a:pt x="44" y="1700"/>
                  </a:lnTo>
                  <a:lnTo>
                    <a:pt x="41" y="1689"/>
                  </a:lnTo>
                  <a:lnTo>
                    <a:pt x="38" y="1680"/>
                  </a:lnTo>
                  <a:lnTo>
                    <a:pt x="33" y="1669"/>
                  </a:lnTo>
                  <a:lnTo>
                    <a:pt x="30" y="1659"/>
                  </a:lnTo>
                  <a:lnTo>
                    <a:pt x="25" y="1648"/>
                  </a:lnTo>
                  <a:lnTo>
                    <a:pt x="21" y="1639"/>
                  </a:lnTo>
                  <a:lnTo>
                    <a:pt x="16" y="1629"/>
                  </a:lnTo>
                  <a:lnTo>
                    <a:pt x="9" y="1620"/>
                  </a:lnTo>
                  <a:lnTo>
                    <a:pt x="5" y="1610"/>
                  </a:lnTo>
                  <a:lnTo>
                    <a:pt x="0" y="1601"/>
                  </a:lnTo>
                  <a:lnTo>
                    <a:pt x="2" y="1599"/>
                  </a:lnTo>
                  <a:lnTo>
                    <a:pt x="5" y="1598"/>
                  </a:lnTo>
                  <a:lnTo>
                    <a:pt x="8" y="1595"/>
                  </a:lnTo>
                  <a:lnTo>
                    <a:pt x="13" y="1593"/>
                  </a:lnTo>
                  <a:lnTo>
                    <a:pt x="17" y="1585"/>
                  </a:lnTo>
                  <a:lnTo>
                    <a:pt x="22" y="1579"/>
                  </a:lnTo>
                  <a:lnTo>
                    <a:pt x="28" y="1572"/>
                  </a:lnTo>
                  <a:lnTo>
                    <a:pt x="33" y="1568"/>
                  </a:lnTo>
                  <a:lnTo>
                    <a:pt x="35" y="1565"/>
                  </a:lnTo>
                  <a:lnTo>
                    <a:pt x="38" y="1561"/>
                  </a:lnTo>
                  <a:lnTo>
                    <a:pt x="41" y="1561"/>
                  </a:lnTo>
                  <a:lnTo>
                    <a:pt x="43" y="1560"/>
                  </a:lnTo>
                  <a:lnTo>
                    <a:pt x="44" y="1560"/>
                  </a:lnTo>
                  <a:lnTo>
                    <a:pt x="47" y="1558"/>
                  </a:lnTo>
                  <a:lnTo>
                    <a:pt x="51" y="1558"/>
                  </a:lnTo>
                  <a:lnTo>
                    <a:pt x="54" y="1558"/>
                  </a:lnTo>
                  <a:lnTo>
                    <a:pt x="58" y="1558"/>
                  </a:lnTo>
                  <a:lnTo>
                    <a:pt x="62" y="1558"/>
                  </a:lnTo>
                  <a:lnTo>
                    <a:pt x="63" y="1558"/>
                  </a:lnTo>
                  <a:lnTo>
                    <a:pt x="66" y="1558"/>
                  </a:lnTo>
                  <a:lnTo>
                    <a:pt x="68" y="1557"/>
                  </a:lnTo>
                  <a:lnTo>
                    <a:pt x="69" y="1557"/>
                  </a:lnTo>
                  <a:lnTo>
                    <a:pt x="71" y="1554"/>
                  </a:lnTo>
                  <a:lnTo>
                    <a:pt x="71" y="1552"/>
                  </a:lnTo>
                  <a:lnTo>
                    <a:pt x="71" y="1550"/>
                  </a:lnTo>
                  <a:lnTo>
                    <a:pt x="71" y="1547"/>
                  </a:lnTo>
                  <a:lnTo>
                    <a:pt x="71" y="1544"/>
                  </a:lnTo>
                  <a:lnTo>
                    <a:pt x="71" y="1541"/>
                  </a:lnTo>
                  <a:lnTo>
                    <a:pt x="69" y="1538"/>
                  </a:lnTo>
                  <a:lnTo>
                    <a:pt x="68" y="1535"/>
                  </a:lnTo>
                  <a:lnTo>
                    <a:pt x="66" y="1531"/>
                  </a:lnTo>
                  <a:lnTo>
                    <a:pt x="63" y="1528"/>
                  </a:lnTo>
                  <a:lnTo>
                    <a:pt x="63" y="1527"/>
                  </a:lnTo>
                  <a:lnTo>
                    <a:pt x="63" y="1524"/>
                  </a:lnTo>
                  <a:lnTo>
                    <a:pt x="88" y="1456"/>
                  </a:lnTo>
                  <a:lnTo>
                    <a:pt x="92" y="1453"/>
                  </a:lnTo>
                  <a:lnTo>
                    <a:pt x="98" y="1449"/>
                  </a:lnTo>
                  <a:lnTo>
                    <a:pt x="103" y="1448"/>
                  </a:lnTo>
                  <a:lnTo>
                    <a:pt x="107" y="1445"/>
                  </a:lnTo>
                  <a:lnTo>
                    <a:pt x="111" y="1443"/>
                  </a:lnTo>
                  <a:lnTo>
                    <a:pt x="112" y="1442"/>
                  </a:lnTo>
                  <a:lnTo>
                    <a:pt x="115" y="1440"/>
                  </a:lnTo>
                  <a:lnTo>
                    <a:pt x="117" y="1437"/>
                  </a:lnTo>
                  <a:lnTo>
                    <a:pt x="118" y="1435"/>
                  </a:lnTo>
                  <a:lnTo>
                    <a:pt x="120" y="1432"/>
                  </a:lnTo>
                  <a:lnTo>
                    <a:pt x="120" y="1429"/>
                  </a:lnTo>
                  <a:lnTo>
                    <a:pt x="122" y="1426"/>
                  </a:lnTo>
                  <a:lnTo>
                    <a:pt x="120" y="1423"/>
                  </a:lnTo>
                  <a:lnTo>
                    <a:pt x="120" y="1421"/>
                  </a:lnTo>
                  <a:lnTo>
                    <a:pt x="120" y="1418"/>
                  </a:lnTo>
                  <a:lnTo>
                    <a:pt x="118" y="1416"/>
                  </a:lnTo>
                  <a:lnTo>
                    <a:pt x="115" y="1413"/>
                  </a:lnTo>
                  <a:lnTo>
                    <a:pt x="112" y="1412"/>
                  </a:lnTo>
                  <a:lnTo>
                    <a:pt x="107" y="1408"/>
                  </a:lnTo>
                  <a:lnTo>
                    <a:pt x="104" y="1405"/>
                  </a:lnTo>
                  <a:lnTo>
                    <a:pt x="101" y="1404"/>
                  </a:lnTo>
                  <a:lnTo>
                    <a:pt x="100" y="1401"/>
                  </a:lnTo>
                  <a:lnTo>
                    <a:pt x="96" y="1399"/>
                  </a:lnTo>
                  <a:lnTo>
                    <a:pt x="96" y="1396"/>
                  </a:lnTo>
                  <a:lnTo>
                    <a:pt x="95" y="1393"/>
                  </a:lnTo>
                  <a:lnTo>
                    <a:pt x="95" y="1389"/>
                  </a:lnTo>
                  <a:lnTo>
                    <a:pt x="93" y="1383"/>
                  </a:lnTo>
                  <a:lnTo>
                    <a:pt x="92" y="1377"/>
                  </a:lnTo>
                  <a:lnTo>
                    <a:pt x="92" y="1371"/>
                  </a:lnTo>
                  <a:lnTo>
                    <a:pt x="92" y="1366"/>
                  </a:lnTo>
                  <a:lnTo>
                    <a:pt x="90" y="1363"/>
                  </a:lnTo>
                  <a:lnTo>
                    <a:pt x="88" y="1360"/>
                  </a:lnTo>
                  <a:lnTo>
                    <a:pt x="87" y="1358"/>
                  </a:lnTo>
                  <a:lnTo>
                    <a:pt x="85" y="1355"/>
                  </a:lnTo>
                  <a:lnTo>
                    <a:pt x="82" y="1352"/>
                  </a:lnTo>
                  <a:lnTo>
                    <a:pt x="79" y="1348"/>
                  </a:lnTo>
                  <a:lnTo>
                    <a:pt x="76" y="1345"/>
                  </a:lnTo>
                  <a:lnTo>
                    <a:pt x="74" y="1342"/>
                  </a:lnTo>
                  <a:lnTo>
                    <a:pt x="68" y="1337"/>
                  </a:lnTo>
                  <a:lnTo>
                    <a:pt x="62" y="1334"/>
                  </a:lnTo>
                  <a:lnTo>
                    <a:pt x="55" y="1330"/>
                  </a:lnTo>
                  <a:lnTo>
                    <a:pt x="51" y="1323"/>
                  </a:lnTo>
                  <a:lnTo>
                    <a:pt x="47" y="1322"/>
                  </a:lnTo>
                  <a:lnTo>
                    <a:pt x="44" y="1317"/>
                  </a:lnTo>
                  <a:lnTo>
                    <a:pt x="43" y="1314"/>
                  </a:lnTo>
                  <a:lnTo>
                    <a:pt x="41" y="1309"/>
                  </a:lnTo>
                  <a:lnTo>
                    <a:pt x="38" y="1306"/>
                  </a:lnTo>
                  <a:lnTo>
                    <a:pt x="36" y="1303"/>
                  </a:lnTo>
                  <a:lnTo>
                    <a:pt x="36" y="1300"/>
                  </a:lnTo>
                  <a:lnTo>
                    <a:pt x="35" y="1296"/>
                  </a:lnTo>
                  <a:lnTo>
                    <a:pt x="33" y="1292"/>
                  </a:lnTo>
                  <a:lnTo>
                    <a:pt x="33" y="1287"/>
                  </a:lnTo>
                  <a:lnTo>
                    <a:pt x="32" y="1285"/>
                  </a:lnTo>
                  <a:lnTo>
                    <a:pt x="30" y="1282"/>
                  </a:lnTo>
                  <a:lnTo>
                    <a:pt x="30" y="1281"/>
                  </a:lnTo>
                  <a:lnTo>
                    <a:pt x="28" y="1279"/>
                  </a:lnTo>
                  <a:lnTo>
                    <a:pt x="25" y="1278"/>
                  </a:lnTo>
                  <a:lnTo>
                    <a:pt x="22" y="1276"/>
                  </a:lnTo>
                  <a:lnTo>
                    <a:pt x="21" y="1273"/>
                  </a:lnTo>
                  <a:lnTo>
                    <a:pt x="16" y="1273"/>
                  </a:lnTo>
                  <a:lnTo>
                    <a:pt x="19" y="1263"/>
                  </a:lnTo>
                  <a:lnTo>
                    <a:pt x="22" y="1259"/>
                  </a:lnTo>
                  <a:lnTo>
                    <a:pt x="24" y="1255"/>
                  </a:lnTo>
                  <a:lnTo>
                    <a:pt x="25" y="1252"/>
                  </a:lnTo>
                  <a:lnTo>
                    <a:pt x="25" y="1249"/>
                  </a:lnTo>
                  <a:lnTo>
                    <a:pt x="25" y="1246"/>
                  </a:lnTo>
                  <a:lnTo>
                    <a:pt x="25" y="1243"/>
                  </a:lnTo>
                  <a:lnTo>
                    <a:pt x="28" y="1238"/>
                  </a:lnTo>
                  <a:lnTo>
                    <a:pt x="28" y="1236"/>
                  </a:lnTo>
                  <a:lnTo>
                    <a:pt x="28" y="1232"/>
                  </a:lnTo>
                  <a:lnTo>
                    <a:pt x="30" y="1229"/>
                  </a:lnTo>
                  <a:lnTo>
                    <a:pt x="30" y="1224"/>
                  </a:lnTo>
                  <a:lnTo>
                    <a:pt x="33" y="1225"/>
                  </a:lnTo>
                  <a:lnTo>
                    <a:pt x="36" y="1225"/>
                  </a:lnTo>
                  <a:lnTo>
                    <a:pt x="39" y="1225"/>
                  </a:lnTo>
                  <a:lnTo>
                    <a:pt x="43" y="1225"/>
                  </a:lnTo>
                  <a:lnTo>
                    <a:pt x="47" y="1225"/>
                  </a:lnTo>
                  <a:lnTo>
                    <a:pt x="51" y="1224"/>
                  </a:lnTo>
                  <a:lnTo>
                    <a:pt x="55" y="1222"/>
                  </a:lnTo>
                  <a:lnTo>
                    <a:pt x="58" y="1219"/>
                  </a:lnTo>
                  <a:lnTo>
                    <a:pt x="62" y="1218"/>
                  </a:lnTo>
                  <a:lnTo>
                    <a:pt x="63" y="1214"/>
                  </a:lnTo>
                  <a:lnTo>
                    <a:pt x="66" y="1214"/>
                  </a:lnTo>
                  <a:lnTo>
                    <a:pt x="66" y="1211"/>
                  </a:lnTo>
                  <a:lnTo>
                    <a:pt x="69" y="1211"/>
                  </a:lnTo>
                  <a:lnTo>
                    <a:pt x="71" y="1210"/>
                  </a:lnTo>
                  <a:lnTo>
                    <a:pt x="71" y="1211"/>
                  </a:lnTo>
                  <a:lnTo>
                    <a:pt x="74" y="1211"/>
                  </a:lnTo>
                  <a:lnTo>
                    <a:pt x="76" y="1214"/>
                  </a:lnTo>
                  <a:lnTo>
                    <a:pt x="77" y="1218"/>
                  </a:lnTo>
                  <a:lnTo>
                    <a:pt x="79" y="1219"/>
                  </a:lnTo>
                  <a:lnTo>
                    <a:pt x="81" y="1221"/>
                  </a:lnTo>
                  <a:lnTo>
                    <a:pt x="82" y="1222"/>
                  </a:lnTo>
                  <a:lnTo>
                    <a:pt x="84" y="1222"/>
                  </a:lnTo>
                  <a:lnTo>
                    <a:pt x="87" y="1222"/>
                  </a:lnTo>
                  <a:lnTo>
                    <a:pt x="90" y="1222"/>
                  </a:lnTo>
                  <a:lnTo>
                    <a:pt x="93" y="1221"/>
                  </a:lnTo>
                  <a:lnTo>
                    <a:pt x="96" y="1219"/>
                  </a:lnTo>
                  <a:lnTo>
                    <a:pt x="100" y="1218"/>
                  </a:lnTo>
                  <a:lnTo>
                    <a:pt x="107" y="1213"/>
                  </a:lnTo>
                  <a:lnTo>
                    <a:pt x="114" y="1208"/>
                  </a:lnTo>
                  <a:lnTo>
                    <a:pt x="120" y="1205"/>
                  </a:lnTo>
                  <a:lnTo>
                    <a:pt x="125" y="1199"/>
                  </a:lnTo>
                  <a:lnTo>
                    <a:pt x="183" y="1186"/>
                  </a:lnTo>
                  <a:lnTo>
                    <a:pt x="186" y="1186"/>
                  </a:lnTo>
                  <a:lnTo>
                    <a:pt x="190" y="1186"/>
                  </a:lnTo>
                  <a:lnTo>
                    <a:pt x="191" y="1186"/>
                  </a:lnTo>
                  <a:lnTo>
                    <a:pt x="191" y="1188"/>
                  </a:lnTo>
                  <a:lnTo>
                    <a:pt x="191" y="1189"/>
                  </a:lnTo>
                  <a:lnTo>
                    <a:pt x="193" y="1197"/>
                  </a:lnTo>
                  <a:lnTo>
                    <a:pt x="194" y="1205"/>
                  </a:lnTo>
                  <a:lnTo>
                    <a:pt x="197" y="1210"/>
                  </a:lnTo>
                  <a:lnTo>
                    <a:pt x="199" y="1213"/>
                  </a:lnTo>
                  <a:lnTo>
                    <a:pt x="201" y="1214"/>
                  </a:lnTo>
                  <a:lnTo>
                    <a:pt x="202" y="1218"/>
                  </a:lnTo>
                  <a:lnTo>
                    <a:pt x="204" y="1218"/>
                  </a:lnTo>
                  <a:lnTo>
                    <a:pt x="207" y="1219"/>
                  </a:lnTo>
                  <a:lnTo>
                    <a:pt x="209" y="1219"/>
                  </a:lnTo>
                  <a:lnTo>
                    <a:pt x="212" y="1219"/>
                  </a:lnTo>
                  <a:lnTo>
                    <a:pt x="215" y="1219"/>
                  </a:lnTo>
                  <a:lnTo>
                    <a:pt x="218" y="1219"/>
                  </a:lnTo>
                  <a:lnTo>
                    <a:pt x="221" y="1219"/>
                  </a:lnTo>
                  <a:lnTo>
                    <a:pt x="224" y="1218"/>
                  </a:lnTo>
                  <a:lnTo>
                    <a:pt x="231" y="1218"/>
                  </a:lnTo>
                  <a:lnTo>
                    <a:pt x="235" y="1214"/>
                  </a:lnTo>
                  <a:lnTo>
                    <a:pt x="242" y="1213"/>
                  </a:lnTo>
                  <a:lnTo>
                    <a:pt x="248" y="1210"/>
                  </a:lnTo>
                  <a:lnTo>
                    <a:pt x="256" y="1210"/>
                  </a:lnTo>
                  <a:lnTo>
                    <a:pt x="262" y="1207"/>
                  </a:lnTo>
                  <a:lnTo>
                    <a:pt x="276" y="1205"/>
                  </a:lnTo>
                  <a:lnTo>
                    <a:pt x="289" y="1202"/>
                  </a:lnTo>
                  <a:lnTo>
                    <a:pt x="294" y="1199"/>
                  </a:lnTo>
                  <a:lnTo>
                    <a:pt x="299" y="1197"/>
                  </a:lnTo>
                  <a:lnTo>
                    <a:pt x="300" y="1195"/>
                  </a:lnTo>
                  <a:lnTo>
                    <a:pt x="302" y="1194"/>
                  </a:lnTo>
                  <a:lnTo>
                    <a:pt x="303" y="1192"/>
                  </a:lnTo>
                  <a:lnTo>
                    <a:pt x="305" y="1191"/>
                  </a:lnTo>
                  <a:lnTo>
                    <a:pt x="306" y="1189"/>
                  </a:lnTo>
                  <a:lnTo>
                    <a:pt x="306" y="1186"/>
                  </a:lnTo>
                  <a:lnTo>
                    <a:pt x="306" y="1184"/>
                  </a:lnTo>
                  <a:lnTo>
                    <a:pt x="306" y="1181"/>
                  </a:lnTo>
                  <a:lnTo>
                    <a:pt x="306" y="1178"/>
                  </a:lnTo>
                  <a:lnTo>
                    <a:pt x="306" y="1177"/>
                  </a:lnTo>
                  <a:lnTo>
                    <a:pt x="306" y="1173"/>
                  </a:lnTo>
                  <a:lnTo>
                    <a:pt x="305" y="1170"/>
                  </a:lnTo>
                  <a:lnTo>
                    <a:pt x="299" y="1159"/>
                  </a:lnTo>
                  <a:lnTo>
                    <a:pt x="289" y="1147"/>
                  </a:lnTo>
                  <a:lnTo>
                    <a:pt x="286" y="1143"/>
                  </a:lnTo>
                  <a:lnTo>
                    <a:pt x="284" y="1140"/>
                  </a:lnTo>
                  <a:lnTo>
                    <a:pt x="284" y="1137"/>
                  </a:lnTo>
                  <a:lnTo>
                    <a:pt x="283" y="1134"/>
                  </a:lnTo>
                  <a:lnTo>
                    <a:pt x="283" y="1131"/>
                  </a:lnTo>
                  <a:lnTo>
                    <a:pt x="283" y="1128"/>
                  </a:lnTo>
                  <a:lnTo>
                    <a:pt x="284" y="1126"/>
                  </a:lnTo>
                  <a:lnTo>
                    <a:pt x="284" y="1125"/>
                  </a:lnTo>
                  <a:lnTo>
                    <a:pt x="286" y="1125"/>
                  </a:lnTo>
                  <a:lnTo>
                    <a:pt x="288" y="1123"/>
                  </a:lnTo>
                  <a:lnTo>
                    <a:pt x="289" y="1120"/>
                  </a:lnTo>
                  <a:lnTo>
                    <a:pt x="292" y="1120"/>
                  </a:lnTo>
                  <a:lnTo>
                    <a:pt x="294" y="1118"/>
                  </a:lnTo>
                  <a:lnTo>
                    <a:pt x="297" y="1118"/>
                  </a:lnTo>
                  <a:lnTo>
                    <a:pt x="299" y="1117"/>
                  </a:lnTo>
                  <a:lnTo>
                    <a:pt x="302" y="1115"/>
                  </a:lnTo>
                  <a:lnTo>
                    <a:pt x="305" y="1115"/>
                  </a:lnTo>
                  <a:lnTo>
                    <a:pt x="311" y="1115"/>
                  </a:lnTo>
                  <a:lnTo>
                    <a:pt x="318" y="1115"/>
                  </a:lnTo>
                  <a:lnTo>
                    <a:pt x="325" y="1117"/>
                  </a:lnTo>
                  <a:lnTo>
                    <a:pt x="332" y="1117"/>
                  </a:lnTo>
                  <a:lnTo>
                    <a:pt x="338" y="1118"/>
                  </a:lnTo>
                  <a:lnTo>
                    <a:pt x="344" y="1118"/>
                  </a:lnTo>
                  <a:lnTo>
                    <a:pt x="348" y="1118"/>
                  </a:lnTo>
                  <a:lnTo>
                    <a:pt x="351" y="1117"/>
                  </a:lnTo>
                  <a:lnTo>
                    <a:pt x="352" y="1115"/>
                  </a:lnTo>
                  <a:lnTo>
                    <a:pt x="355" y="1115"/>
                  </a:lnTo>
                  <a:lnTo>
                    <a:pt x="359" y="1115"/>
                  </a:lnTo>
                  <a:lnTo>
                    <a:pt x="360" y="1112"/>
                  </a:lnTo>
                  <a:lnTo>
                    <a:pt x="363" y="1110"/>
                  </a:lnTo>
                  <a:lnTo>
                    <a:pt x="363" y="1109"/>
                  </a:lnTo>
                  <a:lnTo>
                    <a:pt x="367" y="1107"/>
                  </a:lnTo>
                  <a:lnTo>
                    <a:pt x="367" y="1104"/>
                  </a:lnTo>
                  <a:lnTo>
                    <a:pt x="368" y="1101"/>
                  </a:lnTo>
                  <a:lnTo>
                    <a:pt x="368" y="1098"/>
                  </a:lnTo>
                  <a:lnTo>
                    <a:pt x="381" y="1096"/>
                  </a:lnTo>
                  <a:lnTo>
                    <a:pt x="392" y="1096"/>
                  </a:lnTo>
                  <a:lnTo>
                    <a:pt x="401" y="1096"/>
                  </a:lnTo>
                  <a:lnTo>
                    <a:pt x="409" y="1098"/>
                  </a:lnTo>
                  <a:lnTo>
                    <a:pt x="414" y="1098"/>
                  </a:lnTo>
                  <a:lnTo>
                    <a:pt x="419" y="1099"/>
                  </a:lnTo>
                  <a:lnTo>
                    <a:pt x="422" y="1102"/>
                  </a:lnTo>
                  <a:lnTo>
                    <a:pt x="425" y="1104"/>
                  </a:lnTo>
                  <a:lnTo>
                    <a:pt x="427" y="1107"/>
                  </a:lnTo>
                  <a:lnTo>
                    <a:pt x="430" y="1110"/>
                  </a:lnTo>
                  <a:lnTo>
                    <a:pt x="430" y="1113"/>
                  </a:lnTo>
                  <a:lnTo>
                    <a:pt x="431" y="1118"/>
                  </a:lnTo>
                  <a:lnTo>
                    <a:pt x="433" y="1120"/>
                  </a:lnTo>
                  <a:lnTo>
                    <a:pt x="434" y="1125"/>
                  </a:lnTo>
                  <a:lnTo>
                    <a:pt x="436" y="1128"/>
                  </a:lnTo>
                  <a:lnTo>
                    <a:pt x="439" y="1131"/>
                  </a:lnTo>
                  <a:lnTo>
                    <a:pt x="439" y="1136"/>
                  </a:lnTo>
                  <a:lnTo>
                    <a:pt x="439" y="1137"/>
                  </a:lnTo>
                  <a:lnTo>
                    <a:pt x="441" y="1142"/>
                  </a:lnTo>
                  <a:lnTo>
                    <a:pt x="442" y="1143"/>
                  </a:lnTo>
                  <a:lnTo>
                    <a:pt x="446" y="1145"/>
                  </a:lnTo>
                  <a:lnTo>
                    <a:pt x="447" y="1147"/>
                  </a:lnTo>
                  <a:lnTo>
                    <a:pt x="450" y="1148"/>
                  </a:lnTo>
                  <a:lnTo>
                    <a:pt x="453" y="1148"/>
                  </a:lnTo>
                  <a:lnTo>
                    <a:pt x="460" y="1151"/>
                  </a:lnTo>
                  <a:lnTo>
                    <a:pt x="466" y="1151"/>
                  </a:lnTo>
                  <a:lnTo>
                    <a:pt x="468" y="1153"/>
                  </a:lnTo>
                  <a:lnTo>
                    <a:pt x="471" y="1154"/>
                  </a:lnTo>
                  <a:lnTo>
                    <a:pt x="472" y="1156"/>
                  </a:lnTo>
                  <a:lnTo>
                    <a:pt x="474" y="1158"/>
                  </a:lnTo>
                  <a:lnTo>
                    <a:pt x="474" y="1166"/>
                  </a:lnTo>
                  <a:lnTo>
                    <a:pt x="474" y="1173"/>
                  </a:lnTo>
                  <a:lnTo>
                    <a:pt x="476" y="1181"/>
                  </a:lnTo>
                  <a:lnTo>
                    <a:pt x="477" y="1188"/>
                  </a:lnTo>
                  <a:lnTo>
                    <a:pt x="480" y="1194"/>
                  </a:lnTo>
                  <a:lnTo>
                    <a:pt x="483" y="1199"/>
                  </a:lnTo>
                  <a:lnTo>
                    <a:pt x="487" y="1205"/>
                  </a:lnTo>
                  <a:lnTo>
                    <a:pt x="491" y="1208"/>
                  </a:lnTo>
                  <a:lnTo>
                    <a:pt x="494" y="1213"/>
                  </a:lnTo>
                  <a:lnTo>
                    <a:pt x="499" y="1216"/>
                  </a:lnTo>
                  <a:lnTo>
                    <a:pt x="506" y="1219"/>
                  </a:lnTo>
                  <a:lnTo>
                    <a:pt x="512" y="1222"/>
                  </a:lnTo>
                  <a:lnTo>
                    <a:pt x="517" y="1225"/>
                  </a:lnTo>
                  <a:lnTo>
                    <a:pt x="523" y="1227"/>
                  </a:lnTo>
                  <a:lnTo>
                    <a:pt x="529" y="1230"/>
                  </a:lnTo>
                  <a:lnTo>
                    <a:pt x="537" y="1232"/>
                  </a:lnTo>
                  <a:lnTo>
                    <a:pt x="542" y="1232"/>
                  </a:lnTo>
                  <a:lnTo>
                    <a:pt x="545" y="1232"/>
                  </a:lnTo>
                  <a:lnTo>
                    <a:pt x="550" y="1232"/>
                  </a:lnTo>
                  <a:lnTo>
                    <a:pt x="553" y="1232"/>
                  </a:lnTo>
                  <a:lnTo>
                    <a:pt x="556" y="1232"/>
                  </a:lnTo>
                  <a:lnTo>
                    <a:pt x="558" y="1232"/>
                  </a:lnTo>
                  <a:lnTo>
                    <a:pt x="561" y="1230"/>
                  </a:lnTo>
                  <a:lnTo>
                    <a:pt x="561" y="1227"/>
                  </a:lnTo>
                  <a:lnTo>
                    <a:pt x="562" y="1225"/>
                  </a:lnTo>
                  <a:lnTo>
                    <a:pt x="562" y="1222"/>
                  </a:lnTo>
                  <a:lnTo>
                    <a:pt x="564" y="1219"/>
                  </a:lnTo>
                  <a:lnTo>
                    <a:pt x="564" y="1218"/>
                  </a:lnTo>
                  <a:lnTo>
                    <a:pt x="562" y="1211"/>
                  </a:lnTo>
                  <a:lnTo>
                    <a:pt x="562" y="1203"/>
                  </a:lnTo>
                  <a:lnTo>
                    <a:pt x="558" y="1188"/>
                  </a:lnTo>
                  <a:lnTo>
                    <a:pt x="553" y="1172"/>
                  </a:lnTo>
                  <a:lnTo>
                    <a:pt x="550" y="1166"/>
                  </a:lnTo>
                  <a:lnTo>
                    <a:pt x="548" y="1158"/>
                  </a:lnTo>
                  <a:lnTo>
                    <a:pt x="547" y="1151"/>
                  </a:lnTo>
                  <a:lnTo>
                    <a:pt x="545" y="1148"/>
                  </a:lnTo>
                  <a:lnTo>
                    <a:pt x="547" y="1143"/>
                  </a:lnTo>
                  <a:lnTo>
                    <a:pt x="547" y="1140"/>
                  </a:lnTo>
                  <a:lnTo>
                    <a:pt x="548" y="1140"/>
                  </a:lnTo>
                  <a:lnTo>
                    <a:pt x="548" y="1139"/>
                  </a:lnTo>
                  <a:lnTo>
                    <a:pt x="550" y="1139"/>
                  </a:lnTo>
                  <a:lnTo>
                    <a:pt x="553" y="1142"/>
                  </a:lnTo>
                  <a:lnTo>
                    <a:pt x="559" y="1145"/>
                  </a:lnTo>
                  <a:lnTo>
                    <a:pt x="562" y="1148"/>
                  </a:lnTo>
                  <a:lnTo>
                    <a:pt x="566" y="1150"/>
                  </a:lnTo>
                  <a:lnTo>
                    <a:pt x="570" y="1151"/>
                  </a:lnTo>
                  <a:lnTo>
                    <a:pt x="575" y="1151"/>
                  </a:lnTo>
                  <a:lnTo>
                    <a:pt x="578" y="1151"/>
                  </a:lnTo>
                  <a:lnTo>
                    <a:pt x="581" y="1151"/>
                  </a:lnTo>
                  <a:lnTo>
                    <a:pt x="583" y="1151"/>
                  </a:lnTo>
                  <a:lnTo>
                    <a:pt x="586" y="1150"/>
                  </a:lnTo>
                  <a:lnTo>
                    <a:pt x="589" y="1148"/>
                  </a:lnTo>
                  <a:lnTo>
                    <a:pt x="591" y="1145"/>
                  </a:lnTo>
                  <a:lnTo>
                    <a:pt x="594" y="1143"/>
                  </a:lnTo>
                  <a:lnTo>
                    <a:pt x="604" y="1128"/>
                  </a:lnTo>
                  <a:lnTo>
                    <a:pt x="610" y="1115"/>
                  </a:lnTo>
                  <a:lnTo>
                    <a:pt x="611" y="1112"/>
                  </a:lnTo>
                  <a:lnTo>
                    <a:pt x="615" y="1109"/>
                  </a:lnTo>
                  <a:lnTo>
                    <a:pt x="616" y="1106"/>
                  </a:lnTo>
                  <a:lnTo>
                    <a:pt x="618" y="1104"/>
                  </a:lnTo>
                  <a:lnTo>
                    <a:pt x="619" y="1102"/>
                  </a:lnTo>
                  <a:lnTo>
                    <a:pt x="622" y="1102"/>
                  </a:lnTo>
                  <a:lnTo>
                    <a:pt x="626" y="1102"/>
                  </a:lnTo>
                  <a:lnTo>
                    <a:pt x="629" y="1102"/>
                  </a:lnTo>
                  <a:lnTo>
                    <a:pt x="641" y="1102"/>
                  </a:lnTo>
                  <a:lnTo>
                    <a:pt x="657" y="1102"/>
                  </a:lnTo>
                  <a:lnTo>
                    <a:pt x="668" y="1104"/>
                  </a:lnTo>
                  <a:lnTo>
                    <a:pt x="675" y="1107"/>
                  </a:lnTo>
                  <a:lnTo>
                    <a:pt x="678" y="1107"/>
                  </a:lnTo>
                  <a:lnTo>
                    <a:pt x="679" y="1107"/>
                  </a:lnTo>
                  <a:lnTo>
                    <a:pt x="681" y="1107"/>
                  </a:lnTo>
                  <a:lnTo>
                    <a:pt x="683" y="1106"/>
                  </a:lnTo>
                  <a:lnTo>
                    <a:pt x="683" y="1104"/>
                  </a:lnTo>
                  <a:lnTo>
                    <a:pt x="681" y="1104"/>
                  </a:lnTo>
                  <a:lnTo>
                    <a:pt x="679" y="1101"/>
                  </a:lnTo>
                  <a:lnTo>
                    <a:pt x="676" y="1098"/>
                  </a:lnTo>
                  <a:lnTo>
                    <a:pt x="673" y="1095"/>
                  </a:lnTo>
                  <a:lnTo>
                    <a:pt x="670" y="1090"/>
                  </a:lnTo>
                  <a:lnTo>
                    <a:pt x="668" y="1085"/>
                  </a:lnTo>
                  <a:lnTo>
                    <a:pt x="665" y="1080"/>
                  </a:lnTo>
                  <a:lnTo>
                    <a:pt x="665" y="1079"/>
                  </a:lnTo>
                  <a:lnTo>
                    <a:pt x="665" y="1076"/>
                  </a:lnTo>
                  <a:lnTo>
                    <a:pt x="665" y="1074"/>
                  </a:lnTo>
                  <a:lnTo>
                    <a:pt x="665" y="1071"/>
                  </a:lnTo>
                  <a:lnTo>
                    <a:pt x="665" y="1069"/>
                  </a:lnTo>
                  <a:lnTo>
                    <a:pt x="667" y="1066"/>
                  </a:lnTo>
                  <a:lnTo>
                    <a:pt x="668" y="1065"/>
                  </a:lnTo>
                  <a:lnTo>
                    <a:pt x="671" y="1061"/>
                  </a:lnTo>
                  <a:lnTo>
                    <a:pt x="678" y="1065"/>
                  </a:lnTo>
                  <a:lnTo>
                    <a:pt x="684" y="1065"/>
                  </a:lnTo>
                  <a:lnTo>
                    <a:pt x="689" y="1065"/>
                  </a:lnTo>
                  <a:lnTo>
                    <a:pt x="694" y="1065"/>
                  </a:lnTo>
                  <a:lnTo>
                    <a:pt x="698" y="1065"/>
                  </a:lnTo>
                  <a:lnTo>
                    <a:pt x="703" y="1065"/>
                  </a:lnTo>
                  <a:lnTo>
                    <a:pt x="706" y="1061"/>
                  </a:lnTo>
                  <a:lnTo>
                    <a:pt x="708" y="1060"/>
                  </a:lnTo>
                  <a:lnTo>
                    <a:pt x="709" y="1058"/>
                  </a:lnTo>
                  <a:lnTo>
                    <a:pt x="709" y="1057"/>
                  </a:lnTo>
                  <a:lnTo>
                    <a:pt x="709" y="1055"/>
                  </a:lnTo>
                  <a:lnTo>
                    <a:pt x="709" y="1054"/>
                  </a:lnTo>
                  <a:lnTo>
                    <a:pt x="708" y="1050"/>
                  </a:lnTo>
                  <a:lnTo>
                    <a:pt x="706" y="1050"/>
                  </a:lnTo>
                  <a:lnTo>
                    <a:pt x="703" y="1047"/>
                  </a:lnTo>
                  <a:lnTo>
                    <a:pt x="698" y="1044"/>
                  </a:lnTo>
                  <a:lnTo>
                    <a:pt x="692" y="1041"/>
                  </a:lnTo>
                  <a:lnTo>
                    <a:pt x="684" y="1038"/>
                  </a:lnTo>
                  <a:lnTo>
                    <a:pt x="678" y="1019"/>
                  </a:lnTo>
                  <a:lnTo>
                    <a:pt x="675" y="1008"/>
                  </a:lnTo>
                  <a:lnTo>
                    <a:pt x="673" y="1005"/>
                  </a:lnTo>
                  <a:lnTo>
                    <a:pt x="673" y="1003"/>
                  </a:lnTo>
                  <a:lnTo>
                    <a:pt x="671" y="1003"/>
                  </a:lnTo>
                  <a:lnTo>
                    <a:pt x="670" y="1003"/>
                  </a:lnTo>
                  <a:lnTo>
                    <a:pt x="667" y="1008"/>
                  </a:lnTo>
                  <a:lnTo>
                    <a:pt x="662" y="1013"/>
                  </a:lnTo>
                  <a:lnTo>
                    <a:pt x="657" y="1016"/>
                  </a:lnTo>
                  <a:lnTo>
                    <a:pt x="654" y="1017"/>
                  </a:lnTo>
                  <a:lnTo>
                    <a:pt x="652" y="1017"/>
                  </a:lnTo>
                  <a:lnTo>
                    <a:pt x="649" y="1017"/>
                  </a:lnTo>
                  <a:lnTo>
                    <a:pt x="646" y="1019"/>
                  </a:lnTo>
                  <a:lnTo>
                    <a:pt x="643" y="1019"/>
                  </a:lnTo>
                  <a:lnTo>
                    <a:pt x="643" y="1014"/>
                  </a:lnTo>
                  <a:lnTo>
                    <a:pt x="645" y="1011"/>
                  </a:lnTo>
                  <a:lnTo>
                    <a:pt x="645" y="1005"/>
                  </a:lnTo>
                  <a:lnTo>
                    <a:pt x="646" y="1003"/>
                  </a:lnTo>
                  <a:lnTo>
                    <a:pt x="649" y="995"/>
                  </a:lnTo>
                  <a:lnTo>
                    <a:pt x="652" y="990"/>
                  </a:lnTo>
                  <a:lnTo>
                    <a:pt x="657" y="983"/>
                  </a:lnTo>
                  <a:lnTo>
                    <a:pt x="664" y="975"/>
                  </a:lnTo>
                  <a:lnTo>
                    <a:pt x="665" y="972"/>
                  </a:lnTo>
                  <a:lnTo>
                    <a:pt x="667" y="970"/>
                  </a:lnTo>
                  <a:lnTo>
                    <a:pt x="667" y="967"/>
                  </a:lnTo>
                  <a:lnTo>
                    <a:pt x="668" y="965"/>
                  </a:lnTo>
                  <a:lnTo>
                    <a:pt x="667" y="964"/>
                  </a:lnTo>
                  <a:lnTo>
                    <a:pt x="667" y="962"/>
                  </a:lnTo>
                  <a:lnTo>
                    <a:pt x="665" y="960"/>
                  </a:lnTo>
                  <a:lnTo>
                    <a:pt x="665" y="957"/>
                  </a:lnTo>
                  <a:lnTo>
                    <a:pt x="664" y="956"/>
                  </a:lnTo>
                  <a:lnTo>
                    <a:pt x="660" y="954"/>
                  </a:lnTo>
                  <a:lnTo>
                    <a:pt x="656" y="948"/>
                  </a:lnTo>
                  <a:lnTo>
                    <a:pt x="649" y="942"/>
                  </a:lnTo>
                  <a:lnTo>
                    <a:pt x="652" y="943"/>
                  </a:lnTo>
                  <a:lnTo>
                    <a:pt x="657" y="943"/>
                  </a:lnTo>
                  <a:lnTo>
                    <a:pt x="660" y="943"/>
                  </a:lnTo>
                  <a:lnTo>
                    <a:pt x="665" y="942"/>
                  </a:lnTo>
                  <a:lnTo>
                    <a:pt x="668" y="942"/>
                  </a:lnTo>
                  <a:lnTo>
                    <a:pt x="673" y="940"/>
                  </a:lnTo>
                  <a:lnTo>
                    <a:pt x="676" y="938"/>
                  </a:lnTo>
                  <a:lnTo>
                    <a:pt x="681" y="938"/>
                  </a:lnTo>
                  <a:lnTo>
                    <a:pt x="689" y="934"/>
                  </a:lnTo>
                  <a:lnTo>
                    <a:pt x="697" y="929"/>
                  </a:lnTo>
                  <a:lnTo>
                    <a:pt x="703" y="924"/>
                  </a:lnTo>
                  <a:lnTo>
                    <a:pt x="711" y="919"/>
                  </a:lnTo>
                  <a:lnTo>
                    <a:pt x="725" y="908"/>
                  </a:lnTo>
                  <a:lnTo>
                    <a:pt x="739" y="899"/>
                  </a:lnTo>
                  <a:lnTo>
                    <a:pt x="747" y="894"/>
                  </a:lnTo>
                  <a:lnTo>
                    <a:pt x="754" y="891"/>
                  </a:lnTo>
                  <a:lnTo>
                    <a:pt x="757" y="889"/>
                  </a:lnTo>
                  <a:lnTo>
                    <a:pt x="760" y="888"/>
                  </a:lnTo>
                  <a:lnTo>
                    <a:pt x="763" y="888"/>
                  </a:lnTo>
                  <a:lnTo>
                    <a:pt x="766" y="886"/>
                  </a:lnTo>
                  <a:lnTo>
                    <a:pt x="768" y="888"/>
                  </a:lnTo>
                  <a:lnTo>
                    <a:pt x="768" y="889"/>
                  </a:lnTo>
                  <a:lnTo>
                    <a:pt x="768" y="893"/>
                  </a:lnTo>
                  <a:lnTo>
                    <a:pt x="768" y="894"/>
                  </a:lnTo>
                  <a:lnTo>
                    <a:pt x="766" y="897"/>
                  </a:lnTo>
                  <a:lnTo>
                    <a:pt x="765" y="901"/>
                  </a:lnTo>
                  <a:lnTo>
                    <a:pt x="762" y="902"/>
                  </a:lnTo>
                  <a:lnTo>
                    <a:pt x="760" y="905"/>
                  </a:lnTo>
                  <a:lnTo>
                    <a:pt x="757" y="908"/>
                  </a:lnTo>
                  <a:lnTo>
                    <a:pt x="755" y="910"/>
                  </a:lnTo>
                  <a:lnTo>
                    <a:pt x="752" y="912"/>
                  </a:lnTo>
                  <a:lnTo>
                    <a:pt x="750" y="915"/>
                  </a:lnTo>
                  <a:lnTo>
                    <a:pt x="749" y="916"/>
                  </a:lnTo>
                  <a:lnTo>
                    <a:pt x="747" y="918"/>
                  </a:lnTo>
                  <a:lnTo>
                    <a:pt x="747" y="919"/>
                  </a:lnTo>
                  <a:lnTo>
                    <a:pt x="749" y="921"/>
                  </a:lnTo>
                  <a:lnTo>
                    <a:pt x="750" y="921"/>
                  </a:lnTo>
                  <a:lnTo>
                    <a:pt x="750" y="923"/>
                  </a:lnTo>
                  <a:lnTo>
                    <a:pt x="752" y="923"/>
                  </a:lnTo>
                  <a:lnTo>
                    <a:pt x="758" y="918"/>
                  </a:lnTo>
                  <a:lnTo>
                    <a:pt x="765" y="913"/>
                  </a:lnTo>
                  <a:lnTo>
                    <a:pt x="773" y="908"/>
                  </a:lnTo>
                  <a:lnTo>
                    <a:pt x="777" y="902"/>
                  </a:lnTo>
                  <a:lnTo>
                    <a:pt x="779" y="902"/>
                  </a:lnTo>
                  <a:lnTo>
                    <a:pt x="780" y="902"/>
                  </a:lnTo>
                  <a:lnTo>
                    <a:pt x="784" y="904"/>
                  </a:lnTo>
                  <a:lnTo>
                    <a:pt x="784" y="907"/>
                  </a:lnTo>
                  <a:lnTo>
                    <a:pt x="785" y="915"/>
                  </a:lnTo>
                  <a:lnTo>
                    <a:pt x="788" y="923"/>
                  </a:lnTo>
                  <a:lnTo>
                    <a:pt x="788" y="934"/>
                  </a:lnTo>
                  <a:lnTo>
                    <a:pt x="790" y="942"/>
                  </a:lnTo>
                  <a:lnTo>
                    <a:pt x="792" y="943"/>
                  </a:lnTo>
                  <a:lnTo>
                    <a:pt x="792" y="946"/>
                  </a:lnTo>
                  <a:lnTo>
                    <a:pt x="793" y="946"/>
                  </a:lnTo>
                  <a:lnTo>
                    <a:pt x="795" y="945"/>
                  </a:lnTo>
                  <a:lnTo>
                    <a:pt x="796" y="943"/>
                  </a:lnTo>
                  <a:lnTo>
                    <a:pt x="798" y="942"/>
                  </a:lnTo>
                  <a:lnTo>
                    <a:pt x="799" y="940"/>
                  </a:lnTo>
                  <a:lnTo>
                    <a:pt x="801" y="937"/>
                  </a:lnTo>
                  <a:lnTo>
                    <a:pt x="801" y="935"/>
                  </a:lnTo>
                  <a:lnTo>
                    <a:pt x="801" y="932"/>
                  </a:lnTo>
                  <a:lnTo>
                    <a:pt x="801" y="929"/>
                  </a:lnTo>
                  <a:lnTo>
                    <a:pt x="798" y="916"/>
                  </a:lnTo>
                  <a:lnTo>
                    <a:pt x="793" y="901"/>
                  </a:lnTo>
                  <a:lnTo>
                    <a:pt x="793" y="893"/>
                  </a:lnTo>
                  <a:lnTo>
                    <a:pt x="793" y="885"/>
                  </a:lnTo>
                  <a:lnTo>
                    <a:pt x="793" y="880"/>
                  </a:lnTo>
                  <a:lnTo>
                    <a:pt x="793" y="877"/>
                  </a:lnTo>
                  <a:lnTo>
                    <a:pt x="793" y="874"/>
                  </a:lnTo>
                  <a:lnTo>
                    <a:pt x="793" y="869"/>
                  </a:lnTo>
                  <a:lnTo>
                    <a:pt x="795" y="866"/>
                  </a:lnTo>
                  <a:lnTo>
                    <a:pt x="796" y="863"/>
                  </a:lnTo>
                  <a:lnTo>
                    <a:pt x="798" y="860"/>
                  </a:lnTo>
                  <a:lnTo>
                    <a:pt x="801" y="856"/>
                  </a:lnTo>
                  <a:lnTo>
                    <a:pt x="804" y="855"/>
                  </a:lnTo>
                  <a:lnTo>
                    <a:pt x="806" y="852"/>
                  </a:lnTo>
                  <a:lnTo>
                    <a:pt x="812" y="850"/>
                  </a:lnTo>
                  <a:lnTo>
                    <a:pt x="815" y="848"/>
                  </a:lnTo>
                  <a:lnTo>
                    <a:pt x="826" y="844"/>
                  </a:lnTo>
                  <a:lnTo>
                    <a:pt x="836" y="841"/>
                  </a:lnTo>
                  <a:lnTo>
                    <a:pt x="842" y="839"/>
                  </a:lnTo>
                  <a:lnTo>
                    <a:pt x="850" y="837"/>
                  </a:lnTo>
                  <a:lnTo>
                    <a:pt x="852" y="837"/>
                  </a:lnTo>
                  <a:lnTo>
                    <a:pt x="855" y="839"/>
                  </a:lnTo>
                  <a:lnTo>
                    <a:pt x="856" y="839"/>
                  </a:lnTo>
                  <a:lnTo>
                    <a:pt x="858" y="839"/>
                  </a:lnTo>
                  <a:lnTo>
                    <a:pt x="859" y="841"/>
                  </a:lnTo>
                  <a:lnTo>
                    <a:pt x="859" y="842"/>
                  </a:lnTo>
                  <a:lnTo>
                    <a:pt x="861" y="842"/>
                  </a:lnTo>
                  <a:lnTo>
                    <a:pt x="863" y="844"/>
                  </a:lnTo>
                  <a:lnTo>
                    <a:pt x="863" y="847"/>
                  </a:lnTo>
                  <a:lnTo>
                    <a:pt x="863" y="850"/>
                  </a:lnTo>
                  <a:lnTo>
                    <a:pt x="863" y="853"/>
                  </a:lnTo>
                  <a:lnTo>
                    <a:pt x="863" y="856"/>
                  </a:lnTo>
                  <a:lnTo>
                    <a:pt x="861" y="864"/>
                  </a:lnTo>
                  <a:lnTo>
                    <a:pt x="859" y="871"/>
                  </a:lnTo>
                  <a:lnTo>
                    <a:pt x="859" y="874"/>
                  </a:lnTo>
                  <a:lnTo>
                    <a:pt x="861" y="875"/>
                  </a:lnTo>
                  <a:lnTo>
                    <a:pt x="863" y="875"/>
                  </a:lnTo>
                  <a:lnTo>
                    <a:pt x="864" y="875"/>
                  </a:lnTo>
                  <a:lnTo>
                    <a:pt x="867" y="874"/>
                  </a:lnTo>
                  <a:lnTo>
                    <a:pt x="875" y="869"/>
                  </a:lnTo>
                  <a:lnTo>
                    <a:pt x="883" y="864"/>
                  </a:lnTo>
                  <a:lnTo>
                    <a:pt x="894" y="858"/>
                  </a:lnTo>
                  <a:lnTo>
                    <a:pt x="901" y="855"/>
                  </a:lnTo>
                  <a:lnTo>
                    <a:pt x="908" y="853"/>
                  </a:lnTo>
                  <a:lnTo>
                    <a:pt x="916" y="850"/>
                  </a:lnTo>
                  <a:lnTo>
                    <a:pt x="924" y="848"/>
                  </a:lnTo>
                  <a:lnTo>
                    <a:pt x="929" y="852"/>
                  </a:lnTo>
                  <a:lnTo>
                    <a:pt x="934" y="853"/>
                  </a:lnTo>
                  <a:lnTo>
                    <a:pt x="940" y="855"/>
                  </a:lnTo>
                  <a:lnTo>
                    <a:pt x="945" y="855"/>
                  </a:lnTo>
                  <a:lnTo>
                    <a:pt x="948" y="856"/>
                  </a:lnTo>
                  <a:lnTo>
                    <a:pt x="953" y="855"/>
                  </a:lnTo>
                  <a:lnTo>
                    <a:pt x="956" y="855"/>
                  </a:lnTo>
                  <a:lnTo>
                    <a:pt x="961" y="855"/>
                  </a:lnTo>
                  <a:lnTo>
                    <a:pt x="962" y="852"/>
                  </a:lnTo>
                  <a:lnTo>
                    <a:pt x="965" y="852"/>
                  </a:lnTo>
                  <a:lnTo>
                    <a:pt x="970" y="848"/>
                  </a:lnTo>
                  <a:lnTo>
                    <a:pt x="972" y="847"/>
                  </a:lnTo>
                  <a:lnTo>
                    <a:pt x="975" y="844"/>
                  </a:lnTo>
                  <a:lnTo>
                    <a:pt x="976" y="842"/>
                  </a:lnTo>
                  <a:lnTo>
                    <a:pt x="978" y="839"/>
                  </a:lnTo>
                  <a:lnTo>
                    <a:pt x="980" y="836"/>
                  </a:lnTo>
                  <a:lnTo>
                    <a:pt x="983" y="830"/>
                  </a:lnTo>
                  <a:lnTo>
                    <a:pt x="986" y="822"/>
                  </a:lnTo>
                  <a:lnTo>
                    <a:pt x="987" y="815"/>
                  </a:lnTo>
                  <a:lnTo>
                    <a:pt x="989" y="809"/>
                  </a:lnTo>
                  <a:lnTo>
                    <a:pt x="991" y="803"/>
                  </a:lnTo>
                  <a:lnTo>
                    <a:pt x="991" y="796"/>
                  </a:lnTo>
                  <a:lnTo>
                    <a:pt x="991" y="793"/>
                  </a:lnTo>
                  <a:lnTo>
                    <a:pt x="992" y="789"/>
                  </a:lnTo>
                  <a:lnTo>
                    <a:pt x="992" y="784"/>
                  </a:lnTo>
                  <a:lnTo>
                    <a:pt x="994" y="778"/>
                  </a:lnTo>
                  <a:lnTo>
                    <a:pt x="995" y="770"/>
                  </a:lnTo>
                  <a:lnTo>
                    <a:pt x="999" y="763"/>
                  </a:lnTo>
                  <a:lnTo>
                    <a:pt x="1002" y="757"/>
                  </a:lnTo>
                  <a:lnTo>
                    <a:pt x="1006" y="749"/>
                  </a:lnTo>
                  <a:lnTo>
                    <a:pt x="1011" y="741"/>
                  </a:lnTo>
                  <a:lnTo>
                    <a:pt x="1017" y="735"/>
                  </a:lnTo>
                  <a:lnTo>
                    <a:pt x="1021" y="732"/>
                  </a:lnTo>
                  <a:lnTo>
                    <a:pt x="1024" y="727"/>
                  </a:lnTo>
                  <a:lnTo>
                    <a:pt x="1027" y="724"/>
                  </a:lnTo>
                  <a:lnTo>
                    <a:pt x="1032" y="722"/>
                  </a:lnTo>
                  <a:lnTo>
                    <a:pt x="1035" y="719"/>
                  </a:lnTo>
                  <a:lnTo>
                    <a:pt x="1038" y="716"/>
                  </a:lnTo>
                  <a:lnTo>
                    <a:pt x="1043" y="714"/>
                  </a:lnTo>
                  <a:lnTo>
                    <a:pt x="1047" y="711"/>
                  </a:lnTo>
                  <a:lnTo>
                    <a:pt x="1052" y="710"/>
                  </a:lnTo>
                  <a:lnTo>
                    <a:pt x="1055" y="708"/>
                  </a:lnTo>
                  <a:lnTo>
                    <a:pt x="1060" y="707"/>
                  </a:lnTo>
                  <a:lnTo>
                    <a:pt x="1065" y="707"/>
                  </a:lnTo>
                  <a:lnTo>
                    <a:pt x="1070" y="707"/>
                  </a:lnTo>
                  <a:lnTo>
                    <a:pt x="1074" y="707"/>
                  </a:lnTo>
                  <a:lnTo>
                    <a:pt x="1081" y="707"/>
                  </a:lnTo>
                  <a:lnTo>
                    <a:pt x="1085" y="707"/>
                  </a:lnTo>
                  <a:lnTo>
                    <a:pt x="1090" y="708"/>
                  </a:lnTo>
                  <a:lnTo>
                    <a:pt x="1095" y="708"/>
                  </a:lnTo>
                  <a:lnTo>
                    <a:pt x="1101" y="711"/>
                  </a:lnTo>
                  <a:lnTo>
                    <a:pt x="1104" y="711"/>
                  </a:lnTo>
                  <a:lnTo>
                    <a:pt x="1109" y="714"/>
                  </a:lnTo>
                  <a:lnTo>
                    <a:pt x="1111" y="716"/>
                  </a:lnTo>
                  <a:lnTo>
                    <a:pt x="1114" y="718"/>
                  </a:lnTo>
                  <a:lnTo>
                    <a:pt x="1117" y="719"/>
                  </a:lnTo>
                  <a:lnTo>
                    <a:pt x="1122" y="722"/>
                  </a:lnTo>
                  <a:lnTo>
                    <a:pt x="1126" y="727"/>
                  </a:lnTo>
                  <a:lnTo>
                    <a:pt x="1128" y="730"/>
                  </a:lnTo>
                  <a:lnTo>
                    <a:pt x="1131" y="733"/>
                  </a:lnTo>
                  <a:lnTo>
                    <a:pt x="1134" y="736"/>
                  </a:lnTo>
                  <a:lnTo>
                    <a:pt x="1136" y="740"/>
                  </a:lnTo>
                  <a:lnTo>
                    <a:pt x="1139" y="741"/>
                  </a:lnTo>
                  <a:lnTo>
                    <a:pt x="1141" y="741"/>
                  </a:lnTo>
                  <a:lnTo>
                    <a:pt x="1142" y="741"/>
                  </a:lnTo>
                  <a:lnTo>
                    <a:pt x="1142" y="740"/>
                  </a:lnTo>
                  <a:lnTo>
                    <a:pt x="1145" y="738"/>
                  </a:lnTo>
                  <a:lnTo>
                    <a:pt x="1149" y="735"/>
                  </a:lnTo>
                  <a:lnTo>
                    <a:pt x="1152" y="732"/>
                  </a:lnTo>
                  <a:lnTo>
                    <a:pt x="1155" y="730"/>
                  </a:lnTo>
                  <a:lnTo>
                    <a:pt x="1156" y="729"/>
                  </a:lnTo>
                  <a:lnTo>
                    <a:pt x="1161" y="729"/>
                  </a:lnTo>
                  <a:lnTo>
                    <a:pt x="1164" y="729"/>
                  </a:lnTo>
                  <a:lnTo>
                    <a:pt x="1169" y="729"/>
                  </a:lnTo>
                  <a:lnTo>
                    <a:pt x="1172" y="729"/>
                  </a:lnTo>
                  <a:lnTo>
                    <a:pt x="1177" y="730"/>
                  </a:lnTo>
                  <a:lnTo>
                    <a:pt x="1180" y="732"/>
                  </a:lnTo>
                  <a:lnTo>
                    <a:pt x="1185" y="735"/>
                  </a:lnTo>
                  <a:lnTo>
                    <a:pt x="1190" y="736"/>
                  </a:lnTo>
                  <a:lnTo>
                    <a:pt x="1193" y="738"/>
                  </a:lnTo>
                  <a:lnTo>
                    <a:pt x="1202" y="743"/>
                  </a:lnTo>
                  <a:lnTo>
                    <a:pt x="1210" y="748"/>
                  </a:lnTo>
                  <a:lnTo>
                    <a:pt x="1218" y="752"/>
                  </a:lnTo>
                  <a:lnTo>
                    <a:pt x="1224" y="757"/>
                  </a:lnTo>
                  <a:lnTo>
                    <a:pt x="1229" y="760"/>
                  </a:lnTo>
                  <a:lnTo>
                    <a:pt x="1234" y="762"/>
                  </a:lnTo>
                  <a:lnTo>
                    <a:pt x="1237" y="762"/>
                  </a:lnTo>
                  <a:lnTo>
                    <a:pt x="1237" y="760"/>
                  </a:lnTo>
                  <a:lnTo>
                    <a:pt x="1237" y="759"/>
                  </a:lnTo>
                  <a:lnTo>
                    <a:pt x="1235" y="755"/>
                  </a:lnTo>
                  <a:lnTo>
                    <a:pt x="1234" y="752"/>
                  </a:lnTo>
                  <a:lnTo>
                    <a:pt x="1231" y="748"/>
                  </a:lnTo>
                  <a:lnTo>
                    <a:pt x="1226" y="744"/>
                  </a:lnTo>
                  <a:lnTo>
                    <a:pt x="1221" y="738"/>
                  </a:lnTo>
                  <a:lnTo>
                    <a:pt x="1217" y="732"/>
                  </a:lnTo>
                  <a:lnTo>
                    <a:pt x="1210" y="724"/>
                  </a:lnTo>
                  <a:lnTo>
                    <a:pt x="1205" y="716"/>
                  </a:lnTo>
                  <a:lnTo>
                    <a:pt x="1201" y="708"/>
                  </a:lnTo>
                  <a:lnTo>
                    <a:pt x="1198" y="705"/>
                  </a:lnTo>
                  <a:lnTo>
                    <a:pt x="1196" y="700"/>
                  </a:lnTo>
                  <a:lnTo>
                    <a:pt x="1196" y="695"/>
                  </a:lnTo>
                  <a:lnTo>
                    <a:pt x="1193" y="691"/>
                  </a:lnTo>
                  <a:lnTo>
                    <a:pt x="1194" y="691"/>
                  </a:lnTo>
                  <a:lnTo>
                    <a:pt x="1193" y="688"/>
                  </a:lnTo>
                  <a:lnTo>
                    <a:pt x="1193" y="686"/>
                  </a:lnTo>
                  <a:lnTo>
                    <a:pt x="1193" y="684"/>
                  </a:lnTo>
                  <a:lnTo>
                    <a:pt x="1193" y="683"/>
                  </a:lnTo>
                  <a:lnTo>
                    <a:pt x="1193" y="678"/>
                  </a:lnTo>
                  <a:lnTo>
                    <a:pt x="1193" y="675"/>
                  </a:lnTo>
                  <a:lnTo>
                    <a:pt x="1193" y="670"/>
                  </a:lnTo>
                  <a:lnTo>
                    <a:pt x="1194" y="667"/>
                  </a:lnTo>
                  <a:lnTo>
                    <a:pt x="1196" y="664"/>
                  </a:lnTo>
                  <a:lnTo>
                    <a:pt x="1198" y="661"/>
                  </a:lnTo>
                  <a:lnTo>
                    <a:pt x="1198" y="658"/>
                  </a:lnTo>
                  <a:lnTo>
                    <a:pt x="1201" y="654"/>
                  </a:lnTo>
                  <a:lnTo>
                    <a:pt x="1204" y="650"/>
                  </a:lnTo>
                  <a:lnTo>
                    <a:pt x="1209" y="645"/>
                  </a:lnTo>
                  <a:lnTo>
                    <a:pt x="1213" y="640"/>
                  </a:lnTo>
                  <a:lnTo>
                    <a:pt x="1218" y="634"/>
                  </a:lnTo>
                  <a:lnTo>
                    <a:pt x="1229" y="628"/>
                  </a:lnTo>
                  <a:lnTo>
                    <a:pt x="1239" y="618"/>
                  </a:lnTo>
                  <a:lnTo>
                    <a:pt x="1243" y="613"/>
                  </a:lnTo>
                  <a:lnTo>
                    <a:pt x="1247" y="609"/>
                  </a:lnTo>
                  <a:lnTo>
                    <a:pt x="1250" y="607"/>
                  </a:lnTo>
                  <a:lnTo>
                    <a:pt x="1250" y="604"/>
                  </a:lnTo>
                  <a:lnTo>
                    <a:pt x="1251" y="601"/>
                  </a:lnTo>
                  <a:lnTo>
                    <a:pt x="1253" y="599"/>
                  </a:lnTo>
                  <a:lnTo>
                    <a:pt x="1254" y="593"/>
                  </a:lnTo>
                  <a:lnTo>
                    <a:pt x="1254" y="587"/>
                  </a:lnTo>
                  <a:lnTo>
                    <a:pt x="1254" y="580"/>
                  </a:lnTo>
                  <a:lnTo>
                    <a:pt x="1254" y="576"/>
                  </a:lnTo>
                  <a:lnTo>
                    <a:pt x="1254" y="563"/>
                  </a:lnTo>
                  <a:lnTo>
                    <a:pt x="1253" y="554"/>
                  </a:lnTo>
                  <a:lnTo>
                    <a:pt x="1253" y="549"/>
                  </a:lnTo>
                  <a:lnTo>
                    <a:pt x="1253" y="546"/>
                  </a:lnTo>
                  <a:lnTo>
                    <a:pt x="1253" y="542"/>
                  </a:lnTo>
                  <a:lnTo>
                    <a:pt x="1253" y="541"/>
                  </a:lnTo>
                  <a:lnTo>
                    <a:pt x="1253" y="539"/>
                  </a:lnTo>
                  <a:lnTo>
                    <a:pt x="1253" y="538"/>
                  </a:lnTo>
                  <a:lnTo>
                    <a:pt x="1254" y="538"/>
                  </a:lnTo>
                  <a:lnTo>
                    <a:pt x="1258" y="538"/>
                  </a:lnTo>
                  <a:lnTo>
                    <a:pt x="1259" y="538"/>
                  </a:lnTo>
                  <a:lnTo>
                    <a:pt x="1267" y="542"/>
                  </a:lnTo>
                  <a:lnTo>
                    <a:pt x="1275" y="546"/>
                  </a:lnTo>
                  <a:lnTo>
                    <a:pt x="1280" y="547"/>
                  </a:lnTo>
                  <a:lnTo>
                    <a:pt x="1283" y="549"/>
                  </a:lnTo>
                  <a:lnTo>
                    <a:pt x="1286" y="549"/>
                  </a:lnTo>
                  <a:lnTo>
                    <a:pt x="1291" y="550"/>
                  </a:lnTo>
                  <a:lnTo>
                    <a:pt x="1292" y="549"/>
                  </a:lnTo>
                  <a:lnTo>
                    <a:pt x="1297" y="549"/>
                  </a:lnTo>
                  <a:lnTo>
                    <a:pt x="1300" y="547"/>
                  </a:lnTo>
                  <a:lnTo>
                    <a:pt x="1303" y="546"/>
                  </a:lnTo>
                  <a:lnTo>
                    <a:pt x="1307" y="544"/>
                  </a:lnTo>
                  <a:lnTo>
                    <a:pt x="1310" y="541"/>
                  </a:lnTo>
                  <a:lnTo>
                    <a:pt x="1313" y="538"/>
                  </a:lnTo>
                  <a:lnTo>
                    <a:pt x="1316" y="533"/>
                  </a:lnTo>
                  <a:lnTo>
                    <a:pt x="1322" y="535"/>
                  </a:lnTo>
                  <a:lnTo>
                    <a:pt x="1329" y="538"/>
                  </a:lnTo>
                  <a:lnTo>
                    <a:pt x="1333" y="538"/>
                  </a:lnTo>
                  <a:lnTo>
                    <a:pt x="1338" y="538"/>
                  </a:lnTo>
                  <a:lnTo>
                    <a:pt x="1340" y="538"/>
                  </a:lnTo>
                  <a:lnTo>
                    <a:pt x="1343" y="536"/>
                  </a:lnTo>
                  <a:lnTo>
                    <a:pt x="1345" y="535"/>
                  </a:lnTo>
                  <a:lnTo>
                    <a:pt x="1346" y="533"/>
                  </a:lnTo>
                  <a:lnTo>
                    <a:pt x="1346" y="530"/>
                  </a:lnTo>
                  <a:lnTo>
                    <a:pt x="1349" y="525"/>
                  </a:lnTo>
                  <a:lnTo>
                    <a:pt x="1349" y="522"/>
                  </a:lnTo>
                  <a:lnTo>
                    <a:pt x="1349" y="520"/>
                  </a:lnTo>
                  <a:lnTo>
                    <a:pt x="1351" y="517"/>
                  </a:lnTo>
                  <a:lnTo>
                    <a:pt x="1354" y="516"/>
                  </a:lnTo>
                  <a:lnTo>
                    <a:pt x="1352" y="514"/>
                  </a:lnTo>
                  <a:lnTo>
                    <a:pt x="1352" y="509"/>
                  </a:lnTo>
                  <a:lnTo>
                    <a:pt x="1351" y="505"/>
                  </a:lnTo>
                  <a:lnTo>
                    <a:pt x="1349" y="497"/>
                  </a:lnTo>
                  <a:lnTo>
                    <a:pt x="1346" y="494"/>
                  </a:lnTo>
                  <a:lnTo>
                    <a:pt x="1345" y="492"/>
                  </a:lnTo>
                  <a:lnTo>
                    <a:pt x="1343" y="489"/>
                  </a:lnTo>
                  <a:lnTo>
                    <a:pt x="1340" y="487"/>
                  </a:lnTo>
                  <a:lnTo>
                    <a:pt x="1338" y="486"/>
                  </a:lnTo>
                  <a:lnTo>
                    <a:pt x="1337" y="486"/>
                  </a:lnTo>
                  <a:lnTo>
                    <a:pt x="1335" y="486"/>
                  </a:lnTo>
                  <a:lnTo>
                    <a:pt x="1333" y="486"/>
                  </a:lnTo>
                  <a:lnTo>
                    <a:pt x="1332" y="486"/>
                  </a:lnTo>
                  <a:lnTo>
                    <a:pt x="1329" y="486"/>
                  </a:lnTo>
                  <a:lnTo>
                    <a:pt x="1327" y="487"/>
                  </a:lnTo>
                  <a:lnTo>
                    <a:pt x="1326" y="489"/>
                  </a:lnTo>
                  <a:lnTo>
                    <a:pt x="1316" y="487"/>
                  </a:lnTo>
                  <a:lnTo>
                    <a:pt x="1308" y="487"/>
                  </a:lnTo>
                  <a:lnTo>
                    <a:pt x="1303" y="487"/>
                  </a:lnTo>
                  <a:lnTo>
                    <a:pt x="1297" y="487"/>
                  </a:lnTo>
                  <a:lnTo>
                    <a:pt x="1294" y="487"/>
                  </a:lnTo>
                  <a:lnTo>
                    <a:pt x="1291" y="487"/>
                  </a:lnTo>
                  <a:lnTo>
                    <a:pt x="1288" y="486"/>
                  </a:lnTo>
                  <a:lnTo>
                    <a:pt x="1284" y="484"/>
                  </a:lnTo>
                  <a:lnTo>
                    <a:pt x="1281" y="483"/>
                  </a:lnTo>
                  <a:lnTo>
                    <a:pt x="1277" y="479"/>
                  </a:lnTo>
                  <a:lnTo>
                    <a:pt x="1272" y="476"/>
                  </a:lnTo>
                  <a:lnTo>
                    <a:pt x="1267" y="473"/>
                  </a:lnTo>
                  <a:lnTo>
                    <a:pt x="1267" y="472"/>
                  </a:lnTo>
                  <a:lnTo>
                    <a:pt x="1266" y="472"/>
                  </a:lnTo>
                  <a:lnTo>
                    <a:pt x="1266" y="470"/>
                  </a:lnTo>
                  <a:lnTo>
                    <a:pt x="1266" y="468"/>
                  </a:lnTo>
                  <a:lnTo>
                    <a:pt x="1266" y="467"/>
                  </a:lnTo>
                  <a:lnTo>
                    <a:pt x="1266" y="464"/>
                  </a:lnTo>
                  <a:lnTo>
                    <a:pt x="1267" y="460"/>
                  </a:lnTo>
                  <a:lnTo>
                    <a:pt x="1270" y="456"/>
                  </a:lnTo>
                  <a:lnTo>
                    <a:pt x="1272" y="453"/>
                  </a:lnTo>
                  <a:lnTo>
                    <a:pt x="1275" y="448"/>
                  </a:lnTo>
                  <a:lnTo>
                    <a:pt x="1281" y="437"/>
                  </a:lnTo>
                  <a:lnTo>
                    <a:pt x="1291" y="426"/>
                  </a:lnTo>
                  <a:lnTo>
                    <a:pt x="1299" y="412"/>
                  </a:lnTo>
                  <a:lnTo>
                    <a:pt x="1308" y="396"/>
                  </a:lnTo>
                  <a:lnTo>
                    <a:pt x="1314" y="386"/>
                  </a:lnTo>
                  <a:lnTo>
                    <a:pt x="1321" y="375"/>
                  </a:lnTo>
                  <a:lnTo>
                    <a:pt x="1326" y="364"/>
                  </a:lnTo>
                  <a:lnTo>
                    <a:pt x="1332" y="352"/>
                  </a:lnTo>
                  <a:lnTo>
                    <a:pt x="1337" y="341"/>
                  </a:lnTo>
                  <a:lnTo>
                    <a:pt x="1341" y="330"/>
                  </a:lnTo>
                  <a:lnTo>
                    <a:pt x="1348" y="320"/>
                  </a:lnTo>
                  <a:lnTo>
                    <a:pt x="1354" y="311"/>
                  </a:lnTo>
                  <a:lnTo>
                    <a:pt x="1359" y="303"/>
                  </a:lnTo>
                  <a:lnTo>
                    <a:pt x="1363" y="296"/>
                  </a:lnTo>
                  <a:lnTo>
                    <a:pt x="1370" y="290"/>
                  </a:lnTo>
                  <a:lnTo>
                    <a:pt x="1375" y="284"/>
                  </a:lnTo>
                  <a:lnTo>
                    <a:pt x="1381" y="277"/>
                  </a:lnTo>
                  <a:lnTo>
                    <a:pt x="1387" y="273"/>
                  </a:lnTo>
                  <a:lnTo>
                    <a:pt x="1393" y="266"/>
                  </a:lnTo>
                  <a:lnTo>
                    <a:pt x="1400" y="262"/>
                  </a:lnTo>
                  <a:lnTo>
                    <a:pt x="1412" y="252"/>
                  </a:lnTo>
                  <a:lnTo>
                    <a:pt x="1427" y="241"/>
                  </a:lnTo>
                  <a:lnTo>
                    <a:pt x="1439" y="232"/>
                  </a:lnTo>
                  <a:lnTo>
                    <a:pt x="1454" y="224"/>
                  </a:lnTo>
                  <a:lnTo>
                    <a:pt x="1482" y="205"/>
                  </a:lnTo>
                  <a:lnTo>
                    <a:pt x="1509" y="184"/>
                  </a:lnTo>
                  <a:lnTo>
                    <a:pt x="1523" y="175"/>
                  </a:lnTo>
                  <a:lnTo>
                    <a:pt x="1536" y="166"/>
                  </a:lnTo>
                  <a:lnTo>
                    <a:pt x="1542" y="159"/>
                  </a:lnTo>
                  <a:lnTo>
                    <a:pt x="1548" y="153"/>
                  </a:lnTo>
                  <a:lnTo>
                    <a:pt x="1555" y="147"/>
                  </a:lnTo>
                  <a:lnTo>
                    <a:pt x="1561" y="140"/>
                  </a:lnTo>
                  <a:lnTo>
                    <a:pt x="1569" y="137"/>
                  </a:lnTo>
                  <a:lnTo>
                    <a:pt x="1578" y="136"/>
                  </a:lnTo>
                  <a:lnTo>
                    <a:pt x="1586" y="134"/>
                  </a:lnTo>
                  <a:lnTo>
                    <a:pt x="1593" y="132"/>
                  </a:lnTo>
                  <a:lnTo>
                    <a:pt x="1599" y="132"/>
                  </a:lnTo>
                  <a:lnTo>
                    <a:pt x="1605" y="134"/>
                  </a:lnTo>
                  <a:lnTo>
                    <a:pt x="1610" y="136"/>
                  </a:lnTo>
                  <a:lnTo>
                    <a:pt x="1615" y="137"/>
                  </a:lnTo>
                  <a:lnTo>
                    <a:pt x="1624" y="140"/>
                  </a:lnTo>
                  <a:lnTo>
                    <a:pt x="1632" y="145"/>
                  </a:lnTo>
                  <a:lnTo>
                    <a:pt x="1635" y="145"/>
                  </a:lnTo>
                  <a:lnTo>
                    <a:pt x="1638" y="147"/>
                  </a:lnTo>
                  <a:lnTo>
                    <a:pt x="1642" y="148"/>
                  </a:lnTo>
                  <a:lnTo>
                    <a:pt x="1645" y="148"/>
                  </a:lnTo>
                  <a:lnTo>
                    <a:pt x="1649" y="148"/>
                  </a:lnTo>
                  <a:lnTo>
                    <a:pt x="1654" y="148"/>
                  </a:lnTo>
                  <a:lnTo>
                    <a:pt x="1657" y="147"/>
                  </a:lnTo>
                  <a:lnTo>
                    <a:pt x="1662" y="147"/>
                  </a:lnTo>
                  <a:lnTo>
                    <a:pt x="1664" y="147"/>
                  </a:lnTo>
                  <a:lnTo>
                    <a:pt x="1667" y="145"/>
                  </a:lnTo>
                  <a:lnTo>
                    <a:pt x="1667" y="143"/>
                  </a:lnTo>
                  <a:lnTo>
                    <a:pt x="1668" y="142"/>
                  </a:lnTo>
                  <a:lnTo>
                    <a:pt x="1670" y="140"/>
                  </a:lnTo>
                  <a:lnTo>
                    <a:pt x="1672" y="137"/>
                  </a:lnTo>
                  <a:lnTo>
                    <a:pt x="1672" y="136"/>
                  </a:lnTo>
                  <a:lnTo>
                    <a:pt x="1672" y="132"/>
                  </a:lnTo>
                  <a:lnTo>
                    <a:pt x="1672" y="124"/>
                  </a:lnTo>
                  <a:lnTo>
                    <a:pt x="1673" y="117"/>
                  </a:lnTo>
                  <a:lnTo>
                    <a:pt x="1668" y="113"/>
                  </a:lnTo>
                  <a:lnTo>
                    <a:pt x="1664" y="112"/>
                  </a:lnTo>
                  <a:lnTo>
                    <a:pt x="1659" y="110"/>
                  </a:lnTo>
                  <a:lnTo>
                    <a:pt x="1656" y="109"/>
                  </a:lnTo>
                  <a:lnTo>
                    <a:pt x="1651" y="109"/>
                  </a:lnTo>
                  <a:lnTo>
                    <a:pt x="1646" y="109"/>
                  </a:lnTo>
                  <a:lnTo>
                    <a:pt x="1642" y="109"/>
                  </a:lnTo>
                  <a:lnTo>
                    <a:pt x="1637" y="109"/>
                  </a:lnTo>
                  <a:lnTo>
                    <a:pt x="1630" y="109"/>
                  </a:lnTo>
                  <a:lnTo>
                    <a:pt x="1624" y="109"/>
                  </a:lnTo>
                  <a:lnTo>
                    <a:pt x="1621" y="110"/>
                  </a:lnTo>
                  <a:lnTo>
                    <a:pt x="1618" y="110"/>
                  </a:lnTo>
                  <a:lnTo>
                    <a:pt x="1619" y="104"/>
                  </a:lnTo>
                  <a:lnTo>
                    <a:pt x="1619" y="98"/>
                  </a:lnTo>
                  <a:lnTo>
                    <a:pt x="1621" y="91"/>
                  </a:lnTo>
                  <a:lnTo>
                    <a:pt x="1621" y="87"/>
                  </a:lnTo>
                  <a:lnTo>
                    <a:pt x="1623" y="80"/>
                  </a:lnTo>
                  <a:lnTo>
                    <a:pt x="1624" y="76"/>
                  </a:lnTo>
                  <a:lnTo>
                    <a:pt x="1626" y="71"/>
                  </a:lnTo>
                  <a:lnTo>
                    <a:pt x="1629" y="68"/>
                  </a:lnTo>
                  <a:lnTo>
                    <a:pt x="1629" y="63"/>
                  </a:lnTo>
                  <a:lnTo>
                    <a:pt x="1632" y="58"/>
                  </a:lnTo>
                  <a:lnTo>
                    <a:pt x="1635" y="55"/>
                  </a:lnTo>
                  <a:lnTo>
                    <a:pt x="1637" y="52"/>
                  </a:lnTo>
                  <a:lnTo>
                    <a:pt x="1640" y="47"/>
                  </a:lnTo>
                  <a:lnTo>
                    <a:pt x="1643" y="44"/>
                  </a:lnTo>
                  <a:lnTo>
                    <a:pt x="1646" y="42"/>
                  </a:lnTo>
                  <a:lnTo>
                    <a:pt x="1649" y="39"/>
                  </a:lnTo>
                  <a:lnTo>
                    <a:pt x="1656" y="33"/>
                  </a:lnTo>
                  <a:lnTo>
                    <a:pt x="1662" y="28"/>
                  </a:lnTo>
                  <a:lnTo>
                    <a:pt x="1670" y="24"/>
                  </a:lnTo>
                  <a:lnTo>
                    <a:pt x="1678" y="19"/>
                  </a:lnTo>
                  <a:lnTo>
                    <a:pt x="1695" y="11"/>
                  </a:lnTo>
                  <a:lnTo>
                    <a:pt x="1713" y="0"/>
                  </a:lnTo>
                  <a:lnTo>
                    <a:pt x="1719" y="3"/>
                  </a:lnTo>
                  <a:lnTo>
                    <a:pt x="1725" y="8"/>
                  </a:lnTo>
                  <a:lnTo>
                    <a:pt x="1730" y="13"/>
                  </a:lnTo>
                  <a:lnTo>
                    <a:pt x="1733" y="16"/>
                  </a:lnTo>
                  <a:lnTo>
                    <a:pt x="1738" y="20"/>
                  </a:lnTo>
                  <a:lnTo>
                    <a:pt x="1741" y="24"/>
                  </a:lnTo>
                  <a:lnTo>
                    <a:pt x="1743" y="30"/>
                  </a:lnTo>
                  <a:lnTo>
                    <a:pt x="1744" y="33"/>
                  </a:lnTo>
                  <a:lnTo>
                    <a:pt x="1746" y="38"/>
                  </a:lnTo>
                  <a:lnTo>
                    <a:pt x="1746" y="42"/>
                  </a:lnTo>
                  <a:lnTo>
                    <a:pt x="1746" y="46"/>
                  </a:lnTo>
                  <a:lnTo>
                    <a:pt x="1746" y="50"/>
                  </a:lnTo>
                  <a:lnTo>
                    <a:pt x="1746" y="55"/>
                  </a:lnTo>
                  <a:lnTo>
                    <a:pt x="1746" y="58"/>
                  </a:lnTo>
                  <a:lnTo>
                    <a:pt x="1744" y="61"/>
                  </a:lnTo>
                  <a:lnTo>
                    <a:pt x="1743" y="65"/>
                  </a:lnTo>
                  <a:lnTo>
                    <a:pt x="1738" y="79"/>
                  </a:lnTo>
                  <a:lnTo>
                    <a:pt x="1733" y="88"/>
                  </a:lnTo>
                  <a:lnTo>
                    <a:pt x="1733" y="90"/>
                  </a:lnTo>
                  <a:lnTo>
                    <a:pt x="1732" y="91"/>
                  </a:lnTo>
                  <a:lnTo>
                    <a:pt x="1733" y="91"/>
                  </a:lnTo>
                  <a:lnTo>
                    <a:pt x="1733" y="93"/>
                  </a:lnTo>
                  <a:lnTo>
                    <a:pt x="1735" y="91"/>
                  </a:lnTo>
                  <a:lnTo>
                    <a:pt x="1736" y="91"/>
                  </a:lnTo>
                  <a:lnTo>
                    <a:pt x="1738" y="90"/>
                  </a:lnTo>
                  <a:lnTo>
                    <a:pt x="1743" y="88"/>
                  </a:lnTo>
                  <a:lnTo>
                    <a:pt x="1747" y="85"/>
                  </a:lnTo>
                  <a:lnTo>
                    <a:pt x="1751" y="83"/>
                  </a:lnTo>
                  <a:lnTo>
                    <a:pt x="1755" y="83"/>
                  </a:lnTo>
                  <a:lnTo>
                    <a:pt x="1758" y="83"/>
                  </a:lnTo>
                  <a:lnTo>
                    <a:pt x="1762" y="83"/>
                  </a:lnTo>
                  <a:lnTo>
                    <a:pt x="1765" y="83"/>
                  </a:lnTo>
                  <a:lnTo>
                    <a:pt x="1768" y="83"/>
                  </a:lnTo>
                  <a:lnTo>
                    <a:pt x="1770" y="83"/>
                  </a:lnTo>
                  <a:lnTo>
                    <a:pt x="1773" y="85"/>
                  </a:lnTo>
                  <a:lnTo>
                    <a:pt x="1774" y="87"/>
                  </a:lnTo>
                  <a:lnTo>
                    <a:pt x="1777" y="88"/>
                  </a:lnTo>
                  <a:lnTo>
                    <a:pt x="1781" y="91"/>
                  </a:lnTo>
                  <a:lnTo>
                    <a:pt x="1784" y="96"/>
                  </a:lnTo>
                  <a:lnTo>
                    <a:pt x="1787" y="99"/>
                  </a:lnTo>
                  <a:lnTo>
                    <a:pt x="1792" y="104"/>
                  </a:lnTo>
                  <a:lnTo>
                    <a:pt x="1795" y="104"/>
                  </a:lnTo>
                  <a:lnTo>
                    <a:pt x="1796" y="106"/>
                  </a:lnTo>
                  <a:lnTo>
                    <a:pt x="1798" y="107"/>
                  </a:lnTo>
                  <a:lnTo>
                    <a:pt x="1801" y="109"/>
                  </a:lnTo>
                  <a:lnTo>
                    <a:pt x="1804" y="109"/>
                  </a:lnTo>
                  <a:lnTo>
                    <a:pt x="1807" y="109"/>
                  </a:lnTo>
                  <a:lnTo>
                    <a:pt x="1811" y="109"/>
                  </a:lnTo>
                  <a:lnTo>
                    <a:pt x="1814" y="109"/>
                  </a:lnTo>
                  <a:lnTo>
                    <a:pt x="1817" y="107"/>
                  </a:lnTo>
                  <a:lnTo>
                    <a:pt x="1823" y="106"/>
                  </a:lnTo>
                  <a:lnTo>
                    <a:pt x="1826" y="104"/>
                  </a:lnTo>
                  <a:lnTo>
                    <a:pt x="1831" y="101"/>
                  </a:lnTo>
                  <a:lnTo>
                    <a:pt x="1833" y="102"/>
                  </a:lnTo>
                  <a:lnTo>
                    <a:pt x="1834" y="104"/>
                  </a:lnTo>
                  <a:lnTo>
                    <a:pt x="1836" y="106"/>
                  </a:lnTo>
                  <a:lnTo>
                    <a:pt x="1836" y="110"/>
                  </a:lnTo>
                  <a:lnTo>
                    <a:pt x="1837" y="113"/>
                  </a:lnTo>
                  <a:lnTo>
                    <a:pt x="1837" y="118"/>
                  </a:lnTo>
                  <a:lnTo>
                    <a:pt x="1836" y="124"/>
                  </a:lnTo>
                  <a:lnTo>
                    <a:pt x="1834" y="129"/>
                  </a:lnTo>
                  <a:lnTo>
                    <a:pt x="1833" y="134"/>
                  </a:lnTo>
                  <a:lnTo>
                    <a:pt x="1830" y="139"/>
                  </a:lnTo>
                  <a:lnTo>
                    <a:pt x="1826" y="145"/>
                  </a:lnTo>
                  <a:lnTo>
                    <a:pt x="1823" y="150"/>
                  </a:lnTo>
                  <a:lnTo>
                    <a:pt x="1817" y="154"/>
                  </a:lnTo>
                  <a:lnTo>
                    <a:pt x="1815" y="156"/>
                  </a:lnTo>
                  <a:lnTo>
                    <a:pt x="1812" y="158"/>
                  </a:lnTo>
                  <a:lnTo>
                    <a:pt x="1811" y="159"/>
                  </a:lnTo>
                  <a:lnTo>
                    <a:pt x="1807" y="161"/>
                  </a:lnTo>
                  <a:lnTo>
                    <a:pt x="1804" y="162"/>
                  </a:lnTo>
                  <a:lnTo>
                    <a:pt x="1801" y="164"/>
                  </a:lnTo>
                  <a:lnTo>
                    <a:pt x="1798" y="164"/>
                  </a:lnTo>
                  <a:lnTo>
                    <a:pt x="1795" y="166"/>
                  </a:lnTo>
                  <a:lnTo>
                    <a:pt x="1792" y="166"/>
                  </a:lnTo>
                  <a:lnTo>
                    <a:pt x="1790" y="166"/>
                  </a:lnTo>
                  <a:lnTo>
                    <a:pt x="1790" y="167"/>
                  </a:lnTo>
                  <a:lnTo>
                    <a:pt x="1787" y="169"/>
                  </a:lnTo>
                  <a:lnTo>
                    <a:pt x="1785" y="170"/>
                  </a:lnTo>
                  <a:lnTo>
                    <a:pt x="1784" y="173"/>
                  </a:lnTo>
                  <a:lnTo>
                    <a:pt x="1782" y="181"/>
                  </a:lnTo>
                  <a:lnTo>
                    <a:pt x="1779" y="189"/>
                  </a:lnTo>
                  <a:lnTo>
                    <a:pt x="1777" y="192"/>
                  </a:lnTo>
                  <a:lnTo>
                    <a:pt x="1774" y="197"/>
                  </a:lnTo>
                  <a:lnTo>
                    <a:pt x="1774" y="199"/>
                  </a:lnTo>
                  <a:lnTo>
                    <a:pt x="1771" y="200"/>
                  </a:lnTo>
                  <a:lnTo>
                    <a:pt x="1770" y="200"/>
                  </a:lnTo>
                  <a:lnTo>
                    <a:pt x="1768" y="203"/>
                  </a:lnTo>
                  <a:lnTo>
                    <a:pt x="1765" y="203"/>
                  </a:lnTo>
                  <a:lnTo>
                    <a:pt x="1762" y="205"/>
                  </a:lnTo>
                  <a:lnTo>
                    <a:pt x="1758" y="205"/>
                  </a:lnTo>
                  <a:lnTo>
                    <a:pt x="1755" y="205"/>
                  </a:lnTo>
                  <a:lnTo>
                    <a:pt x="1751" y="205"/>
                  </a:lnTo>
                  <a:lnTo>
                    <a:pt x="1747" y="205"/>
                  </a:lnTo>
                  <a:lnTo>
                    <a:pt x="1743" y="205"/>
                  </a:lnTo>
                  <a:lnTo>
                    <a:pt x="1736" y="205"/>
                  </a:lnTo>
                  <a:lnTo>
                    <a:pt x="1732" y="203"/>
                  </a:lnTo>
                  <a:lnTo>
                    <a:pt x="1725" y="203"/>
                  </a:lnTo>
                  <a:lnTo>
                    <a:pt x="1724" y="203"/>
                  </a:lnTo>
                  <a:lnTo>
                    <a:pt x="1721" y="203"/>
                  </a:lnTo>
                  <a:lnTo>
                    <a:pt x="1717" y="203"/>
                  </a:lnTo>
                  <a:lnTo>
                    <a:pt x="1716" y="203"/>
                  </a:lnTo>
                  <a:lnTo>
                    <a:pt x="1713" y="205"/>
                  </a:lnTo>
                  <a:lnTo>
                    <a:pt x="1711" y="208"/>
                  </a:lnTo>
                  <a:lnTo>
                    <a:pt x="1709" y="210"/>
                  </a:lnTo>
                  <a:lnTo>
                    <a:pt x="1709" y="213"/>
                  </a:lnTo>
                  <a:lnTo>
                    <a:pt x="1708" y="218"/>
                  </a:lnTo>
                  <a:lnTo>
                    <a:pt x="1708" y="224"/>
                  </a:lnTo>
                  <a:lnTo>
                    <a:pt x="1708" y="229"/>
                  </a:lnTo>
                  <a:lnTo>
                    <a:pt x="1708" y="236"/>
                  </a:lnTo>
                  <a:lnTo>
                    <a:pt x="1709" y="241"/>
                  </a:lnTo>
                  <a:lnTo>
                    <a:pt x="1711" y="248"/>
                  </a:lnTo>
                  <a:lnTo>
                    <a:pt x="1711" y="252"/>
                  </a:lnTo>
                  <a:lnTo>
                    <a:pt x="1711" y="257"/>
                  </a:lnTo>
                  <a:lnTo>
                    <a:pt x="1709" y="260"/>
                  </a:lnTo>
                  <a:lnTo>
                    <a:pt x="1709" y="263"/>
                  </a:lnTo>
                  <a:lnTo>
                    <a:pt x="1708" y="265"/>
                  </a:lnTo>
                  <a:lnTo>
                    <a:pt x="1705" y="266"/>
                  </a:lnTo>
                  <a:lnTo>
                    <a:pt x="1703" y="270"/>
                  </a:lnTo>
                  <a:lnTo>
                    <a:pt x="1700" y="270"/>
                  </a:lnTo>
                  <a:lnTo>
                    <a:pt x="1697" y="273"/>
                  </a:lnTo>
                  <a:lnTo>
                    <a:pt x="1695" y="273"/>
                  </a:lnTo>
                  <a:lnTo>
                    <a:pt x="1687" y="273"/>
                  </a:lnTo>
                  <a:lnTo>
                    <a:pt x="1679" y="273"/>
                  </a:lnTo>
                  <a:lnTo>
                    <a:pt x="1672" y="273"/>
                  </a:lnTo>
                  <a:lnTo>
                    <a:pt x="1664" y="273"/>
                  </a:lnTo>
                  <a:lnTo>
                    <a:pt x="1657" y="273"/>
                  </a:lnTo>
                  <a:lnTo>
                    <a:pt x="1651" y="274"/>
                  </a:lnTo>
                  <a:lnTo>
                    <a:pt x="1649" y="274"/>
                  </a:lnTo>
                  <a:lnTo>
                    <a:pt x="1646" y="276"/>
                  </a:lnTo>
                  <a:lnTo>
                    <a:pt x="1643" y="277"/>
                  </a:lnTo>
                  <a:lnTo>
                    <a:pt x="1642" y="279"/>
                  </a:lnTo>
                  <a:lnTo>
                    <a:pt x="1642" y="282"/>
                  </a:lnTo>
                  <a:lnTo>
                    <a:pt x="1640" y="285"/>
                  </a:lnTo>
                  <a:lnTo>
                    <a:pt x="1640" y="287"/>
                  </a:lnTo>
                  <a:lnTo>
                    <a:pt x="1640" y="292"/>
                  </a:lnTo>
                  <a:lnTo>
                    <a:pt x="1642" y="295"/>
                  </a:lnTo>
                  <a:lnTo>
                    <a:pt x="1643" y="298"/>
                  </a:lnTo>
                  <a:lnTo>
                    <a:pt x="1646" y="300"/>
                  </a:lnTo>
                  <a:lnTo>
                    <a:pt x="1649" y="303"/>
                  </a:lnTo>
                  <a:lnTo>
                    <a:pt x="1651" y="304"/>
                  </a:lnTo>
                  <a:lnTo>
                    <a:pt x="1654" y="306"/>
                  </a:lnTo>
                  <a:lnTo>
                    <a:pt x="1657" y="306"/>
                  </a:lnTo>
                  <a:lnTo>
                    <a:pt x="1662" y="307"/>
                  </a:lnTo>
                  <a:lnTo>
                    <a:pt x="1676" y="309"/>
                  </a:lnTo>
                  <a:lnTo>
                    <a:pt x="1692" y="312"/>
                  </a:lnTo>
                  <a:lnTo>
                    <a:pt x="1695" y="312"/>
                  </a:lnTo>
                  <a:lnTo>
                    <a:pt x="1700" y="312"/>
                  </a:lnTo>
                  <a:lnTo>
                    <a:pt x="1703" y="315"/>
                  </a:lnTo>
                  <a:lnTo>
                    <a:pt x="1708" y="317"/>
                  </a:lnTo>
                  <a:lnTo>
                    <a:pt x="1709" y="319"/>
                  </a:lnTo>
                  <a:lnTo>
                    <a:pt x="1714" y="320"/>
                  </a:lnTo>
                  <a:lnTo>
                    <a:pt x="1717" y="323"/>
                  </a:lnTo>
                  <a:lnTo>
                    <a:pt x="1721" y="326"/>
                  </a:lnTo>
                  <a:lnTo>
                    <a:pt x="1724" y="331"/>
                  </a:lnTo>
                  <a:lnTo>
                    <a:pt x="1727" y="336"/>
                  </a:lnTo>
                  <a:lnTo>
                    <a:pt x="1730" y="341"/>
                  </a:lnTo>
                  <a:lnTo>
                    <a:pt x="1732" y="345"/>
                  </a:lnTo>
                  <a:lnTo>
                    <a:pt x="1733" y="352"/>
                  </a:lnTo>
                  <a:lnTo>
                    <a:pt x="1736" y="360"/>
                  </a:lnTo>
                  <a:lnTo>
                    <a:pt x="1738" y="367"/>
                  </a:lnTo>
                  <a:lnTo>
                    <a:pt x="1738" y="377"/>
                  </a:lnTo>
                  <a:lnTo>
                    <a:pt x="1739" y="382"/>
                  </a:lnTo>
                  <a:lnTo>
                    <a:pt x="1739" y="383"/>
                  </a:lnTo>
                  <a:lnTo>
                    <a:pt x="1739" y="389"/>
                  </a:lnTo>
                  <a:lnTo>
                    <a:pt x="1738" y="394"/>
                  </a:lnTo>
                  <a:lnTo>
                    <a:pt x="1738" y="399"/>
                  </a:lnTo>
                  <a:lnTo>
                    <a:pt x="1736" y="404"/>
                  </a:lnTo>
                  <a:lnTo>
                    <a:pt x="1733" y="407"/>
                  </a:lnTo>
                  <a:lnTo>
                    <a:pt x="1730" y="410"/>
                  </a:lnTo>
                  <a:lnTo>
                    <a:pt x="1727" y="413"/>
                  </a:lnTo>
                  <a:lnTo>
                    <a:pt x="1713" y="424"/>
                  </a:lnTo>
                  <a:lnTo>
                    <a:pt x="1695" y="435"/>
                  </a:lnTo>
                  <a:lnTo>
                    <a:pt x="1694" y="438"/>
                  </a:lnTo>
                  <a:lnTo>
                    <a:pt x="1692" y="438"/>
                  </a:lnTo>
                  <a:lnTo>
                    <a:pt x="1691" y="440"/>
                  </a:lnTo>
                  <a:lnTo>
                    <a:pt x="1689" y="442"/>
                  </a:lnTo>
                  <a:lnTo>
                    <a:pt x="1689" y="443"/>
                  </a:lnTo>
                  <a:lnTo>
                    <a:pt x="1689" y="445"/>
                  </a:lnTo>
                  <a:lnTo>
                    <a:pt x="1689" y="446"/>
                  </a:lnTo>
                  <a:lnTo>
                    <a:pt x="1689" y="448"/>
                  </a:lnTo>
                  <a:lnTo>
                    <a:pt x="1689" y="451"/>
                  </a:lnTo>
                  <a:lnTo>
                    <a:pt x="1691" y="453"/>
                  </a:lnTo>
                  <a:lnTo>
                    <a:pt x="1694" y="456"/>
                  </a:lnTo>
                  <a:lnTo>
                    <a:pt x="1697" y="459"/>
                  </a:lnTo>
                  <a:lnTo>
                    <a:pt x="1700" y="460"/>
                  </a:lnTo>
                  <a:lnTo>
                    <a:pt x="1703" y="460"/>
                  </a:lnTo>
                  <a:lnTo>
                    <a:pt x="1708" y="462"/>
                  </a:lnTo>
                  <a:lnTo>
                    <a:pt x="1711" y="460"/>
                  </a:lnTo>
                  <a:lnTo>
                    <a:pt x="1714" y="460"/>
                  </a:lnTo>
                  <a:lnTo>
                    <a:pt x="1716" y="460"/>
                  </a:lnTo>
                  <a:lnTo>
                    <a:pt x="1717" y="459"/>
                  </a:lnTo>
                  <a:lnTo>
                    <a:pt x="1721" y="459"/>
                  </a:lnTo>
                  <a:lnTo>
                    <a:pt x="1724" y="456"/>
                  </a:lnTo>
                  <a:lnTo>
                    <a:pt x="1725" y="456"/>
                  </a:lnTo>
                  <a:lnTo>
                    <a:pt x="1727" y="453"/>
                  </a:lnTo>
                  <a:lnTo>
                    <a:pt x="1730" y="451"/>
                  </a:lnTo>
                  <a:lnTo>
                    <a:pt x="1732" y="445"/>
                  </a:lnTo>
                  <a:lnTo>
                    <a:pt x="1735" y="438"/>
                  </a:lnTo>
                  <a:lnTo>
                    <a:pt x="1738" y="434"/>
                  </a:lnTo>
                  <a:lnTo>
                    <a:pt x="1741" y="430"/>
                  </a:lnTo>
                  <a:lnTo>
                    <a:pt x="1743" y="426"/>
                  </a:lnTo>
                  <a:lnTo>
                    <a:pt x="1746" y="423"/>
                  </a:lnTo>
                  <a:lnTo>
                    <a:pt x="1749" y="419"/>
                  </a:lnTo>
                  <a:lnTo>
                    <a:pt x="1754" y="416"/>
                  </a:lnTo>
                  <a:lnTo>
                    <a:pt x="1757" y="413"/>
                  </a:lnTo>
                  <a:lnTo>
                    <a:pt x="1758" y="412"/>
                  </a:lnTo>
                  <a:lnTo>
                    <a:pt x="1763" y="410"/>
                  </a:lnTo>
                  <a:lnTo>
                    <a:pt x="1766" y="408"/>
                  </a:lnTo>
                  <a:lnTo>
                    <a:pt x="1771" y="407"/>
                  </a:lnTo>
                  <a:lnTo>
                    <a:pt x="1774" y="407"/>
                  </a:lnTo>
                  <a:lnTo>
                    <a:pt x="1777" y="405"/>
                  </a:lnTo>
                  <a:lnTo>
                    <a:pt x="1782" y="405"/>
                  </a:lnTo>
                  <a:lnTo>
                    <a:pt x="1790" y="405"/>
                  </a:lnTo>
                  <a:lnTo>
                    <a:pt x="1798" y="405"/>
                  </a:lnTo>
                  <a:lnTo>
                    <a:pt x="1807" y="405"/>
                  </a:lnTo>
                  <a:lnTo>
                    <a:pt x="1817" y="405"/>
                  </a:lnTo>
                  <a:lnTo>
                    <a:pt x="1826" y="405"/>
                  </a:lnTo>
                  <a:lnTo>
                    <a:pt x="1836" y="405"/>
                  </a:lnTo>
                  <a:lnTo>
                    <a:pt x="1847" y="404"/>
                  </a:lnTo>
                  <a:lnTo>
                    <a:pt x="1858" y="402"/>
                  </a:lnTo>
                  <a:lnTo>
                    <a:pt x="1866" y="402"/>
                  </a:lnTo>
                  <a:lnTo>
                    <a:pt x="1872" y="402"/>
                  </a:lnTo>
                  <a:lnTo>
                    <a:pt x="1877" y="402"/>
                  </a:lnTo>
                  <a:lnTo>
                    <a:pt x="1882" y="402"/>
                  </a:lnTo>
                  <a:lnTo>
                    <a:pt x="1886" y="404"/>
                  </a:lnTo>
                  <a:lnTo>
                    <a:pt x="1891" y="405"/>
                  </a:lnTo>
                  <a:lnTo>
                    <a:pt x="1894" y="408"/>
                  </a:lnTo>
                  <a:lnTo>
                    <a:pt x="1899" y="410"/>
                  </a:lnTo>
                  <a:lnTo>
                    <a:pt x="1902" y="413"/>
                  </a:lnTo>
                  <a:lnTo>
                    <a:pt x="1904" y="416"/>
                  </a:lnTo>
                  <a:lnTo>
                    <a:pt x="1905" y="419"/>
                  </a:lnTo>
                  <a:lnTo>
                    <a:pt x="1907" y="423"/>
                  </a:lnTo>
                  <a:lnTo>
                    <a:pt x="1909" y="426"/>
                  </a:lnTo>
                  <a:lnTo>
                    <a:pt x="1910" y="429"/>
                  </a:lnTo>
                  <a:lnTo>
                    <a:pt x="1910" y="432"/>
                  </a:lnTo>
                  <a:lnTo>
                    <a:pt x="1910" y="435"/>
                  </a:lnTo>
                  <a:lnTo>
                    <a:pt x="1910" y="438"/>
                  </a:lnTo>
                  <a:lnTo>
                    <a:pt x="1910" y="440"/>
                  </a:lnTo>
                  <a:lnTo>
                    <a:pt x="1910" y="443"/>
                  </a:lnTo>
                  <a:lnTo>
                    <a:pt x="1909" y="446"/>
                  </a:lnTo>
                  <a:lnTo>
                    <a:pt x="1905" y="451"/>
                  </a:lnTo>
                  <a:lnTo>
                    <a:pt x="1904" y="456"/>
                  </a:lnTo>
                  <a:lnTo>
                    <a:pt x="1899" y="459"/>
                  </a:lnTo>
                  <a:lnTo>
                    <a:pt x="1896" y="464"/>
                  </a:lnTo>
                  <a:lnTo>
                    <a:pt x="1891" y="468"/>
                  </a:lnTo>
                  <a:lnTo>
                    <a:pt x="1886" y="472"/>
                  </a:lnTo>
                  <a:lnTo>
                    <a:pt x="1879" y="479"/>
                  </a:lnTo>
                  <a:lnTo>
                    <a:pt x="1872" y="486"/>
                  </a:lnTo>
                  <a:lnTo>
                    <a:pt x="1869" y="489"/>
                  </a:lnTo>
                  <a:lnTo>
                    <a:pt x="1867" y="492"/>
                  </a:lnTo>
                  <a:lnTo>
                    <a:pt x="1867" y="494"/>
                  </a:lnTo>
                  <a:lnTo>
                    <a:pt x="1867" y="497"/>
                  </a:lnTo>
                  <a:lnTo>
                    <a:pt x="1867" y="498"/>
                  </a:lnTo>
                  <a:lnTo>
                    <a:pt x="1867" y="500"/>
                  </a:lnTo>
                  <a:lnTo>
                    <a:pt x="1871" y="513"/>
                  </a:lnTo>
                  <a:lnTo>
                    <a:pt x="1872" y="525"/>
                  </a:lnTo>
                  <a:lnTo>
                    <a:pt x="1875" y="539"/>
                  </a:lnTo>
                  <a:lnTo>
                    <a:pt x="1879" y="552"/>
                  </a:lnTo>
                  <a:lnTo>
                    <a:pt x="1880" y="565"/>
                  </a:lnTo>
                  <a:lnTo>
                    <a:pt x="1883" y="576"/>
                  </a:lnTo>
                  <a:lnTo>
                    <a:pt x="1885" y="588"/>
                  </a:lnTo>
                  <a:lnTo>
                    <a:pt x="1888" y="599"/>
                  </a:lnTo>
                  <a:lnTo>
                    <a:pt x="1888" y="601"/>
                  </a:lnTo>
                  <a:lnTo>
                    <a:pt x="1885" y="601"/>
                  </a:lnTo>
                  <a:lnTo>
                    <a:pt x="1882" y="601"/>
                  </a:lnTo>
                  <a:lnTo>
                    <a:pt x="1885" y="601"/>
                  </a:lnTo>
                  <a:lnTo>
                    <a:pt x="1890" y="601"/>
                  </a:lnTo>
                  <a:lnTo>
                    <a:pt x="1894" y="621"/>
                  </a:lnTo>
                  <a:lnTo>
                    <a:pt x="1901" y="640"/>
                  </a:lnTo>
                  <a:lnTo>
                    <a:pt x="1905" y="659"/>
                  </a:lnTo>
                  <a:lnTo>
                    <a:pt x="1912" y="678"/>
                  </a:lnTo>
                  <a:lnTo>
                    <a:pt x="1916" y="694"/>
                  </a:lnTo>
                  <a:lnTo>
                    <a:pt x="1921" y="710"/>
                  </a:lnTo>
                  <a:lnTo>
                    <a:pt x="1926" y="724"/>
                  </a:lnTo>
                  <a:lnTo>
                    <a:pt x="1931" y="738"/>
                  </a:lnTo>
                  <a:lnTo>
                    <a:pt x="1935" y="751"/>
                  </a:lnTo>
                  <a:lnTo>
                    <a:pt x="1940" y="762"/>
                  </a:lnTo>
                  <a:lnTo>
                    <a:pt x="1946" y="773"/>
                  </a:lnTo>
                  <a:lnTo>
                    <a:pt x="1950" y="782"/>
                  </a:lnTo>
                  <a:lnTo>
                    <a:pt x="1954" y="792"/>
                  </a:lnTo>
                  <a:lnTo>
                    <a:pt x="1959" y="800"/>
                  </a:lnTo>
                  <a:lnTo>
                    <a:pt x="1964" y="806"/>
                  </a:lnTo>
                  <a:lnTo>
                    <a:pt x="1967" y="811"/>
                  </a:lnTo>
                  <a:lnTo>
                    <a:pt x="1967" y="812"/>
                  </a:lnTo>
                  <a:lnTo>
                    <a:pt x="1967" y="814"/>
                  </a:lnTo>
                  <a:lnTo>
                    <a:pt x="1965" y="814"/>
                  </a:lnTo>
                  <a:lnTo>
                    <a:pt x="1962" y="815"/>
                  </a:lnTo>
                  <a:lnTo>
                    <a:pt x="1958" y="815"/>
                  </a:lnTo>
                  <a:lnTo>
                    <a:pt x="1951" y="815"/>
                  </a:lnTo>
                  <a:lnTo>
                    <a:pt x="1945" y="815"/>
                  </a:lnTo>
                  <a:lnTo>
                    <a:pt x="1937" y="815"/>
                  </a:lnTo>
                  <a:lnTo>
                    <a:pt x="1929" y="819"/>
                  </a:lnTo>
                  <a:lnTo>
                    <a:pt x="1926" y="819"/>
                  </a:lnTo>
                  <a:lnTo>
                    <a:pt x="1921" y="820"/>
                  </a:lnTo>
                  <a:lnTo>
                    <a:pt x="1916" y="822"/>
                  </a:lnTo>
                  <a:lnTo>
                    <a:pt x="1912" y="823"/>
                  </a:lnTo>
                  <a:lnTo>
                    <a:pt x="1909" y="826"/>
                  </a:lnTo>
                  <a:lnTo>
                    <a:pt x="1905" y="831"/>
                  </a:lnTo>
                  <a:lnTo>
                    <a:pt x="1901" y="834"/>
                  </a:lnTo>
                  <a:lnTo>
                    <a:pt x="1897" y="837"/>
                  </a:lnTo>
                  <a:lnTo>
                    <a:pt x="1894" y="842"/>
                  </a:lnTo>
                  <a:lnTo>
                    <a:pt x="1891" y="848"/>
                  </a:lnTo>
                  <a:lnTo>
                    <a:pt x="1891" y="850"/>
                  </a:lnTo>
                  <a:lnTo>
                    <a:pt x="1890" y="853"/>
                  </a:lnTo>
                  <a:lnTo>
                    <a:pt x="1886" y="860"/>
                  </a:lnTo>
                  <a:lnTo>
                    <a:pt x="1885" y="867"/>
                  </a:lnTo>
                  <a:lnTo>
                    <a:pt x="1885" y="869"/>
                  </a:lnTo>
                  <a:lnTo>
                    <a:pt x="1885" y="875"/>
                  </a:lnTo>
                  <a:lnTo>
                    <a:pt x="1883" y="885"/>
                  </a:lnTo>
                  <a:lnTo>
                    <a:pt x="1882" y="893"/>
                  </a:lnTo>
                  <a:lnTo>
                    <a:pt x="1883" y="896"/>
                  </a:lnTo>
                  <a:lnTo>
                    <a:pt x="1883" y="897"/>
                  </a:lnTo>
                  <a:lnTo>
                    <a:pt x="1885" y="901"/>
                  </a:lnTo>
                  <a:lnTo>
                    <a:pt x="1885" y="902"/>
                  </a:lnTo>
                  <a:lnTo>
                    <a:pt x="1886" y="907"/>
                  </a:lnTo>
                  <a:lnTo>
                    <a:pt x="1890" y="912"/>
                  </a:lnTo>
                  <a:lnTo>
                    <a:pt x="1896" y="921"/>
                  </a:lnTo>
                  <a:lnTo>
                    <a:pt x="1904" y="931"/>
                  </a:lnTo>
                  <a:lnTo>
                    <a:pt x="1907" y="937"/>
                  </a:lnTo>
                  <a:lnTo>
                    <a:pt x="1909" y="940"/>
                  </a:lnTo>
                  <a:lnTo>
                    <a:pt x="1912" y="943"/>
                  </a:lnTo>
                  <a:lnTo>
                    <a:pt x="1912" y="948"/>
                  </a:lnTo>
                  <a:lnTo>
                    <a:pt x="1913" y="949"/>
                  </a:lnTo>
                  <a:lnTo>
                    <a:pt x="1913" y="951"/>
                  </a:lnTo>
                  <a:lnTo>
                    <a:pt x="1912" y="951"/>
                  </a:lnTo>
                  <a:lnTo>
                    <a:pt x="1912" y="953"/>
                  </a:lnTo>
                  <a:lnTo>
                    <a:pt x="1912" y="954"/>
                  </a:lnTo>
                  <a:lnTo>
                    <a:pt x="1910" y="956"/>
                  </a:lnTo>
                  <a:lnTo>
                    <a:pt x="1909" y="957"/>
                  </a:lnTo>
                  <a:lnTo>
                    <a:pt x="1907" y="957"/>
                  </a:lnTo>
                  <a:lnTo>
                    <a:pt x="1905" y="957"/>
                  </a:lnTo>
                  <a:lnTo>
                    <a:pt x="1902" y="956"/>
                  </a:lnTo>
                  <a:lnTo>
                    <a:pt x="1899" y="954"/>
                  </a:lnTo>
                  <a:lnTo>
                    <a:pt x="1897" y="951"/>
                  </a:lnTo>
                  <a:lnTo>
                    <a:pt x="1891" y="945"/>
                  </a:lnTo>
                  <a:lnTo>
                    <a:pt x="1885" y="938"/>
                  </a:lnTo>
                  <a:lnTo>
                    <a:pt x="1882" y="935"/>
                  </a:lnTo>
                  <a:lnTo>
                    <a:pt x="1880" y="932"/>
                  </a:lnTo>
                  <a:lnTo>
                    <a:pt x="1877" y="931"/>
                  </a:lnTo>
                  <a:lnTo>
                    <a:pt x="1875" y="929"/>
                  </a:lnTo>
                  <a:lnTo>
                    <a:pt x="1874" y="927"/>
                  </a:lnTo>
                  <a:lnTo>
                    <a:pt x="1872" y="927"/>
                  </a:lnTo>
                  <a:lnTo>
                    <a:pt x="1871" y="929"/>
                  </a:lnTo>
                  <a:lnTo>
                    <a:pt x="1869" y="929"/>
                  </a:lnTo>
                  <a:lnTo>
                    <a:pt x="1869" y="931"/>
                  </a:lnTo>
                  <a:lnTo>
                    <a:pt x="1867" y="931"/>
                  </a:lnTo>
                  <a:lnTo>
                    <a:pt x="1867" y="975"/>
                  </a:lnTo>
                  <a:lnTo>
                    <a:pt x="1872" y="978"/>
                  </a:lnTo>
                  <a:lnTo>
                    <a:pt x="1877" y="983"/>
                  </a:lnTo>
                  <a:lnTo>
                    <a:pt x="1880" y="984"/>
                  </a:lnTo>
                  <a:lnTo>
                    <a:pt x="1882" y="987"/>
                  </a:lnTo>
                  <a:lnTo>
                    <a:pt x="1883" y="990"/>
                  </a:lnTo>
                  <a:lnTo>
                    <a:pt x="1885" y="992"/>
                  </a:lnTo>
                  <a:lnTo>
                    <a:pt x="1885" y="995"/>
                  </a:lnTo>
                  <a:lnTo>
                    <a:pt x="1885" y="998"/>
                  </a:lnTo>
                  <a:lnTo>
                    <a:pt x="1883" y="1001"/>
                  </a:lnTo>
                  <a:lnTo>
                    <a:pt x="1882" y="1003"/>
                  </a:lnTo>
                  <a:lnTo>
                    <a:pt x="1877" y="1003"/>
                  </a:lnTo>
                  <a:lnTo>
                    <a:pt x="1874" y="1005"/>
                  </a:lnTo>
                  <a:lnTo>
                    <a:pt x="1869" y="1005"/>
                  </a:lnTo>
                  <a:lnTo>
                    <a:pt x="1866" y="1008"/>
                  </a:lnTo>
                  <a:lnTo>
                    <a:pt x="1863" y="1008"/>
                  </a:lnTo>
                  <a:lnTo>
                    <a:pt x="1860" y="1011"/>
                  </a:lnTo>
                  <a:lnTo>
                    <a:pt x="1856" y="1013"/>
                  </a:lnTo>
                  <a:lnTo>
                    <a:pt x="1853" y="1016"/>
                  </a:lnTo>
                  <a:lnTo>
                    <a:pt x="1853" y="1017"/>
                  </a:lnTo>
                  <a:lnTo>
                    <a:pt x="1852" y="1020"/>
                  </a:lnTo>
                  <a:lnTo>
                    <a:pt x="1852" y="1024"/>
                  </a:lnTo>
                  <a:lnTo>
                    <a:pt x="1852" y="1025"/>
                  </a:lnTo>
                  <a:lnTo>
                    <a:pt x="1853" y="1030"/>
                  </a:lnTo>
                  <a:lnTo>
                    <a:pt x="1853" y="1033"/>
                  </a:lnTo>
                  <a:lnTo>
                    <a:pt x="1856" y="1036"/>
                  </a:lnTo>
                  <a:lnTo>
                    <a:pt x="1860" y="1041"/>
                  </a:lnTo>
                  <a:lnTo>
                    <a:pt x="1866" y="1049"/>
                  </a:lnTo>
                  <a:lnTo>
                    <a:pt x="1874" y="1057"/>
                  </a:lnTo>
                  <a:lnTo>
                    <a:pt x="1880" y="1066"/>
                  </a:lnTo>
                  <a:lnTo>
                    <a:pt x="1886" y="1077"/>
                  </a:lnTo>
                  <a:lnTo>
                    <a:pt x="1901" y="1098"/>
                  </a:lnTo>
                  <a:lnTo>
                    <a:pt x="1915" y="1120"/>
                  </a:lnTo>
                  <a:lnTo>
                    <a:pt x="1921" y="1131"/>
                  </a:lnTo>
                  <a:lnTo>
                    <a:pt x="1928" y="1142"/>
                  </a:lnTo>
                  <a:lnTo>
                    <a:pt x="1934" y="1151"/>
                  </a:lnTo>
                  <a:lnTo>
                    <a:pt x="1940" y="1159"/>
                  </a:lnTo>
                  <a:lnTo>
                    <a:pt x="1946" y="1166"/>
                  </a:lnTo>
                  <a:lnTo>
                    <a:pt x="1951" y="1172"/>
                  </a:lnTo>
                  <a:lnTo>
                    <a:pt x="1953" y="1175"/>
                  </a:lnTo>
                  <a:lnTo>
                    <a:pt x="1956" y="1177"/>
                  </a:lnTo>
                  <a:lnTo>
                    <a:pt x="1959" y="1178"/>
                  </a:lnTo>
                  <a:lnTo>
                    <a:pt x="1961" y="1178"/>
                  </a:lnTo>
                  <a:lnTo>
                    <a:pt x="1965" y="1178"/>
                  </a:lnTo>
                  <a:lnTo>
                    <a:pt x="1969" y="1178"/>
                  </a:lnTo>
                  <a:lnTo>
                    <a:pt x="1970" y="1178"/>
                  </a:lnTo>
                  <a:lnTo>
                    <a:pt x="1972" y="1178"/>
                  </a:lnTo>
                  <a:lnTo>
                    <a:pt x="1972" y="1177"/>
                  </a:lnTo>
                  <a:lnTo>
                    <a:pt x="1973" y="1175"/>
                  </a:lnTo>
                  <a:lnTo>
                    <a:pt x="1973" y="1173"/>
                  </a:lnTo>
                  <a:lnTo>
                    <a:pt x="1972" y="1170"/>
                  </a:lnTo>
                  <a:lnTo>
                    <a:pt x="1972" y="1169"/>
                  </a:lnTo>
                  <a:lnTo>
                    <a:pt x="1969" y="1161"/>
                  </a:lnTo>
                  <a:lnTo>
                    <a:pt x="1969" y="1156"/>
                  </a:lnTo>
                  <a:lnTo>
                    <a:pt x="1967" y="1153"/>
                  </a:lnTo>
                  <a:lnTo>
                    <a:pt x="1967" y="1151"/>
                  </a:lnTo>
                  <a:lnTo>
                    <a:pt x="1967" y="1150"/>
                  </a:lnTo>
                  <a:lnTo>
                    <a:pt x="1967" y="1148"/>
                  </a:lnTo>
                  <a:lnTo>
                    <a:pt x="1969" y="1145"/>
                  </a:lnTo>
                  <a:lnTo>
                    <a:pt x="1972" y="1142"/>
                  </a:lnTo>
                  <a:lnTo>
                    <a:pt x="1973" y="1140"/>
                  </a:lnTo>
                  <a:lnTo>
                    <a:pt x="1973" y="1137"/>
                  </a:lnTo>
                  <a:lnTo>
                    <a:pt x="1976" y="1134"/>
                  </a:lnTo>
                  <a:lnTo>
                    <a:pt x="1980" y="1132"/>
                  </a:lnTo>
                  <a:lnTo>
                    <a:pt x="1981" y="1131"/>
                  </a:lnTo>
                  <a:lnTo>
                    <a:pt x="1984" y="1131"/>
                  </a:lnTo>
                  <a:lnTo>
                    <a:pt x="1986" y="1131"/>
                  </a:lnTo>
                  <a:lnTo>
                    <a:pt x="1989" y="1131"/>
                  </a:lnTo>
                  <a:lnTo>
                    <a:pt x="1991" y="1131"/>
                  </a:lnTo>
                  <a:lnTo>
                    <a:pt x="1992" y="1132"/>
                  </a:lnTo>
                  <a:lnTo>
                    <a:pt x="1994" y="1132"/>
                  </a:lnTo>
                  <a:lnTo>
                    <a:pt x="1995" y="1136"/>
                  </a:lnTo>
                  <a:lnTo>
                    <a:pt x="1997" y="1136"/>
                  </a:lnTo>
                  <a:lnTo>
                    <a:pt x="1997" y="1142"/>
                  </a:lnTo>
                  <a:lnTo>
                    <a:pt x="1999" y="1147"/>
                  </a:lnTo>
                  <a:lnTo>
                    <a:pt x="2000" y="1151"/>
                  </a:lnTo>
                  <a:lnTo>
                    <a:pt x="2000" y="1154"/>
                  </a:lnTo>
                  <a:lnTo>
                    <a:pt x="2002" y="1158"/>
                  </a:lnTo>
                  <a:lnTo>
                    <a:pt x="2003" y="1161"/>
                  </a:lnTo>
                  <a:lnTo>
                    <a:pt x="2005" y="1164"/>
                  </a:lnTo>
                  <a:lnTo>
                    <a:pt x="2007" y="1166"/>
                  </a:lnTo>
                  <a:lnTo>
                    <a:pt x="2008" y="1169"/>
                  </a:lnTo>
                  <a:lnTo>
                    <a:pt x="2007" y="1166"/>
                  </a:lnTo>
                  <a:lnTo>
                    <a:pt x="2008" y="1169"/>
                  </a:lnTo>
                  <a:lnTo>
                    <a:pt x="2010" y="1170"/>
                  </a:lnTo>
                  <a:lnTo>
                    <a:pt x="2013" y="1172"/>
                  </a:lnTo>
                  <a:lnTo>
                    <a:pt x="2014" y="1173"/>
                  </a:lnTo>
                  <a:lnTo>
                    <a:pt x="2018" y="1177"/>
                  </a:lnTo>
                  <a:lnTo>
                    <a:pt x="2024" y="1178"/>
                  </a:lnTo>
                  <a:lnTo>
                    <a:pt x="2030" y="1181"/>
                  </a:lnTo>
                  <a:lnTo>
                    <a:pt x="2035" y="1181"/>
                  </a:lnTo>
                  <a:lnTo>
                    <a:pt x="2043" y="1184"/>
                  </a:lnTo>
                  <a:lnTo>
                    <a:pt x="2051" y="1184"/>
                  </a:lnTo>
                  <a:lnTo>
                    <a:pt x="2060" y="1184"/>
                  </a:lnTo>
                  <a:lnTo>
                    <a:pt x="2067" y="1184"/>
                  </a:lnTo>
                  <a:lnTo>
                    <a:pt x="2074" y="1184"/>
                  </a:lnTo>
                  <a:lnTo>
                    <a:pt x="2081" y="1184"/>
                  </a:lnTo>
                  <a:lnTo>
                    <a:pt x="2086" y="1186"/>
                  </a:lnTo>
                  <a:lnTo>
                    <a:pt x="2090" y="1189"/>
                  </a:lnTo>
                  <a:lnTo>
                    <a:pt x="2095" y="1191"/>
                  </a:lnTo>
                  <a:lnTo>
                    <a:pt x="2098" y="1194"/>
                  </a:lnTo>
                  <a:lnTo>
                    <a:pt x="2100" y="1202"/>
                  </a:lnTo>
                  <a:lnTo>
                    <a:pt x="2100" y="1207"/>
                  </a:lnTo>
                  <a:lnTo>
                    <a:pt x="2100" y="1211"/>
                  </a:lnTo>
                  <a:lnTo>
                    <a:pt x="2100" y="1216"/>
                  </a:lnTo>
                  <a:lnTo>
                    <a:pt x="2100" y="1219"/>
                  </a:lnTo>
                  <a:lnTo>
                    <a:pt x="2097" y="1222"/>
                  </a:lnTo>
                  <a:lnTo>
                    <a:pt x="2095" y="1224"/>
                  </a:lnTo>
                  <a:lnTo>
                    <a:pt x="2092" y="1224"/>
                  </a:lnTo>
                  <a:lnTo>
                    <a:pt x="2090" y="1224"/>
                  </a:lnTo>
                  <a:lnTo>
                    <a:pt x="2087" y="1222"/>
                  </a:lnTo>
                  <a:lnTo>
                    <a:pt x="2086" y="1222"/>
                  </a:lnTo>
                  <a:lnTo>
                    <a:pt x="2079" y="1219"/>
                  </a:lnTo>
                  <a:lnTo>
                    <a:pt x="2074" y="1216"/>
                  </a:lnTo>
                  <a:lnTo>
                    <a:pt x="2071" y="1213"/>
                  </a:lnTo>
                  <a:lnTo>
                    <a:pt x="2067" y="1211"/>
                  </a:lnTo>
                  <a:lnTo>
                    <a:pt x="2065" y="1211"/>
                  </a:lnTo>
                  <a:lnTo>
                    <a:pt x="2065" y="1214"/>
                  </a:lnTo>
                  <a:lnTo>
                    <a:pt x="2065" y="1216"/>
                  </a:lnTo>
                  <a:lnTo>
                    <a:pt x="2067" y="1219"/>
                  </a:lnTo>
                  <a:lnTo>
                    <a:pt x="2068" y="1224"/>
                  </a:lnTo>
                  <a:lnTo>
                    <a:pt x="2071" y="1229"/>
                  </a:lnTo>
                  <a:lnTo>
                    <a:pt x="2078" y="1243"/>
                  </a:lnTo>
                  <a:lnTo>
                    <a:pt x="2089" y="1260"/>
                  </a:lnTo>
                  <a:lnTo>
                    <a:pt x="2090" y="1263"/>
                  </a:lnTo>
                  <a:lnTo>
                    <a:pt x="2092" y="1265"/>
                  </a:lnTo>
                  <a:lnTo>
                    <a:pt x="2095" y="1268"/>
                  </a:lnTo>
                  <a:lnTo>
                    <a:pt x="2097" y="1270"/>
                  </a:lnTo>
                  <a:lnTo>
                    <a:pt x="2104" y="1273"/>
                  </a:lnTo>
                  <a:lnTo>
                    <a:pt x="2112" y="1278"/>
                  </a:lnTo>
                  <a:lnTo>
                    <a:pt x="2130" y="1284"/>
                  </a:lnTo>
                  <a:lnTo>
                    <a:pt x="2146" y="1292"/>
                  </a:lnTo>
                  <a:lnTo>
                    <a:pt x="2150" y="1293"/>
                  </a:lnTo>
                  <a:lnTo>
                    <a:pt x="2153" y="1296"/>
                  </a:lnTo>
                  <a:lnTo>
                    <a:pt x="2157" y="1298"/>
                  </a:lnTo>
                  <a:lnTo>
                    <a:pt x="2158" y="1301"/>
                  </a:lnTo>
                  <a:lnTo>
                    <a:pt x="2161" y="1304"/>
                  </a:lnTo>
                  <a:lnTo>
                    <a:pt x="2163" y="1306"/>
                  </a:lnTo>
                  <a:lnTo>
                    <a:pt x="2165" y="1309"/>
                  </a:lnTo>
                  <a:lnTo>
                    <a:pt x="2166" y="1312"/>
                  </a:lnTo>
                  <a:lnTo>
                    <a:pt x="2166" y="1317"/>
                  </a:lnTo>
                  <a:lnTo>
                    <a:pt x="2166" y="1319"/>
                  </a:lnTo>
                  <a:lnTo>
                    <a:pt x="2166" y="1323"/>
                  </a:lnTo>
                  <a:lnTo>
                    <a:pt x="2163" y="1326"/>
                  </a:lnTo>
                  <a:lnTo>
                    <a:pt x="2161" y="1331"/>
                  </a:lnTo>
                  <a:lnTo>
                    <a:pt x="2158" y="1336"/>
                  </a:lnTo>
                  <a:lnTo>
                    <a:pt x="2153" y="1341"/>
                  </a:lnTo>
                  <a:lnTo>
                    <a:pt x="2149" y="1345"/>
                  </a:lnTo>
                  <a:lnTo>
                    <a:pt x="2144" y="1350"/>
                  </a:lnTo>
                  <a:lnTo>
                    <a:pt x="2142" y="1353"/>
                  </a:lnTo>
                  <a:lnTo>
                    <a:pt x="2141" y="1355"/>
                  </a:lnTo>
                  <a:lnTo>
                    <a:pt x="2141" y="1356"/>
                  </a:lnTo>
                  <a:lnTo>
                    <a:pt x="2141" y="1358"/>
                  </a:lnTo>
                  <a:lnTo>
                    <a:pt x="2141" y="1360"/>
                  </a:lnTo>
                  <a:lnTo>
                    <a:pt x="2142" y="1371"/>
                  </a:lnTo>
                  <a:lnTo>
                    <a:pt x="2146" y="1386"/>
                  </a:lnTo>
                  <a:lnTo>
                    <a:pt x="2149" y="1393"/>
                  </a:lnTo>
                  <a:lnTo>
                    <a:pt x="2150" y="1399"/>
                  </a:lnTo>
                  <a:lnTo>
                    <a:pt x="2153" y="1404"/>
                  </a:lnTo>
                  <a:lnTo>
                    <a:pt x="2155" y="1408"/>
                  </a:lnTo>
                  <a:lnTo>
                    <a:pt x="2158" y="1413"/>
                  </a:lnTo>
                  <a:lnTo>
                    <a:pt x="2163" y="1416"/>
                  </a:lnTo>
                  <a:lnTo>
                    <a:pt x="2166" y="1421"/>
                  </a:lnTo>
                  <a:lnTo>
                    <a:pt x="2171" y="1424"/>
                  </a:lnTo>
                  <a:lnTo>
                    <a:pt x="2174" y="1426"/>
                  </a:lnTo>
                  <a:lnTo>
                    <a:pt x="2177" y="1429"/>
                  </a:lnTo>
                  <a:lnTo>
                    <a:pt x="2182" y="1432"/>
                  </a:lnTo>
                  <a:lnTo>
                    <a:pt x="2187" y="1434"/>
                  </a:lnTo>
                  <a:lnTo>
                    <a:pt x="2195" y="1437"/>
                  </a:lnTo>
                  <a:lnTo>
                    <a:pt x="2201" y="1442"/>
                  </a:lnTo>
                  <a:lnTo>
                    <a:pt x="2207" y="1443"/>
                  </a:lnTo>
                  <a:lnTo>
                    <a:pt x="2212" y="1446"/>
                  </a:lnTo>
                  <a:lnTo>
                    <a:pt x="2215" y="1446"/>
                  </a:lnTo>
                  <a:lnTo>
                    <a:pt x="2217" y="1446"/>
                  </a:lnTo>
                  <a:lnTo>
                    <a:pt x="2217" y="1449"/>
                  </a:lnTo>
                  <a:lnTo>
                    <a:pt x="2218" y="1449"/>
                  </a:lnTo>
                  <a:lnTo>
                    <a:pt x="2218" y="1451"/>
                  </a:lnTo>
                  <a:lnTo>
                    <a:pt x="2217" y="1453"/>
                  </a:lnTo>
                  <a:lnTo>
                    <a:pt x="2215" y="1454"/>
                  </a:lnTo>
                  <a:lnTo>
                    <a:pt x="2209" y="1457"/>
                  </a:lnTo>
                  <a:lnTo>
                    <a:pt x="2201" y="1460"/>
                  </a:lnTo>
                  <a:lnTo>
                    <a:pt x="2199" y="1462"/>
                  </a:lnTo>
                  <a:lnTo>
                    <a:pt x="2196" y="1464"/>
                  </a:lnTo>
                  <a:lnTo>
                    <a:pt x="2195" y="1467"/>
                  </a:lnTo>
                  <a:lnTo>
                    <a:pt x="2193" y="1470"/>
                  </a:lnTo>
                  <a:lnTo>
                    <a:pt x="2191" y="1473"/>
                  </a:lnTo>
                  <a:lnTo>
                    <a:pt x="2190" y="1476"/>
                  </a:lnTo>
                  <a:lnTo>
                    <a:pt x="2190" y="1481"/>
                  </a:lnTo>
                  <a:lnTo>
                    <a:pt x="2188" y="1486"/>
                  </a:lnTo>
                  <a:lnTo>
                    <a:pt x="2188" y="1490"/>
                  </a:lnTo>
                  <a:lnTo>
                    <a:pt x="2187" y="1494"/>
                  </a:lnTo>
                  <a:lnTo>
                    <a:pt x="2187" y="1498"/>
                  </a:lnTo>
                  <a:lnTo>
                    <a:pt x="2187" y="1503"/>
                  </a:lnTo>
                  <a:lnTo>
                    <a:pt x="2188" y="1506"/>
                  </a:lnTo>
                  <a:lnTo>
                    <a:pt x="2188" y="1509"/>
                  </a:lnTo>
                  <a:lnTo>
                    <a:pt x="2190" y="1513"/>
                  </a:lnTo>
                  <a:lnTo>
                    <a:pt x="2191" y="1516"/>
                  </a:lnTo>
                  <a:lnTo>
                    <a:pt x="2196" y="1519"/>
                  </a:lnTo>
                  <a:lnTo>
                    <a:pt x="2199" y="1524"/>
                  </a:lnTo>
                  <a:lnTo>
                    <a:pt x="2204" y="1527"/>
                  </a:lnTo>
                  <a:lnTo>
                    <a:pt x="2207" y="1528"/>
                  </a:lnTo>
                  <a:lnTo>
                    <a:pt x="2215" y="1531"/>
                  </a:lnTo>
                  <a:lnTo>
                    <a:pt x="2220" y="1533"/>
                  </a:lnTo>
                  <a:lnTo>
                    <a:pt x="2223" y="1536"/>
                  </a:lnTo>
                  <a:lnTo>
                    <a:pt x="2226" y="1536"/>
                  </a:lnTo>
                  <a:lnTo>
                    <a:pt x="2229" y="1538"/>
                  </a:lnTo>
                  <a:lnTo>
                    <a:pt x="2231" y="1541"/>
                  </a:lnTo>
                  <a:lnTo>
                    <a:pt x="2232" y="1542"/>
                  </a:lnTo>
                  <a:lnTo>
                    <a:pt x="2236" y="1546"/>
                  </a:lnTo>
                  <a:lnTo>
                    <a:pt x="2237" y="1550"/>
                  </a:lnTo>
                  <a:lnTo>
                    <a:pt x="2240" y="1557"/>
                  </a:lnTo>
                  <a:lnTo>
                    <a:pt x="2245" y="1568"/>
                  </a:lnTo>
                  <a:lnTo>
                    <a:pt x="2250" y="1580"/>
                  </a:lnTo>
                  <a:lnTo>
                    <a:pt x="2253" y="1587"/>
                  </a:lnTo>
                  <a:lnTo>
                    <a:pt x="2255" y="1593"/>
                  </a:lnTo>
                  <a:lnTo>
                    <a:pt x="2256" y="1601"/>
                  </a:lnTo>
                  <a:lnTo>
                    <a:pt x="2258" y="1607"/>
                  </a:lnTo>
                  <a:lnTo>
                    <a:pt x="2261" y="1623"/>
                  </a:lnTo>
                  <a:lnTo>
                    <a:pt x="2262" y="1639"/>
                  </a:lnTo>
                  <a:lnTo>
                    <a:pt x="2266" y="1656"/>
                  </a:lnTo>
                  <a:lnTo>
                    <a:pt x="2266" y="1675"/>
                  </a:lnTo>
                  <a:lnTo>
                    <a:pt x="2243" y="1664"/>
                  </a:lnTo>
                  <a:lnTo>
                    <a:pt x="2217" y="1651"/>
                  </a:lnTo>
                  <a:lnTo>
                    <a:pt x="2190" y="1639"/>
                  </a:lnTo>
                  <a:lnTo>
                    <a:pt x="2163" y="1625"/>
                  </a:lnTo>
                  <a:lnTo>
                    <a:pt x="2134" y="1610"/>
                  </a:lnTo>
                  <a:lnTo>
                    <a:pt x="2108" y="1598"/>
                  </a:lnTo>
                  <a:lnTo>
                    <a:pt x="2082" y="1587"/>
                  </a:lnTo>
                  <a:lnTo>
                    <a:pt x="2060" y="1577"/>
                  </a:lnTo>
                  <a:lnTo>
                    <a:pt x="2048" y="1571"/>
                  </a:lnTo>
                  <a:lnTo>
                    <a:pt x="2035" y="1565"/>
                  </a:lnTo>
                  <a:lnTo>
                    <a:pt x="2024" y="1558"/>
                  </a:lnTo>
                  <a:lnTo>
                    <a:pt x="2013" y="1550"/>
                  </a:lnTo>
                  <a:lnTo>
                    <a:pt x="2002" y="1544"/>
                  </a:lnTo>
                  <a:lnTo>
                    <a:pt x="1992" y="1536"/>
                  </a:lnTo>
                  <a:lnTo>
                    <a:pt x="1981" y="1528"/>
                  </a:lnTo>
                  <a:lnTo>
                    <a:pt x="1973" y="1522"/>
                  </a:lnTo>
                  <a:lnTo>
                    <a:pt x="1959" y="1509"/>
                  </a:lnTo>
                  <a:lnTo>
                    <a:pt x="1946" y="1498"/>
                  </a:lnTo>
                  <a:lnTo>
                    <a:pt x="1940" y="1492"/>
                  </a:lnTo>
                  <a:lnTo>
                    <a:pt x="1937" y="1489"/>
                  </a:lnTo>
                  <a:lnTo>
                    <a:pt x="1935" y="1490"/>
                  </a:lnTo>
                  <a:lnTo>
                    <a:pt x="1931" y="1484"/>
                  </a:lnTo>
                  <a:lnTo>
                    <a:pt x="1924" y="1478"/>
                  </a:lnTo>
                  <a:lnTo>
                    <a:pt x="1920" y="1473"/>
                  </a:lnTo>
                  <a:lnTo>
                    <a:pt x="1915" y="1467"/>
                  </a:lnTo>
                  <a:lnTo>
                    <a:pt x="1910" y="1462"/>
                  </a:lnTo>
                  <a:lnTo>
                    <a:pt x="1907" y="1457"/>
                  </a:lnTo>
                  <a:lnTo>
                    <a:pt x="1905" y="1453"/>
                  </a:lnTo>
                  <a:lnTo>
                    <a:pt x="1902" y="1448"/>
                  </a:lnTo>
                  <a:lnTo>
                    <a:pt x="1899" y="1443"/>
                  </a:lnTo>
                  <a:lnTo>
                    <a:pt x="1897" y="1440"/>
                  </a:lnTo>
                  <a:lnTo>
                    <a:pt x="1896" y="1435"/>
                  </a:lnTo>
                  <a:lnTo>
                    <a:pt x="1894" y="1432"/>
                  </a:lnTo>
                  <a:lnTo>
                    <a:pt x="1891" y="1424"/>
                  </a:lnTo>
                  <a:lnTo>
                    <a:pt x="1890" y="1416"/>
                  </a:lnTo>
                  <a:lnTo>
                    <a:pt x="1888" y="1404"/>
                  </a:lnTo>
                  <a:lnTo>
                    <a:pt x="1886" y="1393"/>
                  </a:lnTo>
                  <a:lnTo>
                    <a:pt x="1885" y="1391"/>
                  </a:lnTo>
                  <a:lnTo>
                    <a:pt x="1883" y="1388"/>
                  </a:lnTo>
                  <a:lnTo>
                    <a:pt x="1883" y="1386"/>
                  </a:lnTo>
                  <a:lnTo>
                    <a:pt x="1882" y="1383"/>
                  </a:lnTo>
                  <a:lnTo>
                    <a:pt x="1879" y="1382"/>
                  </a:lnTo>
                  <a:lnTo>
                    <a:pt x="1877" y="1380"/>
                  </a:lnTo>
                  <a:lnTo>
                    <a:pt x="1875" y="1378"/>
                  </a:lnTo>
                  <a:lnTo>
                    <a:pt x="1874" y="1375"/>
                  </a:lnTo>
                  <a:lnTo>
                    <a:pt x="1864" y="1371"/>
                  </a:lnTo>
                  <a:lnTo>
                    <a:pt x="1858" y="1364"/>
                  </a:lnTo>
                  <a:lnTo>
                    <a:pt x="1856" y="1363"/>
                  </a:lnTo>
                  <a:lnTo>
                    <a:pt x="1853" y="1360"/>
                  </a:lnTo>
                  <a:lnTo>
                    <a:pt x="1852" y="1356"/>
                  </a:lnTo>
                  <a:lnTo>
                    <a:pt x="1852" y="1355"/>
                  </a:lnTo>
                  <a:lnTo>
                    <a:pt x="1852" y="1352"/>
                  </a:lnTo>
                  <a:lnTo>
                    <a:pt x="1850" y="1350"/>
                  </a:lnTo>
                  <a:lnTo>
                    <a:pt x="1850" y="1348"/>
                  </a:lnTo>
                  <a:lnTo>
                    <a:pt x="1850" y="1347"/>
                  </a:lnTo>
                  <a:lnTo>
                    <a:pt x="1852" y="1342"/>
                  </a:lnTo>
                  <a:lnTo>
                    <a:pt x="1853" y="1337"/>
                  </a:lnTo>
                  <a:lnTo>
                    <a:pt x="1855" y="1331"/>
                  </a:lnTo>
                  <a:lnTo>
                    <a:pt x="1856" y="1325"/>
                  </a:lnTo>
                  <a:lnTo>
                    <a:pt x="1856" y="1323"/>
                  </a:lnTo>
                  <a:lnTo>
                    <a:pt x="1858" y="1319"/>
                  </a:lnTo>
                  <a:lnTo>
                    <a:pt x="1860" y="1312"/>
                  </a:lnTo>
                  <a:lnTo>
                    <a:pt x="1860" y="1309"/>
                  </a:lnTo>
                  <a:lnTo>
                    <a:pt x="1860" y="1306"/>
                  </a:lnTo>
                  <a:lnTo>
                    <a:pt x="1860" y="1304"/>
                  </a:lnTo>
                  <a:lnTo>
                    <a:pt x="1860" y="1301"/>
                  </a:lnTo>
                  <a:lnTo>
                    <a:pt x="1860" y="1300"/>
                  </a:lnTo>
                  <a:lnTo>
                    <a:pt x="1860" y="1295"/>
                  </a:lnTo>
                  <a:lnTo>
                    <a:pt x="1858" y="1289"/>
                  </a:lnTo>
                  <a:lnTo>
                    <a:pt x="1858" y="1284"/>
                  </a:lnTo>
                  <a:lnTo>
                    <a:pt x="1856" y="1276"/>
                  </a:lnTo>
                  <a:lnTo>
                    <a:pt x="1855" y="1270"/>
                  </a:lnTo>
                  <a:lnTo>
                    <a:pt x="1852" y="1262"/>
                  </a:lnTo>
                  <a:lnTo>
                    <a:pt x="1849" y="1248"/>
                  </a:lnTo>
                  <a:lnTo>
                    <a:pt x="1844" y="1235"/>
                  </a:lnTo>
                  <a:lnTo>
                    <a:pt x="1841" y="1221"/>
                  </a:lnTo>
                  <a:lnTo>
                    <a:pt x="1836" y="1207"/>
                  </a:lnTo>
                  <a:lnTo>
                    <a:pt x="1831" y="1194"/>
                  </a:lnTo>
                  <a:lnTo>
                    <a:pt x="1825" y="1181"/>
                  </a:lnTo>
                  <a:lnTo>
                    <a:pt x="1822" y="1170"/>
                  </a:lnTo>
                  <a:lnTo>
                    <a:pt x="1817" y="1161"/>
                  </a:lnTo>
                  <a:lnTo>
                    <a:pt x="1811" y="1145"/>
                  </a:lnTo>
                  <a:lnTo>
                    <a:pt x="1804" y="1131"/>
                  </a:lnTo>
                  <a:lnTo>
                    <a:pt x="1801" y="1118"/>
                  </a:lnTo>
                  <a:lnTo>
                    <a:pt x="1798" y="1107"/>
                  </a:lnTo>
                  <a:lnTo>
                    <a:pt x="1796" y="1096"/>
                  </a:lnTo>
                  <a:lnTo>
                    <a:pt x="1795" y="1085"/>
                  </a:lnTo>
                  <a:lnTo>
                    <a:pt x="1795" y="1077"/>
                  </a:lnTo>
                  <a:lnTo>
                    <a:pt x="1793" y="1068"/>
                  </a:lnTo>
                  <a:lnTo>
                    <a:pt x="1792" y="1050"/>
                  </a:lnTo>
                  <a:lnTo>
                    <a:pt x="1792" y="1035"/>
                  </a:lnTo>
                  <a:lnTo>
                    <a:pt x="1790" y="1025"/>
                  </a:lnTo>
                  <a:lnTo>
                    <a:pt x="1788" y="1017"/>
                  </a:lnTo>
                  <a:lnTo>
                    <a:pt x="1785" y="1008"/>
                  </a:lnTo>
                  <a:lnTo>
                    <a:pt x="1782" y="997"/>
                  </a:lnTo>
                  <a:lnTo>
                    <a:pt x="1779" y="995"/>
                  </a:lnTo>
                  <a:lnTo>
                    <a:pt x="1779" y="992"/>
                  </a:lnTo>
                  <a:lnTo>
                    <a:pt x="1777" y="990"/>
                  </a:lnTo>
                  <a:lnTo>
                    <a:pt x="1774" y="987"/>
                  </a:lnTo>
                  <a:lnTo>
                    <a:pt x="1768" y="983"/>
                  </a:lnTo>
                  <a:lnTo>
                    <a:pt x="1762" y="979"/>
                  </a:lnTo>
                  <a:lnTo>
                    <a:pt x="1754" y="975"/>
                  </a:lnTo>
                  <a:lnTo>
                    <a:pt x="1746" y="970"/>
                  </a:lnTo>
                  <a:lnTo>
                    <a:pt x="1738" y="964"/>
                  </a:lnTo>
                  <a:lnTo>
                    <a:pt x="1730" y="959"/>
                  </a:lnTo>
                  <a:lnTo>
                    <a:pt x="1727" y="956"/>
                  </a:lnTo>
                  <a:lnTo>
                    <a:pt x="1724" y="954"/>
                  </a:lnTo>
                  <a:lnTo>
                    <a:pt x="1721" y="949"/>
                  </a:lnTo>
                  <a:lnTo>
                    <a:pt x="1717" y="946"/>
                  </a:lnTo>
                  <a:lnTo>
                    <a:pt x="1716" y="942"/>
                  </a:lnTo>
                  <a:lnTo>
                    <a:pt x="1713" y="938"/>
                  </a:lnTo>
                  <a:lnTo>
                    <a:pt x="1711" y="934"/>
                  </a:lnTo>
                  <a:lnTo>
                    <a:pt x="1709" y="929"/>
                  </a:lnTo>
                  <a:lnTo>
                    <a:pt x="1708" y="924"/>
                  </a:lnTo>
                  <a:lnTo>
                    <a:pt x="1708" y="919"/>
                  </a:lnTo>
                  <a:lnTo>
                    <a:pt x="1708" y="918"/>
                  </a:lnTo>
                  <a:lnTo>
                    <a:pt x="1708" y="913"/>
                  </a:lnTo>
                  <a:lnTo>
                    <a:pt x="1709" y="908"/>
                  </a:lnTo>
                  <a:lnTo>
                    <a:pt x="1709" y="901"/>
                  </a:lnTo>
                  <a:lnTo>
                    <a:pt x="1713" y="896"/>
                  </a:lnTo>
                  <a:lnTo>
                    <a:pt x="1714" y="888"/>
                  </a:lnTo>
                  <a:lnTo>
                    <a:pt x="1717" y="880"/>
                  </a:lnTo>
                  <a:lnTo>
                    <a:pt x="1716" y="880"/>
                  </a:lnTo>
                  <a:lnTo>
                    <a:pt x="1713" y="880"/>
                  </a:lnTo>
                  <a:lnTo>
                    <a:pt x="1711" y="882"/>
                  </a:lnTo>
                  <a:lnTo>
                    <a:pt x="1709" y="882"/>
                  </a:lnTo>
                  <a:lnTo>
                    <a:pt x="1708" y="883"/>
                  </a:lnTo>
                  <a:lnTo>
                    <a:pt x="1705" y="883"/>
                  </a:lnTo>
                  <a:lnTo>
                    <a:pt x="1705" y="885"/>
                  </a:lnTo>
                  <a:lnTo>
                    <a:pt x="1703" y="885"/>
                  </a:lnTo>
                  <a:lnTo>
                    <a:pt x="1700" y="888"/>
                  </a:lnTo>
                  <a:lnTo>
                    <a:pt x="1697" y="891"/>
                  </a:lnTo>
                  <a:lnTo>
                    <a:pt x="1694" y="896"/>
                  </a:lnTo>
                  <a:lnTo>
                    <a:pt x="1689" y="901"/>
                  </a:lnTo>
                  <a:lnTo>
                    <a:pt x="1686" y="905"/>
                  </a:lnTo>
                  <a:lnTo>
                    <a:pt x="1684" y="908"/>
                  </a:lnTo>
                  <a:lnTo>
                    <a:pt x="1684" y="910"/>
                  </a:lnTo>
                  <a:lnTo>
                    <a:pt x="1681" y="916"/>
                  </a:lnTo>
                  <a:lnTo>
                    <a:pt x="1679" y="923"/>
                  </a:lnTo>
                  <a:lnTo>
                    <a:pt x="1676" y="927"/>
                  </a:lnTo>
                  <a:lnTo>
                    <a:pt x="1675" y="934"/>
                  </a:lnTo>
                  <a:lnTo>
                    <a:pt x="1675" y="937"/>
                  </a:lnTo>
                  <a:lnTo>
                    <a:pt x="1673" y="942"/>
                  </a:lnTo>
                  <a:lnTo>
                    <a:pt x="1673" y="943"/>
                  </a:lnTo>
                  <a:lnTo>
                    <a:pt x="1681" y="948"/>
                  </a:lnTo>
                  <a:lnTo>
                    <a:pt x="1697" y="959"/>
                  </a:lnTo>
                  <a:lnTo>
                    <a:pt x="1702" y="962"/>
                  </a:lnTo>
                  <a:lnTo>
                    <a:pt x="1706" y="965"/>
                  </a:lnTo>
                  <a:lnTo>
                    <a:pt x="1711" y="970"/>
                  </a:lnTo>
                  <a:lnTo>
                    <a:pt x="1716" y="973"/>
                  </a:lnTo>
                  <a:lnTo>
                    <a:pt x="1721" y="978"/>
                  </a:lnTo>
                  <a:lnTo>
                    <a:pt x="1724" y="983"/>
                  </a:lnTo>
                  <a:lnTo>
                    <a:pt x="1727" y="989"/>
                  </a:lnTo>
                  <a:lnTo>
                    <a:pt x="1730" y="995"/>
                  </a:lnTo>
                  <a:lnTo>
                    <a:pt x="1730" y="1001"/>
                  </a:lnTo>
                  <a:lnTo>
                    <a:pt x="1730" y="1009"/>
                  </a:lnTo>
                  <a:lnTo>
                    <a:pt x="1730" y="1014"/>
                  </a:lnTo>
                  <a:lnTo>
                    <a:pt x="1730" y="1017"/>
                  </a:lnTo>
                  <a:lnTo>
                    <a:pt x="1730" y="1022"/>
                  </a:lnTo>
                  <a:lnTo>
                    <a:pt x="1727" y="1027"/>
                  </a:lnTo>
                  <a:lnTo>
                    <a:pt x="1725" y="1030"/>
                  </a:lnTo>
                  <a:lnTo>
                    <a:pt x="1725" y="1033"/>
                  </a:lnTo>
                  <a:lnTo>
                    <a:pt x="1725" y="1036"/>
                  </a:lnTo>
                  <a:lnTo>
                    <a:pt x="1725" y="1041"/>
                  </a:lnTo>
                  <a:lnTo>
                    <a:pt x="1725" y="1044"/>
                  </a:lnTo>
                  <a:lnTo>
                    <a:pt x="1725" y="1049"/>
                  </a:lnTo>
                  <a:lnTo>
                    <a:pt x="1727" y="1052"/>
                  </a:lnTo>
                  <a:lnTo>
                    <a:pt x="1728" y="1057"/>
                  </a:lnTo>
                  <a:lnTo>
                    <a:pt x="1730" y="1065"/>
                  </a:lnTo>
                  <a:lnTo>
                    <a:pt x="1733" y="1071"/>
                  </a:lnTo>
                  <a:lnTo>
                    <a:pt x="1738" y="1079"/>
                  </a:lnTo>
                  <a:lnTo>
                    <a:pt x="1741" y="1087"/>
                  </a:lnTo>
                  <a:lnTo>
                    <a:pt x="1744" y="1093"/>
                  </a:lnTo>
                  <a:lnTo>
                    <a:pt x="1747" y="1099"/>
                  </a:lnTo>
                  <a:lnTo>
                    <a:pt x="1751" y="1104"/>
                  </a:lnTo>
                  <a:lnTo>
                    <a:pt x="1752" y="1110"/>
                  </a:lnTo>
                  <a:lnTo>
                    <a:pt x="1752" y="1113"/>
                  </a:lnTo>
                  <a:lnTo>
                    <a:pt x="1754" y="1115"/>
                  </a:lnTo>
                  <a:lnTo>
                    <a:pt x="1752" y="1118"/>
                  </a:lnTo>
                  <a:lnTo>
                    <a:pt x="1752" y="1120"/>
                  </a:lnTo>
                  <a:lnTo>
                    <a:pt x="1751" y="1123"/>
                  </a:lnTo>
                  <a:lnTo>
                    <a:pt x="1751" y="1125"/>
                  </a:lnTo>
                  <a:lnTo>
                    <a:pt x="1749" y="1126"/>
                  </a:lnTo>
                  <a:lnTo>
                    <a:pt x="1746" y="1128"/>
                  </a:lnTo>
                  <a:lnTo>
                    <a:pt x="1744" y="1128"/>
                  </a:lnTo>
                  <a:lnTo>
                    <a:pt x="1743" y="1128"/>
                  </a:lnTo>
                  <a:lnTo>
                    <a:pt x="1741" y="1128"/>
                  </a:lnTo>
                  <a:lnTo>
                    <a:pt x="1739" y="1126"/>
                  </a:lnTo>
                  <a:lnTo>
                    <a:pt x="1738" y="1125"/>
                  </a:lnTo>
                  <a:lnTo>
                    <a:pt x="1733" y="1120"/>
                  </a:lnTo>
                  <a:lnTo>
                    <a:pt x="1730" y="1113"/>
                  </a:lnTo>
                  <a:lnTo>
                    <a:pt x="1728" y="1112"/>
                  </a:lnTo>
                  <a:lnTo>
                    <a:pt x="1725" y="1110"/>
                  </a:lnTo>
                  <a:lnTo>
                    <a:pt x="1725" y="1109"/>
                  </a:lnTo>
                  <a:lnTo>
                    <a:pt x="1724" y="1109"/>
                  </a:lnTo>
                  <a:lnTo>
                    <a:pt x="1722" y="1109"/>
                  </a:lnTo>
                  <a:lnTo>
                    <a:pt x="1721" y="1109"/>
                  </a:lnTo>
                  <a:lnTo>
                    <a:pt x="1719" y="1110"/>
                  </a:lnTo>
                  <a:lnTo>
                    <a:pt x="1717" y="1110"/>
                  </a:lnTo>
                  <a:lnTo>
                    <a:pt x="1717" y="1112"/>
                  </a:lnTo>
                  <a:lnTo>
                    <a:pt x="1713" y="1115"/>
                  </a:lnTo>
                  <a:lnTo>
                    <a:pt x="1709" y="1121"/>
                  </a:lnTo>
                  <a:lnTo>
                    <a:pt x="1709" y="1123"/>
                  </a:lnTo>
                  <a:lnTo>
                    <a:pt x="1708" y="1123"/>
                  </a:lnTo>
                  <a:lnTo>
                    <a:pt x="1708" y="1125"/>
                  </a:lnTo>
                  <a:lnTo>
                    <a:pt x="1706" y="1125"/>
                  </a:lnTo>
                  <a:lnTo>
                    <a:pt x="1705" y="1125"/>
                  </a:lnTo>
                  <a:lnTo>
                    <a:pt x="1705" y="1123"/>
                  </a:lnTo>
                  <a:lnTo>
                    <a:pt x="1703" y="1123"/>
                  </a:lnTo>
                  <a:lnTo>
                    <a:pt x="1702" y="1121"/>
                  </a:lnTo>
                  <a:lnTo>
                    <a:pt x="1698" y="1118"/>
                  </a:lnTo>
                  <a:lnTo>
                    <a:pt x="1695" y="1115"/>
                  </a:lnTo>
                  <a:lnTo>
                    <a:pt x="1692" y="1110"/>
                  </a:lnTo>
                  <a:lnTo>
                    <a:pt x="1689" y="1104"/>
                  </a:lnTo>
                  <a:lnTo>
                    <a:pt x="1683" y="1093"/>
                  </a:lnTo>
                  <a:lnTo>
                    <a:pt x="1676" y="1082"/>
                  </a:lnTo>
                  <a:lnTo>
                    <a:pt x="1675" y="1077"/>
                  </a:lnTo>
                  <a:lnTo>
                    <a:pt x="1672" y="1072"/>
                  </a:lnTo>
                  <a:lnTo>
                    <a:pt x="1668" y="1069"/>
                  </a:lnTo>
                  <a:lnTo>
                    <a:pt x="1665" y="1068"/>
                  </a:lnTo>
                  <a:lnTo>
                    <a:pt x="1664" y="1066"/>
                  </a:lnTo>
                  <a:lnTo>
                    <a:pt x="1664" y="1068"/>
                  </a:lnTo>
                  <a:lnTo>
                    <a:pt x="1662" y="1069"/>
                  </a:lnTo>
                  <a:lnTo>
                    <a:pt x="1662" y="1072"/>
                  </a:lnTo>
                  <a:lnTo>
                    <a:pt x="1664" y="1079"/>
                  </a:lnTo>
                  <a:lnTo>
                    <a:pt x="1664" y="1087"/>
                  </a:lnTo>
                  <a:lnTo>
                    <a:pt x="1664" y="1091"/>
                  </a:lnTo>
                  <a:lnTo>
                    <a:pt x="1662" y="1095"/>
                  </a:lnTo>
                  <a:lnTo>
                    <a:pt x="1662" y="1098"/>
                  </a:lnTo>
                  <a:lnTo>
                    <a:pt x="1660" y="1099"/>
                  </a:lnTo>
                  <a:lnTo>
                    <a:pt x="1659" y="1101"/>
                  </a:lnTo>
                  <a:lnTo>
                    <a:pt x="1659" y="1102"/>
                  </a:lnTo>
                  <a:lnTo>
                    <a:pt x="1656" y="1102"/>
                  </a:lnTo>
                  <a:lnTo>
                    <a:pt x="1654" y="1104"/>
                  </a:lnTo>
                  <a:lnTo>
                    <a:pt x="1653" y="1104"/>
                  </a:lnTo>
                  <a:lnTo>
                    <a:pt x="1649" y="1104"/>
                  </a:lnTo>
                  <a:lnTo>
                    <a:pt x="1648" y="1104"/>
                  </a:lnTo>
                  <a:lnTo>
                    <a:pt x="1645" y="1104"/>
                  </a:lnTo>
                  <a:lnTo>
                    <a:pt x="1642" y="1102"/>
                  </a:lnTo>
                  <a:lnTo>
                    <a:pt x="1638" y="1110"/>
                  </a:lnTo>
                  <a:lnTo>
                    <a:pt x="1635" y="1117"/>
                  </a:lnTo>
                  <a:lnTo>
                    <a:pt x="1634" y="1123"/>
                  </a:lnTo>
                  <a:lnTo>
                    <a:pt x="1630" y="1131"/>
                  </a:lnTo>
                  <a:lnTo>
                    <a:pt x="1624" y="1145"/>
                  </a:lnTo>
                  <a:lnTo>
                    <a:pt x="1619" y="1158"/>
                  </a:lnTo>
                  <a:lnTo>
                    <a:pt x="1618" y="1166"/>
                  </a:lnTo>
                  <a:lnTo>
                    <a:pt x="1616" y="1172"/>
                  </a:lnTo>
                  <a:lnTo>
                    <a:pt x="1616" y="1175"/>
                  </a:lnTo>
                  <a:lnTo>
                    <a:pt x="1616" y="1178"/>
                  </a:lnTo>
                  <a:lnTo>
                    <a:pt x="1616" y="1181"/>
                  </a:lnTo>
                  <a:lnTo>
                    <a:pt x="1616" y="1184"/>
                  </a:lnTo>
                  <a:lnTo>
                    <a:pt x="1616" y="1188"/>
                  </a:lnTo>
                  <a:lnTo>
                    <a:pt x="1618" y="1191"/>
                  </a:lnTo>
                  <a:lnTo>
                    <a:pt x="1618" y="1194"/>
                  </a:lnTo>
                  <a:lnTo>
                    <a:pt x="1619" y="1197"/>
                  </a:lnTo>
                  <a:lnTo>
                    <a:pt x="1621" y="1199"/>
                  </a:lnTo>
                  <a:lnTo>
                    <a:pt x="1623" y="1202"/>
                  </a:lnTo>
                  <a:lnTo>
                    <a:pt x="1626" y="1205"/>
                  </a:lnTo>
                  <a:lnTo>
                    <a:pt x="1629" y="1207"/>
                  </a:lnTo>
                  <a:lnTo>
                    <a:pt x="1630" y="1210"/>
                  </a:lnTo>
                  <a:lnTo>
                    <a:pt x="1630" y="1211"/>
                  </a:lnTo>
                  <a:lnTo>
                    <a:pt x="1634" y="1214"/>
                  </a:lnTo>
                  <a:lnTo>
                    <a:pt x="1634" y="1218"/>
                  </a:lnTo>
                  <a:lnTo>
                    <a:pt x="1637" y="1225"/>
                  </a:lnTo>
                  <a:lnTo>
                    <a:pt x="1640" y="1235"/>
                  </a:lnTo>
                  <a:lnTo>
                    <a:pt x="1643" y="1257"/>
                  </a:lnTo>
                  <a:lnTo>
                    <a:pt x="1649" y="1281"/>
                  </a:lnTo>
                  <a:lnTo>
                    <a:pt x="1654" y="1306"/>
                  </a:lnTo>
                  <a:lnTo>
                    <a:pt x="1659" y="1328"/>
                  </a:lnTo>
                  <a:lnTo>
                    <a:pt x="1660" y="1339"/>
                  </a:lnTo>
                  <a:lnTo>
                    <a:pt x="1664" y="1347"/>
                  </a:lnTo>
                  <a:lnTo>
                    <a:pt x="1667" y="1355"/>
                  </a:lnTo>
                  <a:lnTo>
                    <a:pt x="1668" y="1363"/>
                  </a:lnTo>
                  <a:lnTo>
                    <a:pt x="1670" y="1363"/>
                  </a:lnTo>
                  <a:lnTo>
                    <a:pt x="1672" y="1364"/>
                  </a:lnTo>
                  <a:lnTo>
                    <a:pt x="1672" y="1366"/>
                  </a:lnTo>
                  <a:lnTo>
                    <a:pt x="1675" y="1366"/>
                  </a:lnTo>
                  <a:lnTo>
                    <a:pt x="1676" y="1364"/>
                  </a:lnTo>
                  <a:lnTo>
                    <a:pt x="1676" y="1363"/>
                  </a:lnTo>
                  <a:lnTo>
                    <a:pt x="1679" y="1363"/>
                  </a:lnTo>
                  <a:lnTo>
                    <a:pt x="1681" y="1361"/>
                  </a:lnTo>
                  <a:lnTo>
                    <a:pt x="1686" y="1358"/>
                  </a:lnTo>
                  <a:lnTo>
                    <a:pt x="1689" y="1355"/>
                  </a:lnTo>
                  <a:lnTo>
                    <a:pt x="1694" y="1352"/>
                  </a:lnTo>
                  <a:lnTo>
                    <a:pt x="1698" y="1347"/>
                  </a:lnTo>
                  <a:lnTo>
                    <a:pt x="1706" y="1339"/>
                  </a:lnTo>
                  <a:lnTo>
                    <a:pt x="1713" y="1333"/>
                  </a:lnTo>
                  <a:lnTo>
                    <a:pt x="1716" y="1333"/>
                  </a:lnTo>
                  <a:lnTo>
                    <a:pt x="1716" y="1331"/>
                  </a:lnTo>
                  <a:lnTo>
                    <a:pt x="1717" y="1331"/>
                  </a:lnTo>
                  <a:lnTo>
                    <a:pt x="1719" y="1331"/>
                  </a:lnTo>
                  <a:lnTo>
                    <a:pt x="1719" y="1333"/>
                  </a:lnTo>
                  <a:lnTo>
                    <a:pt x="1721" y="1333"/>
                  </a:lnTo>
                  <a:lnTo>
                    <a:pt x="1721" y="1334"/>
                  </a:lnTo>
                  <a:lnTo>
                    <a:pt x="1719" y="1339"/>
                  </a:lnTo>
                  <a:lnTo>
                    <a:pt x="1717" y="1344"/>
                  </a:lnTo>
                  <a:lnTo>
                    <a:pt x="1717" y="1348"/>
                  </a:lnTo>
                  <a:lnTo>
                    <a:pt x="1716" y="1352"/>
                  </a:lnTo>
                  <a:lnTo>
                    <a:pt x="1714" y="1356"/>
                  </a:lnTo>
                  <a:lnTo>
                    <a:pt x="1713" y="1360"/>
                  </a:lnTo>
                  <a:lnTo>
                    <a:pt x="1709" y="1364"/>
                  </a:lnTo>
                  <a:lnTo>
                    <a:pt x="1708" y="1367"/>
                  </a:lnTo>
                  <a:lnTo>
                    <a:pt x="1697" y="1380"/>
                  </a:lnTo>
                  <a:lnTo>
                    <a:pt x="1686" y="1396"/>
                  </a:lnTo>
                  <a:lnTo>
                    <a:pt x="1687" y="1404"/>
                  </a:lnTo>
                  <a:lnTo>
                    <a:pt x="1687" y="1412"/>
                  </a:lnTo>
                  <a:lnTo>
                    <a:pt x="1687" y="1416"/>
                  </a:lnTo>
                  <a:lnTo>
                    <a:pt x="1687" y="1423"/>
                  </a:lnTo>
                  <a:lnTo>
                    <a:pt x="1684" y="1429"/>
                  </a:lnTo>
                  <a:lnTo>
                    <a:pt x="1683" y="1432"/>
                  </a:lnTo>
                  <a:lnTo>
                    <a:pt x="1681" y="1437"/>
                  </a:lnTo>
                  <a:lnTo>
                    <a:pt x="1678" y="1442"/>
                  </a:lnTo>
                  <a:lnTo>
                    <a:pt x="1672" y="1451"/>
                  </a:lnTo>
                  <a:lnTo>
                    <a:pt x="1664" y="1460"/>
                  </a:lnTo>
                  <a:lnTo>
                    <a:pt x="1662" y="1465"/>
                  </a:lnTo>
                  <a:lnTo>
                    <a:pt x="1659" y="1472"/>
                  </a:lnTo>
                  <a:lnTo>
                    <a:pt x="1656" y="1478"/>
                  </a:lnTo>
                  <a:lnTo>
                    <a:pt x="1653" y="1484"/>
                  </a:lnTo>
                  <a:lnTo>
                    <a:pt x="1649" y="1486"/>
                  </a:lnTo>
                  <a:lnTo>
                    <a:pt x="1646" y="1486"/>
                  </a:lnTo>
                  <a:lnTo>
                    <a:pt x="1645" y="1486"/>
                  </a:lnTo>
                  <a:lnTo>
                    <a:pt x="1643" y="1486"/>
                  </a:lnTo>
                  <a:lnTo>
                    <a:pt x="1642" y="1484"/>
                  </a:lnTo>
                  <a:lnTo>
                    <a:pt x="1642" y="1483"/>
                  </a:lnTo>
                  <a:lnTo>
                    <a:pt x="1642" y="1479"/>
                  </a:lnTo>
                  <a:lnTo>
                    <a:pt x="1642" y="1475"/>
                  </a:lnTo>
                  <a:lnTo>
                    <a:pt x="1643" y="1470"/>
                  </a:lnTo>
                  <a:lnTo>
                    <a:pt x="1643" y="1467"/>
                  </a:lnTo>
                  <a:lnTo>
                    <a:pt x="1646" y="1457"/>
                  </a:lnTo>
                  <a:lnTo>
                    <a:pt x="1648" y="1446"/>
                  </a:lnTo>
                  <a:lnTo>
                    <a:pt x="1648" y="1443"/>
                  </a:lnTo>
                  <a:lnTo>
                    <a:pt x="1648" y="1440"/>
                  </a:lnTo>
                  <a:lnTo>
                    <a:pt x="1646" y="1440"/>
                  </a:lnTo>
                  <a:lnTo>
                    <a:pt x="1646" y="1438"/>
                  </a:lnTo>
                  <a:lnTo>
                    <a:pt x="1645" y="1437"/>
                  </a:lnTo>
                  <a:lnTo>
                    <a:pt x="1643" y="1437"/>
                  </a:lnTo>
                  <a:lnTo>
                    <a:pt x="1638" y="1442"/>
                  </a:lnTo>
                  <a:lnTo>
                    <a:pt x="1630" y="1446"/>
                  </a:lnTo>
                  <a:lnTo>
                    <a:pt x="1626" y="1451"/>
                  </a:lnTo>
                  <a:lnTo>
                    <a:pt x="1619" y="1454"/>
                  </a:lnTo>
                  <a:lnTo>
                    <a:pt x="1605" y="1462"/>
                  </a:lnTo>
                  <a:lnTo>
                    <a:pt x="1593" y="1470"/>
                  </a:lnTo>
                  <a:lnTo>
                    <a:pt x="1580" y="1476"/>
                  </a:lnTo>
                  <a:lnTo>
                    <a:pt x="1569" y="1483"/>
                  </a:lnTo>
                  <a:lnTo>
                    <a:pt x="1564" y="1486"/>
                  </a:lnTo>
                  <a:lnTo>
                    <a:pt x="1559" y="1490"/>
                  </a:lnTo>
                  <a:lnTo>
                    <a:pt x="1556" y="1494"/>
                  </a:lnTo>
                  <a:lnTo>
                    <a:pt x="1553" y="1497"/>
                  </a:lnTo>
                  <a:lnTo>
                    <a:pt x="1551" y="1500"/>
                  </a:lnTo>
                  <a:lnTo>
                    <a:pt x="1551" y="1503"/>
                  </a:lnTo>
                  <a:lnTo>
                    <a:pt x="1551" y="1508"/>
                  </a:lnTo>
                  <a:lnTo>
                    <a:pt x="1553" y="1511"/>
                  </a:lnTo>
                  <a:lnTo>
                    <a:pt x="1555" y="1514"/>
                  </a:lnTo>
                  <a:lnTo>
                    <a:pt x="1555" y="1519"/>
                  </a:lnTo>
                  <a:lnTo>
                    <a:pt x="1556" y="1520"/>
                  </a:lnTo>
                  <a:lnTo>
                    <a:pt x="1559" y="1525"/>
                  </a:lnTo>
                  <a:lnTo>
                    <a:pt x="1564" y="1531"/>
                  </a:lnTo>
                  <a:lnTo>
                    <a:pt x="1567" y="1536"/>
                  </a:lnTo>
                  <a:lnTo>
                    <a:pt x="1570" y="1539"/>
                  </a:lnTo>
                  <a:lnTo>
                    <a:pt x="1572" y="1539"/>
                  </a:lnTo>
                  <a:lnTo>
                    <a:pt x="1564" y="1549"/>
                  </a:lnTo>
                  <a:lnTo>
                    <a:pt x="1556" y="1557"/>
                  </a:lnTo>
                  <a:lnTo>
                    <a:pt x="1548" y="1563"/>
                  </a:lnTo>
                  <a:lnTo>
                    <a:pt x="1540" y="1569"/>
                  </a:lnTo>
                  <a:lnTo>
                    <a:pt x="1526" y="1580"/>
                  </a:lnTo>
                  <a:lnTo>
                    <a:pt x="1514" y="1590"/>
                  </a:lnTo>
                  <a:lnTo>
                    <a:pt x="1514" y="1588"/>
                  </a:lnTo>
                  <a:lnTo>
                    <a:pt x="1510" y="1587"/>
                  </a:lnTo>
                  <a:lnTo>
                    <a:pt x="1512" y="1588"/>
                  </a:lnTo>
                  <a:lnTo>
                    <a:pt x="1507" y="1593"/>
                  </a:lnTo>
                  <a:lnTo>
                    <a:pt x="1504" y="1596"/>
                  </a:lnTo>
                  <a:lnTo>
                    <a:pt x="1503" y="1598"/>
                  </a:lnTo>
                  <a:lnTo>
                    <a:pt x="1501" y="1601"/>
                  </a:lnTo>
                  <a:lnTo>
                    <a:pt x="1499" y="1602"/>
                  </a:lnTo>
                  <a:lnTo>
                    <a:pt x="1499" y="1604"/>
                  </a:lnTo>
                  <a:lnTo>
                    <a:pt x="1498" y="1607"/>
                  </a:lnTo>
                  <a:lnTo>
                    <a:pt x="1498" y="1609"/>
                  </a:lnTo>
                  <a:lnTo>
                    <a:pt x="1498" y="1612"/>
                  </a:lnTo>
                  <a:lnTo>
                    <a:pt x="1499" y="1613"/>
                  </a:lnTo>
                  <a:lnTo>
                    <a:pt x="1501" y="1617"/>
                  </a:lnTo>
                  <a:lnTo>
                    <a:pt x="1501" y="1620"/>
                  </a:lnTo>
                  <a:lnTo>
                    <a:pt x="1503" y="1623"/>
                  </a:lnTo>
                  <a:lnTo>
                    <a:pt x="1506" y="1626"/>
                  </a:lnTo>
                  <a:lnTo>
                    <a:pt x="1501" y="1626"/>
                  </a:lnTo>
                  <a:lnTo>
                    <a:pt x="1498" y="1626"/>
                  </a:lnTo>
                  <a:lnTo>
                    <a:pt x="1495" y="1626"/>
                  </a:lnTo>
                  <a:lnTo>
                    <a:pt x="1493" y="1626"/>
                  </a:lnTo>
                  <a:lnTo>
                    <a:pt x="1487" y="1626"/>
                  </a:lnTo>
                  <a:lnTo>
                    <a:pt x="1480" y="1629"/>
                  </a:lnTo>
                  <a:lnTo>
                    <a:pt x="1476" y="1631"/>
                  </a:lnTo>
                  <a:lnTo>
                    <a:pt x="1471" y="1634"/>
                  </a:lnTo>
                  <a:lnTo>
                    <a:pt x="1466" y="1639"/>
                  </a:lnTo>
                  <a:lnTo>
                    <a:pt x="1461" y="1640"/>
                  </a:lnTo>
                  <a:lnTo>
                    <a:pt x="1454" y="1647"/>
                  </a:lnTo>
                  <a:lnTo>
                    <a:pt x="1449" y="1654"/>
                  </a:lnTo>
                  <a:lnTo>
                    <a:pt x="1446" y="1658"/>
                  </a:lnTo>
                  <a:lnTo>
                    <a:pt x="1444" y="1659"/>
                  </a:lnTo>
                  <a:lnTo>
                    <a:pt x="1442" y="1662"/>
                  </a:lnTo>
                  <a:lnTo>
                    <a:pt x="1441" y="1667"/>
                  </a:lnTo>
                  <a:lnTo>
                    <a:pt x="1439" y="1669"/>
                  </a:lnTo>
                  <a:lnTo>
                    <a:pt x="1438" y="1672"/>
                  </a:lnTo>
                  <a:lnTo>
                    <a:pt x="1435" y="1677"/>
                  </a:lnTo>
                  <a:lnTo>
                    <a:pt x="1430" y="1681"/>
                  </a:lnTo>
                  <a:lnTo>
                    <a:pt x="1427" y="1684"/>
                  </a:lnTo>
                  <a:lnTo>
                    <a:pt x="1422" y="1688"/>
                  </a:lnTo>
                  <a:lnTo>
                    <a:pt x="1419" y="1689"/>
                  </a:lnTo>
                  <a:lnTo>
                    <a:pt x="1414" y="1692"/>
                  </a:lnTo>
                  <a:lnTo>
                    <a:pt x="1411" y="1694"/>
                  </a:lnTo>
                  <a:lnTo>
                    <a:pt x="1408" y="1697"/>
                  </a:lnTo>
                  <a:lnTo>
                    <a:pt x="1405" y="1700"/>
                  </a:lnTo>
                  <a:lnTo>
                    <a:pt x="1401" y="1705"/>
                  </a:lnTo>
                  <a:lnTo>
                    <a:pt x="1400" y="1708"/>
                  </a:lnTo>
                  <a:lnTo>
                    <a:pt x="1398" y="1710"/>
                  </a:lnTo>
                  <a:lnTo>
                    <a:pt x="1398" y="1713"/>
                  </a:lnTo>
                  <a:lnTo>
                    <a:pt x="1397" y="1716"/>
                  </a:lnTo>
                  <a:lnTo>
                    <a:pt x="1397" y="1721"/>
                  </a:lnTo>
                  <a:lnTo>
                    <a:pt x="1395" y="1722"/>
                  </a:lnTo>
                  <a:lnTo>
                    <a:pt x="1395" y="1727"/>
                  </a:lnTo>
                  <a:lnTo>
                    <a:pt x="1395" y="1732"/>
                  </a:lnTo>
                  <a:lnTo>
                    <a:pt x="1395" y="1746"/>
                  </a:lnTo>
                  <a:lnTo>
                    <a:pt x="1397" y="1759"/>
                  </a:lnTo>
                  <a:lnTo>
                    <a:pt x="1398" y="1771"/>
                  </a:lnTo>
                  <a:lnTo>
                    <a:pt x="1398" y="1782"/>
                  </a:lnTo>
                  <a:lnTo>
                    <a:pt x="1401" y="1807"/>
                  </a:lnTo>
                  <a:lnTo>
                    <a:pt x="1403" y="1830"/>
                  </a:lnTo>
                  <a:lnTo>
                    <a:pt x="1405" y="1841"/>
                  </a:lnTo>
                  <a:lnTo>
                    <a:pt x="1405" y="1852"/>
                  </a:lnTo>
                  <a:lnTo>
                    <a:pt x="1406" y="1861"/>
                  </a:lnTo>
                  <a:lnTo>
                    <a:pt x="1405" y="1872"/>
                  </a:lnTo>
                  <a:lnTo>
                    <a:pt x="1403" y="1882"/>
                  </a:lnTo>
                  <a:lnTo>
                    <a:pt x="1401" y="1891"/>
                  </a:lnTo>
                  <a:lnTo>
                    <a:pt x="1400" y="1896"/>
                  </a:lnTo>
                  <a:lnTo>
                    <a:pt x="1400" y="1901"/>
                  </a:lnTo>
                  <a:lnTo>
                    <a:pt x="1398" y="1905"/>
                  </a:lnTo>
                  <a:lnTo>
                    <a:pt x="1395" y="1910"/>
                  </a:lnTo>
                  <a:lnTo>
                    <a:pt x="1395" y="1912"/>
                  </a:lnTo>
                  <a:lnTo>
                    <a:pt x="1395" y="1913"/>
                  </a:lnTo>
                  <a:lnTo>
                    <a:pt x="1395" y="1916"/>
                  </a:lnTo>
                  <a:lnTo>
                    <a:pt x="1395" y="1921"/>
                  </a:lnTo>
                  <a:lnTo>
                    <a:pt x="1397" y="1932"/>
                  </a:lnTo>
                  <a:lnTo>
                    <a:pt x="1400" y="1948"/>
                  </a:lnTo>
                  <a:lnTo>
                    <a:pt x="1400" y="1965"/>
                  </a:lnTo>
                  <a:lnTo>
                    <a:pt x="1401" y="1987"/>
                  </a:lnTo>
                  <a:lnTo>
                    <a:pt x="1403" y="1998"/>
                  </a:lnTo>
                  <a:lnTo>
                    <a:pt x="1403" y="2011"/>
                  </a:lnTo>
                  <a:lnTo>
                    <a:pt x="1401" y="2024"/>
                  </a:lnTo>
                  <a:lnTo>
                    <a:pt x="1401" y="2036"/>
                  </a:lnTo>
                  <a:lnTo>
                    <a:pt x="1400" y="2049"/>
                  </a:lnTo>
                  <a:lnTo>
                    <a:pt x="1398" y="2060"/>
                  </a:lnTo>
                  <a:lnTo>
                    <a:pt x="1395" y="2072"/>
                  </a:lnTo>
                  <a:lnTo>
                    <a:pt x="1392" y="2085"/>
                  </a:lnTo>
                  <a:lnTo>
                    <a:pt x="1386" y="2110"/>
                  </a:lnTo>
                  <a:lnTo>
                    <a:pt x="1379" y="2134"/>
                  </a:lnTo>
                  <a:lnTo>
                    <a:pt x="1378" y="2143"/>
                  </a:lnTo>
                  <a:lnTo>
                    <a:pt x="1378" y="2154"/>
                  </a:lnTo>
                  <a:lnTo>
                    <a:pt x="1376" y="2158"/>
                  </a:lnTo>
                  <a:lnTo>
                    <a:pt x="1376" y="2162"/>
                  </a:lnTo>
                  <a:lnTo>
                    <a:pt x="1376" y="2166"/>
                  </a:lnTo>
                  <a:lnTo>
                    <a:pt x="1378" y="2169"/>
                  </a:lnTo>
                  <a:lnTo>
                    <a:pt x="1378" y="2172"/>
                  </a:lnTo>
                  <a:lnTo>
                    <a:pt x="1379" y="2175"/>
                  </a:lnTo>
                  <a:lnTo>
                    <a:pt x="1381" y="2177"/>
                  </a:lnTo>
                  <a:lnTo>
                    <a:pt x="1382" y="2178"/>
                  </a:lnTo>
                  <a:lnTo>
                    <a:pt x="1386" y="2180"/>
                  </a:lnTo>
                  <a:lnTo>
                    <a:pt x="1387" y="2180"/>
                  </a:lnTo>
                  <a:lnTo>
                    <a:pt x="1392" y="2181"/>
                  </a:lnTo>
                  <a:lnTo>
                    <a:pt x="1395" y="2180"/>
                  </a:lnTo>
                  <a:lnTo>
                    <a:pt x="1403" y="2173"/>
                  </a:lnTo>
                  <a:lnTo>
                    <a:pt x="1411" y="2167"/>
                  </a:lnTo>
                  <a:lnTo>
                    <a:pt x="1416" y="2162"/>
                  </a:lnTo>
                  <a:lnTo>
                    <a:pt x="1422" y="2159"/>
                  </a:lnTo>
                  <a:lnTo>
                    <a:pt x="1428" y="2154"/>
                  </a:lnTo>
                  <a:lnTo>
                    <a:pt x="1433" y="2151"/>
                  </a:lnTo>
                  <a:lnTo>
                    <a:pt x="1436" y="2150"/>
                  </a:lnTo>
                  <a:lnTo>
                    <a:pt x="1441" y="2148"/>
                  </a:lnTo>
                  <a:lnTo>
                    <a:pt x="1444" y="2147"/>
                  </a:lnTo>
                  <a:lnTo>
                    <a:pt x="1447" y="2147"/>
                  </a:lnTo>
                  <a:lnTo>
                    <a:pt x="1450" y="2147"/>
                  </a:lnTo>
                  <a:lnTo>
                    <a:pt x="1452" y="2148"/>
                  </a:lnTo>
                  <a:lnTo>
                    <a:pt x="1455" y="2150"/>
                  </a:lnTo>
                  <a:lnTo>
                    <a:pt x="1457" y="2151"/>
                  </a:lnTo>
                  <a:lnTo>
                    <a:pt x="1460" y="2153"/>
                  </a:lnTo>
                  <a:lnTo>
                    <a:pt x="1460" y="2154"/>
                  </a:lnTo>
                  <a:lnTo>
                    <a:pt x="1463" y="2161"/>
                  </a:lnTo>
                  <a:lnTo>
                    <a:pt x="1465" y="2167"/>
                  </a:lnTo>
                  <a:lnTo>
                    <a:pt x="1466" y="2172"/>
                  </a:lnTo>
                  <a:lnTo>
                    <a:pt x="1469" y="2180"/>
                  </a:lnTo>
                  <a:lnTo>
                    <a:pt x="1471" y="2186"/>
                  </a:lnTo>
                  <a:lnTo>
                    <a:pt x="1474" y="2192"/>
                  </a:lnTo>
                  <a:lnTo>
                    <a:pt x="1474" y="2196"/>
                  </a:lnTo>
                  <a:lnTo>
                    <a:pt x="1477" y="2197"/>
                  </a:lnTo>
                  <a:lnTo>
                    <a:pt x="1477" y="2200"/>
                  </a:lnTo>
                  <a:lnTo>
                    <a:pt x="1480" y="2203"/>
                  </a:lnTo>
                  <a:lnTo>
                    <a:pt x="1482" y="2200"/>
                  </a:lnTo>
                  <a:lnTo>
                    <a:pt x="1482" y="2199"/>
                  </a:lnTo>
                  <a:lnTo>
                    <a:pt x="1484" y="2196"/>
                  </a:lnTo>
                  <a:lnTo>
                    <a:pt x="1485" y="2194"/>
                  </a:lnTo>
                  <a:lnTo>
                    <a:pt x="1485" y="2188"/>
                  </a:lnTo>
                  <a:lnTo>
                    <a:pt x="1484" y="2181"/>
                  </a:lnTo>
                  <a:lnTo>
                    <a:pt x="1482" y="2175"/>
                  </a:lnTo>
                  <a:lnTo>
                    <a:pt x="1482" y="2169"/>
                  </a:lnTo>
                  <a:lnTo>
                    <a:pt x="1482" y="2166"/>
                  </a:lnTo>
                  <a:lnTo>
                    <a:pt x="1482" y="2162"/>
                  </a:lnTo>
                  <a:lnTo>
                    <a:pt x="1482" y="2159"/>
                  </a:lnTo>
                  <a:lnTo>
                    <a:pt x="1484" y="2158"/>
                  </a:lnTo>
                  <a:lnTo>
                    <a:pt x="1484" y="2154"/>
                  </a:lnTo>
                  <a:lnTo>
                    <a:pt x="1485" y="2154"/>
                  </a:lnTo>
                  <a:lnTo>
                    <a:pt x="1485" y="2153"/>
                  </a:lnTo>
                  <a:lnTo>
                    <a:pt x="1485" y="2151"/>
                  </a:lnTo>
                  <a:lnTo>
                    <a:pt x="1485" y="2153"/>
                  </a:lnTo>
                  <a:lnTo>
                    <a:pt x="1487" y="2153"/>
                  </a:lnTo>
                  <a:lnTo>
                    <a:pt x="1487" y="2154"/>
                  </a:lnTo>
                  <a:lnTo>
                    <a:pt x="1491" y="2164"/>
                  </a:lnTo>
                  <a:lnTo>
                    <a:pt x="1498" y="2175"/>
                  </a:lnTo>
                  <a:lnTo>
                    <a:pt x="1501" y="2181"/>
                  </a:lnTo>
                  <a:lnTo>
                    <a:pt x="1504" y="2186"/>
                  </a:lnTo>
                  <a:lnTo>
                    <a:pt x="1506" y="2188"/>
                  </a:lnTo>
                  <a:lnTo>
                    <a:pt x="1507" y="2189"/>
                  </a:lnTo>
                  <a:lnTo>
                    <a:pt x="1510" y="2191"/>
                  </a:lnTo>
                  <a:lnTo>
                    <a:pt x="1514" y="2191"/>
                  </a:lnTo>
                  <a:lnTo>
                    <a:pt x="1515" y="2192"/>
                  </a:lnTo>
                  <a:lnTo>
                    <a:pt x="1518" y="2192"/>
                  </a:lnTo>
                  <a:lnTo>
                    <a:pt x="1520" y="2191"/>
                  </a:lnTo>
                  <a:lnTo>
                    <a:pt x="1523" y="2189"/>
                  </a:lnTo>
                  <a:lnTo>
                    <a:pt x="1526" y="2188"/>
                  </a:lnTo>
                  <a:lnTo>
                    <a:pt x="1528" y="2184"/>
                  </a:lnTo>
                  <a:lnTo>
                    <a:pt x="1531" y="2181"/>
                  </a:lnTo>
                  <a:lnTo>
                    <a:pt x="1534" y="2177"/>
                  </a:lnTo>
                  <a:lnTo>
                    <a:pt x="1537" y="2175"/>
                  </a:lnTo>
                  <a:lnTo>
                    <a:pt x="1540" y="2172"/>
                  </a:lnTo>
                  <a:lnTo>
                    <a:pt x="1540" y="2170"/>
                  </a:lnTo>
                  <a:lnTo>
                    <a:pt x="1542" y="2167"/>
                  </a:lnTo>
                  <a:lnTo>
                    <a:pt x="1542" y="2164"/>
                  </a:lnTo>
                  <a:lnTo>
                    <a:pt x="1540" y="2161"/>
                  </a:lnTo>
                  <a:lnTo>
                    <a:pt x="1540" y="2158"/>
                  </a:lnTo>
                  <a:lnTo>
                    <a:pt x="1539" y="2154"/>
                  </a:lnTo>
                  <a:lnTo>
                    <a:pt x="1536" y="2143"/>
                  </a:lnTo>
                  <a:lnTo>
                    <a:pt x="1533" y="2134"/>
                  </a:lnTo>
                  <a:lnTo>
                    <a:pt x="1531" y="2128"/>
                  </a:lnTo>
                  <a:lnTo>
                    <a:pt x="1529" y="2121"/>
                  </a:lnTo>
                  <a:lnTo>
                    <a:pt x="1528" y="2115"/>
                  </a:lnTo>
                  <a:lnTo>
                    <a:pt x="1528" y="2107"/>
                  </a:lnTo>
                  <a:lnTo>
                    <a:pt x="1534" y="2102"/>
                  </a:lnTo>
                  <a:lnTo>
                    <a:pt x="1539" y="2098"/>
                  </a:lnTo>
                  <a:lnTo>
                    <a:pt x="1542" y="2095"/>
                  </a:lnTo>
                  <a:lnTo>
                    <a:pt x="1547" y="2090"/>
                  </a:lnTo>
                  <a:lnTo>
                    <a:pt x="1551" y="2088"/>
                  </a:lnTo>
                  <a:lnTo>
                    <a:pt x="1555" y="2085"/>
                  </a:lnTo>
                  <a:lnTo>
                    <a:pt x="1559" y="2084"/>
                  </a:lnTo>
                  <a:lnTo>
                    <a:pt x="1563" y="2082"/>
                  </a:lnTo>
                  <a:lnTo>
                    <a:pt x="1567" y="2080"/>
                  </a:lnTo>
                  <a:lnTo>
                    <a:pt x="1569" y="2079"/>
                  </a:lnTo>
                  <a:lnTo>
                    <a:pt x="1574" y="2079"/>
                  </a:lnTo>
                  <a:lnTo>
                    <a:pt x="1577" y="2077"/>
                  </a:lnTo>
                  <a:lnTo>
                    <a:pt x="1580" y="2077"/>
                  </a:lnTo>
                  <a:lnTo>
                    <a:pt x="1583" y="2079"/>
                  </a:lnTo>
                  <a:lnTo>
                    <a:pt x="1586" y="2079"/>
                  </a:lnTo>
                  <a:lnTo>
                    <a:pt x="1589" y="2080"/>
                  </a:lnTo>
                  <a:lnTo>
                    <a:pt x="1594" y="2082"/>
                  </a:lnTo>
                  <a:lnTo>
                    <a:pt x="1600" y="2084"/>
                  </a:lnTo>
                  <a:lnTo>
                    <a:pt x="1605" y="2085"/>
                  </a:lnTo>
                  <a:lnTo>
                    <a:pt x="1610" y="2088"/>
                  </a:lnTo>
                  <a:lnTo>
                    <a:pt x="1615" y="2090"/>
                  </a:lnTo>
                  <a:lnTo>
                    <a:pt x="1618" y="2093"/>
                  </a:lnTo>
                  <a:lnTo>
                    <a:pt x="1623" y="2093"/>
                  </a:lnTo>
                  <a:lnTo>
                    <a:pt x="1626" y="2095"/>
                  </a:lnTo>
                  <a:lnTo>
                    <a:pt x="1635" y="2093"/>
                  </a:lnTo>
                  <a:lnTo>
                    <a:pt x="1643" y="2093"/>
                  </a:lnTo>
                  <a:lnTo>
                    <a:pt x="1649" y="2091"/>
                  </a:lnTo>
                  <a:lnTo>
                    <a:pt x="1654" y="2091"/>
                  </a:lnTo>
                  <a:lnTo>
                    <a:pt x="1659" y="2091"/>
                  </a:lnTo>
                  <a:lnTo>
                    <a:pt x="1664" y="2093"/>
                  </a:lnTo>
                  <a:lnTo>
                    <a:pt x="1667" y="2093"/>
                  </a:lnTo>
                  <a:lnTo>
                    <a:pt x="1668" y="2093"/>
                  </a:lnTo>
                  <a:lnTo>
                    <a:pt x="1672" y="2095"/>
                  </a:lnTo>
                  <a:lnTo>
                    <a:pt x="1672" y="2096"/>
                  </a:lnTo>
                  <a:lnTo>
                    <a:pt x="1673" y="2098"/>
                  </a:lnTo>
                  <a:lnTo>
                    <a:pt x="1673" y="2101"/>
                  </a:lnTo>
                  <a:lnTo>
                    <a:pt x="1672" y="2102"/>
                  </a:lnTo>
                  <a:lnTo>
                    <a:pt x="1672" y="2104"/>
                  </a:lnTo>
                  <a:lnTo>
                    <a:pt x="1672" y="2106"/>
                  </a:lnTo>
                  <a:lnTo>
                    <a:pt x="1665" y="2113"/>
                  </a:lnTo>
                  <a:lnTo>
                    <a:pt x="1660" y="2120"/>
                  </a:lnTo>
                  <a:lnTo>
                    <a:pt x="1659" y="2121"/>
                  </a:lnTo>
                  <a:lnTo>
                    <a:pt x="1659" y="2123"/>
                  </a:lnTo>
                  <a:lnTo>
                    <a:pt x="1659" y="2125"/>
                  </a:lnTo>
                  <a:lnTo>
                    <a:pt x="1659" y="2126"/>
                  </a:lnTo>
                  <a:lnTo>
                    <a:pt x="1660" y="2126"/>
                  </a:lnTo>
                  <a:lnTo>
                    <a:pt x="1662" y="2128"/>
                  </a:lnTo>
                  <a:lnTo>
                    <a:pt x="1664" y="2128"/>
                  </a:lnTo>
                  <a:lnTo>
                    <a:pt x="1667" y="2128"/>
                  </a:lnTo>
                  <a:lnTo>
                    <a:pt x="1672" y="2129"/>
                  </a:lnTo>
                  <a:lnTo>
                    <a:pt x="1676" y="2131"/>
                  </a:lnTo>
                  <a:lnTo>
                    <a:pt x="1683" y="2131"/>
                  </a:lnTo>
                  <a:lnTo>
                    <a:pt x="1686" y="2134"/>
                  </a:lnTo>
                  <a:lnTo>
                    <a:pt x="1691" y="2137"/>
                  </a:lnTo>
                  <a:lnTo>
                    <a:pt x="1695" y="2139"/>
                  </a:lnTo>
                  <a:lnTo>
                    <a:pt x="1698" y="2142"/>
                  </a:lnTo>
                  <a:lnTo>
                    <a:pt x="1702" y="2143"/>
                  </a:lnTo>
                  <a:lnTo>
                    <a:pt x="1705" y="2147"/>
                  </a:lnTo>
                  <a:lnTo>
                    <a:pt x="1708" y="2151"/>
                  </a:lnTo>
                  <a:lnTo>
                    <a:pt x="1711" y="2154"/>
                  </a:lnTo>
                  <a:lnTo>
                    <a:pt x="1714" y="2158"/>
                  </a:lnTo>
                  <a:lnTo>
                    <a:pt x="1719" y="2167"/>
                  </a:lnTo>
                  <a:lnTo>
                    <a:pt x="1724" y="2175"/>
                  </a:lnTo>
                  <a:lnTo>
                    <a:pt x="1728" y="2183"/>
                  </a:lnTo>
                  <a:lnTo>
                    <a:pt x="1732" y="2192"/>
                  </a:lnTo>
                  <a:lnTo>
                    <a:pt x="1736" y="2202"/>
                  </a:lnTo>
                  <a:lnTo>
                    <a:pt x="1739" y="2211"/>
                  </a:lnTo>
                  <a:lnTo>
                    <a:pt x="1746" y="2230"/>
                  </a:lnTo>
                  <a:lnTo>
                    <a:pt x="1754" y="2248"/>
                  </a:lnTo>
                  <a:lnTo>
                    <a:pt x="1758" y="2259"/>
                  </a:lnTo>
                  <a:lnTo>
                    <a:pt x="1765" y="2268"/>
                  </a:lnTo>
                  <a:lnTo>
                    <a:pt x="1771" y="2278"/>
                  </a:lnTo>
                  <a:lnTo>
                    <a:pt x="1779" y="2287"/>
                  </a:lnTo>
                  <a:lnTo>
                    <a:pt x="1793" y="2306"/>
                  </a:lnTo>
                  <a:lnTo>
                    <a:pt x="1807" y="2323"/>
                  </a:lnTo>
                  <a:lnTo>
                    <a:pt x="1815" y="2333"/>
                  </a:lnTo>
                  <a:lnTo>
                    <a:pt x="1823" y="2341"/>
                  </a:lnTo>
                  <a:lnTo>
                    <a:pt x="1830" y="2352"/>
                  </a:lnTo>
                  <a:lnTo>
                    <a:pt x="1837" y="2361"/>
                  </a:lnTo>
                  <a:lnTo>
                    <a:pt x="1844" y="2371"/>
                  </a:lnTo>
                  <a:lnTo>
                    <a:pt x="1850" y="2382"/>
                  </a:lnTo>
                  <a:lnTo>
                    <a:pt x="1855" y="2391"/>
                  </a:lnTo>
                  <a:lnTo>
                    <a:pt x="1861" y="2402"/>
                  </a:lnTo>
                  <a:lnTo>
                    <a:pt x="1864" y="2410"/>
                  </a:lnTo>
                  <a:lnTo>
                    <a:pt x="1866" y="2416"/>
                  </a:lnTo>
                  <a:lnTo>
                    <a:pt x="1866" y="2423"/>
                  </a:lnTo>
                  <a:lnTo>
                    <a:pt x="1866" y="2427"/>
                  </a:lnTo>
                  <a:lnTo>
                    <a:pt x="1866" y="2434"/>
                  </a:lnTo>
                  <a:lnTo>
                    <a:pt x="1866" y="2440"/>
                  </a:lnTo>
                  <a:lnTo>
                    <a:pt x="1866" y="2446"/>
                  </a:lnTo>
                  <a:lnTo>
                    <a:pt x="1866" y="2453"/>
                  </a:lnTo>
                  <a:lnTo>
                    <a:pt x="1864" y="2467"/>
                  </a:lnTo>
                  <a:lnTo>
                    <a:pt x="1863" y="2481"/>
                  </a:lnTo>
                  <a:lnTo>
                    <a:pt x="1863" y="2489"/>
                  </a:lnTo>
                  <a:lnTo>
                    <a:pt x="1864" y="2500"/>
                  </a:lnTo>
                  <a:lnTo>
                    <a:pt x="1864" y="2509"/>
                  </a:lnTo>
                  <a:lnTo>
                    <a:pt x="1866" y="2517"/>
                  </a:lnTo>
                  <a:lnTo>
                    <a:pt x="1867" y="2525"/>
                  </a:lnTo>
                  <a:lnTo>
                    <a:pt x="1869" y="2535"/>
                  </a:lnTo>
                  <a:lnTo>
                    <a:pt x="1871" y="2544"/>
                  </a:lnTo>
                  <a:lnTo>
                    <a:pt x="1874" y="2554"/>
                  </a:lnTo>
                  <a:lnTo>
                    <a:pt x="1877" y="2565"/>
                  </a:lnTo>
                  <a:lnTo>
                    <a:pt x="1882" y="2576"/>
                  </a:lnTo>
                  <a:lnTo>
                    <a:pt x="1885" y="2588"/>
                  </a:lnTo>
                  <a:lnTo>
                    <a:pt x="1891" y="2601"/>
                  </a:lnTo>
                  <a:lnTo>
                    <a:pt x="1891" y="2621"/>
                  </a:lnTo>
                  <a:lnTo>
                    <a:pt x="1891" y="2643"/>
                  </a:lnTo>
                  <a:lnTo>
                    <a:pt x="1891" y="2666"/>
                  </a:lnTo>
                  <a:lnTo>
                    <a:pt x="1891" y="2688"/>
                  </a:lnTo>
                  <a:lnTo>
                    <a:pt x="1893" y="2710"/>
                  </a:lnTo>
                  <a:lnTo>
                    <a:pt x="1893" y="2732"/>
                  </a:lnTo>
                  <a:lnTo>
                    <a:pt x="1894" y="2752"/>
                  </a:lnTo>
                  <a:lnTo>
                    <a:pt x="1894" y="2773"/>
                  </a:lnTo>
                  <a:lnTo>
                    <a:pt x="1896" y="2793"/>
                  </a:lnTo>
                  <a:lnTo>
                    <a:pt x="1896" y="2812"/>
                  </a:lnTo>
                  <a:lnTo>
                    <a:pt x="1896" y="2831"/>
                  </a:lnTo>
                  <a:lnTo>
                    <a:pt x="1896" y="2847"/>
                  </a:lnTo>
                  <a:lnTo>
                    <a:pt x="1894" y="2863"/>
                  </a:lnTo>
                  <a:lnTo>
                    <a:pt x="1894" y="2877"/>
                  </a:lnTo>
                  <a:lnTo>
                    <a:pt x="1893" y="2890"/>
                  </a:lnTo>
                  <a:lnTo>
                    <a:pt x="1891" y="2901"/>
                  </a:lnTo>
                  <a:lnTo>
                    <a:pt x="1886" y="2913"/>
                  </a:lnTo>
                  <a:lnTo>
                    <a:pt x="1882" y="2931"/>
                  </a:lnTo>
                  <a:lnTo>
                    <a:pt x="1879" y="2940"/>
                  </a:lnTo>
                  <a:lnTo>
                    <a:pt x="1874" y="2949"/>
                  </a:lnTo>
                  <a:lnTo>
                    <a:pt x="1871" y="2959"/>
                  </a:lnTo>
                  <a:lnTo>
                    <a:pt x="1866" y="2970"/>
                  </a:lnTo>
                  <a:lnTo>
                    <a:pt x="1860" y="2978"/>
                  </a:lnTo>
                  <a:lnTo>
                    <a:pt x="1853" y="2987"/>
                  </a:lnTo>
                  <a:lnTo>
                    <a:pt x="1850" y="2990"/>
                  </a:lnTo>
                  <a:lnTo>
                    <a:pt x="1847" y="2995"/>
                  </a:lnTo>
                  <a:lnTo>
                    <a:pt x="1844" y="2998"/>
                  </a:lnTo>
                  <a:lnTo>
                    <a:pt x="1841" y="3003"/>
                  </a:lnTo>
                  <a:lnTo>
                    <a:pt x="1836" y="3005"/>
                  </a:lnTo>
                  <a:lnTo>
                    <a:pt x="1833" y="3008"/>
                  </a:lnTo>
                  <a:lnTo>
                    <a:pt x="1828" y="3009"/>
                  </a:lnTo>
                  <a:lnTo>
                    <a:pt x="1823" y="3013"/>
                  </a:lnTo>
                  <a:lnTo>
                    <a:pt x="1818" y="3014"/>
                  </a:lnTo>
                  <a:lnTo>
                    <a:pt x="1814" y="3016"/>
                  </a:lnTo>
                  <a:lnTo>
                    <a:pt x="1811" y="3016"/>
                  </a:lnTo>
                  <a:lnTo>
                    <a:pt x="1804" y="3016"/>
                  </a:lnTo>
                  <a:lnTo>
                    <a:pt x="1800" y="3016"/>
                  </a:lnTo>
                  <a:lnTo>
                    <a:pt x="1798" y="3016"/>
                  </a:lnTo>
                  <a:lnTo>
                    <a:pt x="1795" y="3013"/>
                  </a:lnTo>
                  <a:lnTo>
                    <a:pt x="1792" y="3011"/>
                  </a:lnTo>
                  <a:lnTo>
                    <a:pt x="1790" y="3006"/>
                  </a:lnTo>
                  <a:lnTo>
                    <a:pt x="1787" y="3002"/>
                  </a:lnTo>
                  <a:lnTo>
                    <a:pt x="1784" y="3000"/>
                  </a:lnTo>
                  <a:lnTo>
                    <a:pt x="1784" y="2998"/>
                  </a:lnTo>
                  <a:lnTo>
                    <a:pt x="1782" y="2997"/>
                  </a:lnTo>
                  <a:lnTo>
                    <a:pt x="1779" y="2995"/>
                  </a:lnTo>
                  <a:lnTo>
                    <a:pt x="1777" y="2995"/>
                  </a:lnTo>
                  <a:lnTo>
                    <a:pt x="1774" y="2997"/>
                  </a:lnTo>
                  <a:lnTo>
                    <a:pt x="1771" y="2998"/>
                  </a:lnTo>
                  <a:lnTo>
                    <a:pt x="1766" y="3002"/>
                  </a:lnTo>
                  <a:lnTo>
                    <a:pt x="1763" y="3003"/>
                  </a:lnTo>
                  <a:lnTo>
                    <a:pt x="1762" y="3006"/>
                  </a:lnTo>
                  <a:lnTo>
                    <a:pt x="1762" y="3008"/>
                  </a:lnTo>
                  <a:lnTo>
                    <a:pt x="1758" y="3009"/>
                  </a:lnTo>
                  <a:lnTo>
                    <a:pt x="1758" y="3013"/>
                  </a:lnTo>
                  <a:lnTo>
                    <a:pt x="1757" y="3016"/>
                  </a:lnTo>
                  <a:lnTo>
                    <a:pt x="1757" y="3020"/>
                  </a:lnTo>
                  <a:lnTo>
                    <a:pt x="1757" y="3024"/>
                  </a:lnTo>
                  <a:lnTo>
                    <a:pt x="1757" y="3031"/>
                  </a:lnTo>
                  <a:lnTo>
                    <a:pt x="1757" y="3043"/>
                  </a:lnTo>
                  <a:lnTo>
                    <a:pt x="1757" y="3055"/>
                  </a:lnTo>
                  <a:lnTo>
                    <a:pt x="1755" y="3071"/>
                  </a:lnTo>
                  <a:lnTo>
                    <a:pt x="1746" y="3074"/>
                  </a:lnTo>
                  <a:lnTo>
                    <a:pt x="1738" y="3079"/>
                  </a:lnTo>
                  <a:lnTo>
                    <a:pt x="1735" y="3080"/>
                  </a:lnTo>
                  <a:lnTo>
                    <a:pt x="1733" y="3082"/>
                  </a:lnTo>
                  <a:lnTo>
                    <a:pt x="1730" y="3084"/>
                  </a:lnTo>
                  <a:lnTo>
                    <a:pt x="1730" y="3085"/>
                  </a:lnTo>
                  <a:lnTo>
                    <a:pt x="1730" y="3087"/>
                  </a:lnTo>
                  <a:lnTo>
                    <a:pt x="1730" y="3090"/>
                  </a:lnTo>
                  <a:lnTo>
                    <a:pt x="1732" y="3091"/>
                  </a:lnTo>
                  <a:lnTo>
                    <a:pt x="1733" y="3095"/>
                  </a:lnTo>
                  <a:lnTo>
                    <a:pt x="1738" y="3101"/>
                  </a:lnTo>
                  <a:lnTo>
                    <a:pt x="1744" y="3110"/>
                  </a:lnTo>
                  <a:lnTo>
                    <a:pt x="1739" y="3107"/>
                  </a:lnTo>
                  <a:lnTo>
                    <a:pt x="1736" y="3104"/>
                  </a:lnTo>
                  <a:lnTo>
                    <a:pt x="1732" y="3099"/>
                  </a:lnTo>
                  <a:lnTo>
                    <a:pt x="1728" y="3096"/>
                  </a:lnTo>
                  <a:lnTo>
                    <a:pt x="1725" y="3095"/>
                  </a:lnTo>
                  <a:lnTo>
                    <a:pt x="1722" y="3090"/>
                  </a:lnTo>
                  <a:lnTo>
                    <a:pt x="1721" y="3087"/>
                  </a:lnTo>
                  <a:lnTo>
                    <a:pt x="1717" y="3084"/>
                  </a:lnTo>
                  <a:lnTo>
                    <a:pt x="1717" y="3080"/>
                  </a:lnTo>
                  <a:lnTo>
                    <a:pt x="1717" y="3077"/>
                  </a:lnTo>
                  <a:lnTo>
                    <a:pt x="1717" y="3072"/>
                  </a:lnTo>
                  <a:lnTo>
                    <a:pt x="1721" y="3069"/>
                  </a:lnTo>
                  <a:lnTo>
                    <a:pt x="1724" y="3066"/>
                  </a:lnTo>
                  <a:lnTo>
                    <a:pt x="1727" y="3063"/>
                  </a:lnTo>
                  <a:lnTo>
                    <a:pt x="1730" y="3058"/>
                  </a:lnTo>
                  <a:lnTo>
                    <a:pt x="1736" y="3055"/>
                  </a:lnTo>
                  <a:lnTo>
                    <a:pt x="1736" y="3050"/>
                  </a:lnTo>
                  <a:lnTo>
                    <a:pt x="1736" y="3044"/>
                  </a:lnTo>
                  <a:lnTo>
                    <a:pt x="1733" y="3038"/>
                  </a:lnTo>
                  <a:lnTo>
                    <a:pt x="1730" y="3030"/>
                  </a:lnTo>
                  <a:lnTo>
                    <a:pt x="1727" y="3019"/>
                  </a:lnTo>
                  <a:lnTo>
                    <a:pt x="1724" y="3013"/>
                  </a:lnTo>
                  <a:lnTo>
                    <a:pt x="1717" y="3002"/>
                  </a:lnTo>
                  <a:lnTo>
                    <a:pt x="1713" y="2992"/>
                  </a:lnTo>
                  <a:lnTo>
                    <a:pt x="1706" y="2984"/>
                  </a:lnTo>
                  <a:lnTo>
                    <a:pt x="1702" y="2976"/>
                  </a:lnTo>
                  <a:lnTo>
                    <a:pt x="1697" y="2972"/>
                  </a:lnTo>
                  <a:lnTo>
                    <a:pt x="1692" y="2965"/>
                  </a:lnTo>
                  <a:lnTo>
                    <a:pt x="1689" y="2961"/>
                  </a:lnTo>
                  <a:lnTo>
                    <a:pt x="1684" y="2956"/>
                  </a:lnTo>
                  <a:lnTo>
                    <a:pt x="1676" y="2949"/>
                  </a:lnTo>
                  <a:lnTo>
                    <a:pt x="1668" y="2943"/>
                  </a:lnTo>
                  <a:lnTo>
                    <a:pt x="1662" y="2938"/>
                  </a:lnTo>
                  <a:lnTo>
                    <a:pt x="1654" y="2931"/>
                  </a:lnTo>
                  <a:lnTo>
                    <a:pt x="1654" y="2929"/>
                  </a:lnTo>
                  <a:lnTo>
                    <a:pt x="1654" y="2923"/>
                  </a:lnTo>
                  <a:lnTo>
                    <a:pt x="1657" y="2918"/>
                  </a:lnTo>
                  <a:lnTo>
                    <a:pt x="1659" y="2908"/>
                  </a:lnTo>
                  <a:lnTo>
                    <a:pt x="1662" y="2899"/>
                  </a:lnTo>
                  <a:lnTo>
                    <a:pt x="1664" y="2890"/>
                  </a:lnTo>
                  <a:lnTo>
                    <a:pt x="1664" y="2885"/>
                  </a:lnTo>
                  <a:lnTo>
                    <a:pt x="1665" y="2880"/>
                  </a:lnTo>
                  <a:lnTo>
                    <a:pt x="1665" y="2874"/>
                  </a:lnTo>
                  <a:lnTo>
                    <a:pt x="1665" y="2869"/>
                  </a:lnTo>
                  <a:lnTo>
                    <a:pt x="1672" y="2867"/>
                  </a:lnTo>
                  <a:lnTo>
                    <a:pt x="1681" y="2866"/>
                  </a:lnTo>
                  <a:lnTo>
                    <a:pt x="1689" y="2864"/>
                  </a:lnTo>
                  <a:lnTo>
                    <a:pt x="1700" y="2863"/>
                  </a:lnTo>
                  <a:lnTo>
                    <a:pt x="1708" y="2863"/>
                  </a:lnTo>
                  <a:lnTo>
                    <a:pt x="1717" y="2861"/>
                  </a:lnTo>
                  <a:lnTo>
                    <a:pt x="1725" y="2860"/>
                  </a:lnTo>
                  <a:lnTo>
                    <a:pt x="1733" y="2858"/>
                  </a:lnTo>
                  <a:lnTo>
                    <a:pt x="1732" y="2847"/>
                  </a:lnTo>
                  <a:lnTo>
                    <a:pt x="1730" y="2836"/>
                  </a:lnTo>
                  <a:lnTo>
                    <a:pt x="1730" y="2826"/>
                  </a:lnTo>
                  <a:lnTo>
                    <a:pt x="1728" y="2815"/>
                  </a:lnTo>
                  <a:lnTo>
                    <a:pt x="1725" y="2806"/>
                  </a:lnTo>
                  <a:lnTo>
                    <a:pt x="1724" y="2796"/>
                  </a:lnTo>
                  <a:lnTo>
                    <a:pt x="1721" y="2789"/>
                  </a:lnTo>
                  <a:lnTo>
                    <a:pt x="1717" y="2779"/>
                  </a:lnTo>
                  <a:lnTo>
                    <a:pt x="1713" y="2763"/>
                  </a:lnTo>
                  <a:lnTo>
                    <a:pt x="1708" y="2748"/>
                  </a:lnTo>
                  <a:lnTo>
                    <a:pt x="1703" y="2733"/>
                  </a:lnTo>
                  <a:lnTo>
                    <a:pt x="1698" y="2722"/>
                  </a:lnTo>
                  <a:lnTo>
                    <a:pt x="1697" y="2722"/>
                  </a:lnTo>
                  <a:lnTo>
                    <a:pt x="1697" y="2721"/>
                  </a:lnTo>
                  <a:lnTo>
                    <a:pt x="1695" y="2710"/>
                  </a:lnTo>
                  <a:lnTo>
                    <a:pt x="1691" y="2699"/>
                  </a:lnTo>
                  <a:lnTo>
                    <a:pt x="1689" y="2688"/>
                  </a:lnTo>
                  <a:lnTo>
                    <a:pt x="1687" y="2678"/>
                  </a:lnTo>
                  <a:lnTo>
                    <a:pt x="1687" y="2672"/>
                  </a:lnTo>
                  <a:lnTo>
                    <a:pt x="1687" y="2666"/>
                  </a:lnTo>
                  <a:lnTo>
                    <a:pt x="1687" y="2661"/>
                  </a:lnTo>
                  <a:lnTo>
                    <a:pt x="1687" y="2655"/>
                  </a:lnTo>
                  <a:lnTo>
                    <a:pt x="1687" y="2648"/>
                  </a:lnTo>
                  <a:lnTo>
                    <a:pt x="1687" y="2642"/>
                  </a:lnTo>
                  <a:lnTo>
                    <a:pt x="1689" y="2634"/>
                  </a:lnTo>
                  <a:lnTo>
                    <a:pt x="1689" y="2629"/>
                  </a:lnTo>
                  <a:lnTo>
                    <a:pt x="1686" y="2628"/>
                  </a:lnTo>
                  <a:lnTo>
                    <a:pt x="1683" y="2628"/>
                  </a:lnTo>
                  <a:lnTo>
                    <a:pt x="1679" y="2626"/>
                  </a:lnTo>
                  <a:lnTo>
                    <a:pt x="1676" y="2625"/>
                  </a:lnTo>
                  <a:lnTo>
                    <a:pt x="1675" y="2623"/>
                  </a:lnTo>
                  <a:lnTo>
                    <a:pt x="1672" y="2621"/>
                  </a:lnTo>
                  <a:lnTo>
                    <a:pt x="1670" y="2620"/>
                  </a:lnTo>
                  <a:lnTo>
                    <a:pt x="1668" y="2617"/>
                  </a:lnTo>
                  <a:lnTo>
                    <a:pt x="1662" y="2609"/>
                  </a:lnTo>
                  <a:lnTo>
                    <a:pt x="1656" y="2601"/>
                  </a:lnTo>
                  <a:lnTo>
                    <a:pt x="1654" y="2598"/>
                  </a:lnTo>
                  <a:lnTo>
                    <a:pt x="1651" y="2596"/>
                  </a:lnTo>
                  <a:lnTo>
                    <a:pt x="1651" y="2595"/>
                  </a:lnTo>
                  <a:lnTo>
                    <a:pt x="1649" y="2593"/>
                  </a:lnTo>
                  <a:lnTo>
                    <a:pt x="1646" y="2593"/>
                  </a:lnTo>
                  <a:lnTo>
                    <a:pt x="1645" y="2593"/>
                  </a:lnTo>
                  <a:lnTo>
                    <a:pt x="1642" y="2596"/>
                  </a:lnTo>
                  <a:lnTo>
                    <a:pt x="1638" y="2601"/>
                  </a:lnTo>
                  <a:close/>
                  <a:moveTo>
                    <a:pt x="618" y="867"/>
                  </a:moveTo>
                  <a:lnTo>
                    <a:pt x="616" y="867"/>
                  </a:lnTo>
                  <a:lnTo>
                    <a:pt x="615" y="869"/>
                  </a:lnTo>
                  <a:lnTo>
                    <a:pt x="615" y="871"/>
                  </a:lnTo>
                  <a:lnTo>
                    <a:pt x="611" y="874"/>
                  </a:lnTo>
                  <a:lnTo>
                    <a:pt x="608" y="877"/>
                  </a:lnTo>
                  <a:lnTo>
                    <a:pt x="607" y="883"/>
                  </a:lnTo>
                  <a:lnTo>
                    <a:pt x="604" y="886"/>
                  </a:lnTo>
                  <a:lnTo>
                    <a:pt x="604" y="889"/>
                  </a:lnTo>
                  <a:lnTo>
                    <a:pt x="604" y="893"/>
                  </a:lnTo>
                  <a:lnTo>
                    <a:pt x="604" y="896"/>
                  </a:lnTo>
                  <a:lnTo>
                    <a:pt x="604" y="899"/>
                  </a:lnTo>
                  <a:lnTo>
                    <a:pt x="607" y="902"/>
                  </a:lnTo>
                  <a:lnTo>
                    <a:pt x="607" y="904"/>
                  </a:lnTo>
                  <a:lnTo>
                    <a:pt x="608" y="907"/>
                  </a:lnTo>
                  <a:lnTo>
                    <a:pt x="611" y="908"/>
                  </a:lnTo>
                  <a:lnTo>
                    <a:pt x="611" y="912"/>
                  </a:lnTo>
                  <a:lnTo>
                    <a:pt x="611" y="915"/>
                  </a:lnTo>
                  <a:lnTo>
                    <a:pt x="611" y="918"/>
                  </a:lnTo>
                  <a:lnTo>
                    <a:pt x="611" y="921"/>
                  </a:lnTo>
                  <a:lnTo>
                    <a:pt x="610" y="923"/>
                  </a:lnTo>
                  <a:lnTo>
                    <a:pt x="608" y="923"/>
                  </a:lnTo>
                  <a:lnTo>
                    <a:pt x="607" y="924"/>
                  </a:lnTo>
                  <a:lnTo>
                    <a:pt x="607" y="926"/>
                  </a:lnTo>
                  <a:lnTo>
                    <a:pt x="605" y="927"/>
                  </a:lnTo>
                  <a:lnTo>
                    <a:pt x="604" y="929"/>
                  </a:lnTo>
                  <a:lnTo>
                    <a:pt x="607" y="931"/>
                  </a:lnTo>
                  <a:lnTo>
                    <a:pt x="608" y="932"/>
                  </a:lnTo>
                  <a:lnTo>
                    <a:pt x="608" y="931"/>
                  </a:lnTo>
                  <a:lnTo>
                    <a:pt x="610" y="931"/>
                  </a:lnTo>
                  <a:lnTo>
                    <a:pt x="611" y="929"/>
                  </a:lnTo>
                  <a:lnTo>
                    <a:pt x="613" y="926"/>
                  </a:lnTo>
                  <a:lnTo>
                    <a:pt x="615" y="923"/>
                  </a:lnTo>
                  <a:lnTo>
                    <a:pt x="616" y="921"/>
                  </a:lnTo>
                  <a:lnTo>
                    <a:pt x="616" y="919"/>
                  </a:lnTo>
                  <a:lnTo>
                    <a:pt x="616" y="918"/>
                  </a:lnTo>
                  <a:lnTo>
                    <a:pt x="619" y="918"/>
                  </a:lnTo>
                  <a:lnTo>
                    <a:pt x="619" y="916"/>
                  </a:lnTo>
                  <a:lnTo>
                    <a:pt x="624" y="915"/>
                  </a:lnTo>
                  <a:lnTo>
                    <a:pt x="627" y="913"/>
                  </a:lnTo>
                  <a:lnTo>
                    <a:pt x="635" y="913"/>
                  </a:lnTo>
                  <a:lnTo>
                    <a:pt x="640" y="912"/>
                  </a:lnTo>
                  <a:lnTo>
                    <a:pt x="646" y="908"/>
                  </a:lnTo>
                  <a:lnTo>
                    <a:pt x="652" y="908"/>
                  </a:lnTo>
                  <a:lnTo>
                    <a:pt x="657" y="905"/>
                  </a:lnTo>
                  <a:lnTo>
                    <a:pt x="662" y="902"/>
                  </a:lnTo>
                  <a:lnTo>
                    <a:pt x="665" y="901"/>
                  </a:lnTo>
                  <a:lnTo>
                    <a:pt x="665" y="899"/>
                  </a:lnTo>
                  <a:lnTo>
                    <a:pt x="668" y="897"/>
                  </a:lnTo>
                  <a:lnTo>
                    <a:pt x="670" y="896"/>
                  </a:lnTo>
                  <a:lnTo>
                    <a:pt x="670" y="894"/>
                  </a:lnTo>
                  <a:lnTo>
                    <a:pt x="671" y="891"/>
                  </a:lnTo>
                  <a:lnTo>
                    <a:pt x="673" y="888"/>
                  </a:lnTo>
                  <a:lnTo>
                    <a:pt x="673" y="885"/>
                  </a:lnTo>
                  <a:lnTo>
                    <a:pt x="673" y="883"/>
                  </a:lnTo>
                  <a:lnTo>
                    <a:pt x="671" y="882"/>
                  </a:lnTo>
                  <a:lnTo>
                    <a:pt x="671" y="880"/>
                  </a:lnTo>
                  <a:lnTo>
                    <a:pt x="670" y="878"/>
                  </a:lnTo>
                  <a:lnTo>
                    <a:pt x="668" y="875"/>
                  </a:lnTo>
                  <a:lnTo>
                    <a:pt x="667" y="874"/>
                  </a:lnTo>
                  <a:lnTo>
                    <a:pt x="664" y="871"/>
                  </a:lnTo>
                  <a:lnTo>
                    <a:pt x="660" y="869"/>
                  </a:lnTo>
                  <a:lnTo>
                    <a:pt x="656" y="869"/>
                  </a:lnTo>
                  <a:lnTo>
                    <a:pt x="652" y="867"/>
                  </a:lnTo>
                  <a:lnTo>
                    <a:pt x="643" y="867"/>
                  </a:lnTo>
                  <a:lnTo>
                    <a:pt x="635" y="867"/>
                  </a:lnTo>
                  <a:lnTo>
                    <a:pt x="626" y="867"/>
                  </a:lnTo>
                  <a:lnTo>
                    <a:pt x="618" y="867"/>
                  </a:lnTo>
                  <a:close/>
                  <a:moveTo>
                    <a:pt x="665" y="711"/>
                  </a:moveTo>
                  <a:lnTo>
                    <a:pt x="668" y="711"/>
                  </a:lnTo>
                  <a:lnTo>
                    <a:pt x="670" y="711"/>
                  </a:lnTo>
                  <a:lnTo>
                    <a:pt x="673" y="710"/>
                  </a:lnTo>
                  <a:lnTo>
                    <a:pt x="675" y="707"/>
                  </a:lnTo>
                  <a:lnTo>
                    <a:pt x="678" y="705"/>
                  </a:lnTo>
                  <a:lnTo>
                    <a:pt x="679" y="702"/>
                  </a:lnTo>
                  <a:lnTo>
                    <a:pt x="681" y="699"/>
                  </a:lnTo>
                  <a:lnTo>
                    <a:pt x="683" y="695"/>
                  </a:lnTo>
                  <a:lnTo>
                    <a:pt x="687" y="689"/>
                  </a:lnTo>
                  <a:lnTo>
                    <a:pt x="689" y="683"/>
                  </a:lnTo>
                  <a:lnTo>
                    <a:pt x="690" y="677"/>
                  </a:lnTo>
                  <a:lnTo>
                    <a:pt x="690" y="672"/>
                  </a:lnTo>
                  <a:lnTo>
                    <a:pt x="690" y="669"/>
                  </a:lnTo>
                  <a:lnTo>
                    <a:pt x="690" y="664"/>
                  </a:lnTo>
                  <a:lnTo>
                    <a:pt x="686" y="662"/>
                  </a:lnTo>
                  <a:lnTo>
                    <a:pt x="681" y="661"/>
                  </a:lnTo>
                  <a:lnTo>
                    <a:pt x="675" y="662"/>
                  </a:lnTo>
                  <a:lnTo>
                    <a:pt x="665" y="664"/>
                  </a:lnTo>
                  <a:lnTo>
                    <a:pt x="659" y="666"/>
                  </a:lnTo>
                  <a:lnTo>
                    <a:pt x="654" y="669"/>
                  </a:lnTo>
                  <a:lnTo>
                    <a:pt x="652" y="669"/>
                  </a:lnTo>
                  <a:lnTo>
                    <a:pt x="651" y="670"/>
                  </a:lnTo>
                  <a:lnTo>
                    <a:pt x="649" y="670"/>
                  </a:lnTo>
                  <a:lnTo>
                    <a:pt x="648" y="672"/>
                  </a:lnTo>
                  <a:lnTo>
                    <a:pt x="645" y="677"/>
                  </a:lnTo>
                  <a:lnTo>
                    <a:pt x="643" y="681"/>
                  </a:lnTo>
                  <a:lnTo>
                    <a:pt x="643" y="683"/>
                  </a:lnTo>
                  <a:lnTo>
                    <a:pt x="641" y="684"/>
                  </a:lnTo>
                  <a:lnTo>
                    <a:pt x="640" y="686"/>
                  </a:lnTo>
                  <a:lnTo>
                    <a:pt x="638" y="686"/>
                  </a:lnTo>
                  <a:lnTo>
                    <a:pt x="634" y="686"/>
                  </a:lnTo>
                  <a:lnTo>
                    <a:pt x="634" y="684"/>
                  </a:lnTo>
                  <a:lnTo>
                    <a:pt x="632" y="683"/>
                  </a:lnTo>
                  <a:lnTo>
                    <a:pt x="630" y="681"/>
                  </a:lnTo>
                  <a:lnTo>
                    <a:pt x="629" y="681"/>
                  </a:lnTo>
                  <a:lnTo>
                    <a:pt x="627" y="680"/>
                  </a:lnTo>
                  <a:lnTo>
                    <a:pt x="624" y="680"/>
                  </a:lnTo>
                  <a:lnTo>
                    <a:pt x="624" y="678"/>
                  </a:lnTo>
                  <a:lnTo>
                    <a:pt x="622" y="680"/>
                  </a:lnTo>
                  <a:lnTo>
                    <a:pt x="619" y="681"/>
                  </a:lnTo>
                  <a:lnTo>
                    <a:pt x="616" y="683"/>
                  </a:lnTo>
                  <a:lnTo>
                    <a:pt x="615" y="686"/>
                  </a:lnTo>
                  <a:lnTo>
                    <a:pt x="613" y="691"/>
                  </a:lnTo>
                  <a:lnTo>
                    <a:pt x="611" y="700"/>
                  </a:lnTo>
                  <a:lnTo>
                    <a:pt x="608" y="707"/>
                  </a:lnTo>
                  <a:lnTo>
                    <a:pt x="607" y="707"/>
                  </a:lnTo>
                  <a:lnTo>
                    <a:pt x="604" y="705"/>
                  </a:lnTo>
                  <a:lnTo>
                    <a:pt x="602" y="703"/>
                  </a:lnTo>
                  <a:lnTo>
                    <a:pt x="600" y="702"/>
                  </a:lnTo>
                  <a:lnTo>
                    <a:pt x="599" y="699"/>
                  </a:lnTo>
                  <a:lnTo>
                    <a:pt x="596" y="695"/>
                  </a:lnTo>
                  <a:lnTo>
                    <a:pt x="591" y="695"/>
                  </a:lnTo>
                  <a:lnTo>
                    <a:pt x="591" y="702"/>
                  </a:lnTo>
                  <a:lnTo>
                    <a:pt x="591" y="705"/>
                  </a:lnTo>
                  <a:lnTo>
                    <a:pt x="592" y="710"/>
                  </a:lnTo>
                  <a:lnTo>
                    <a:pt x="594" y="714"/>
                  </a:lnTo>
                  <a:lnTo>
                    <a:pt x="594" y="718"/>
                  </a:lnTo>
                  <a:lnTo>
                    <a:pt x="597" y="722"/>
                  </a:lnTo>
                  <a:lnTo>
                    <a:pt x="599" y="724"/>
                  </a:lnTo>
                  <a:lnTo>
                    <a:pt x="600" y="724"/>
                  </a:lnTo>
                  <a:lnTo>
                    <a:pt x="602" y="725"/>
                  </a:lnTo>
                  <a:lnTo>
                    <a:pt x="604" y="727"/>
                  </a:lnTo>
                  <a:lnTo>
                    <a:pt x="605" y="727"/>
                  </a:lnTo>
                  <a:lnTo>
                    <a:pt x="607" y="729"/>
                  </a:lnTo>
                  <a:lnTo>
                    <a:pt x="610" y="729"/>
                  </a:lnTo>
                  <a:lnTo>
                    <a:pt x="611" y="729"/>
                  </a:lnTo>
                  <a:lnTo>
                    <a:pt x="618" y="729"/>
                  </a:lnTo>
                  <a:lnTo>
                    <a:pt x="622" y="727"/>
                  </a:lnTo>
                  <a:lnTo>
                    <a:pt x="624" y="727"/>
                  </a:lnTo>
                  <a:lnTo>
                    <a:pt x="627" y="727"/>
                  </a:lnTo>
                  <a:lnTo>
                    <a:pt x="632" y="725"/>
                  </a:lnTo>
                  <a:lnTo>
                    <a:pt x="635" y="724"/>
                  </a:lnTo>
                  <a:lnTo>
                    <a:pt x="638" y="724"/>
                  </a:lnTo>
                  <a:lnTo>
                    <a:pt x="643" y="724"/>
                  </a:lnTo>
                  <a:lnTo>
                    <a:pt x="648" y="724"/>
                  </a:lnTo>
                  <a:lnTo>
                    <a:pt x="649" y="724"/>
                  </a:lnTo>
                  <a:lnTo>
                    <a:pt x="651" y="722"/>
                  </a:lnTo>
                  <a:lnTo>
                    <a:pt x="652" y="721"/>
                  </a:lnTo>
                  <a:lnTo>
                    <a:pt x="652" y="718"/>
                  </a:lnTo>
                  <a:lnTo>
                    <a:pt x="656" y="716"/>
                  </a:lnTo>
                  <a:lnTo>
                    <a:pt x="657" y="714"/>
                  </a:lnTo>
                  <a:lnTo>
                    <a:pt x="660" y="714"/>
                  </a:lnTo>
                  <a:lnTo>
                    <a:pt x="664" y="713"/>
                  </a:lnTo>
                  <a:lnTo>
                    <a:pt x="665" y="711"/>
                  </a:lnTo>
                  <a:close/>
                  <a:moveTo>
                    <a:pt x="586" y="762"/>
                  </a:moveTo>
                  <a:lnTo>
                    <a:pt x="586" y="762"/>
                  </a:lnTo>
                  <a:lnTo>
                    <a:pt x="586" y="760"/>
                  </a:lnTo>
                  <a:lnTo>
                    <a:pt x="586" y="755"/>
                  </a:lnTo>
                  <a:lnTo>
                    <a:pt x="585" y="752"/>
                  </a:lnTo>
                  <a:lnTo>
                    <a:pt x="583" y="744"/>
                  </a:lnTo>
                  <a:lnTo>
                    <a:pt x="583" y="740"/>
                  </a:lnTo>
                  <a:lnTo>
                    <a:pt x="581" y="740"/>
                  </a:lnTo>
                  <a:lnTo>
                    <a:pt x="580" y="740"/>
                  </a:lnTo>
                  <a:lnTo>
                    <a:pt x="578" y="738"/>
                  </a:lnTo>
                  <a:lnTo>
                    <a:pt x="577" y="736"/>
                  </a:lnTo>
                  <a:lnTo>
                    <a:pt x="575" y="735"/>
                  </a:lnTo>
                  <a:lnTo>
                    <a:pt x="573" y="730"/>
                  </a:lnTo>
                  <a:lnTo>
                    <a:pt x="572" y="727"/>
                  </a:lnTo>
                  <a:lnTo>
                    <a:pt x="570" y="724"/>
                  </a:lnTo>
                  <a:lnTo>
                    <a:pt x="570" y="722"/>
                  </a:lnTo>
                  <a:lnTo>
                    <a:pt x="569" y="721"/>
                  </a:lnTo>
                  <a:lnTo>
                    <a:pt x="567" y="719"/>
                  </a:lnTo>
                  <a:lnTo>
                    <a:pt x="566" y="719"/>
                  </a:lnTo>
                  <a:lnTo>
                    <a:pt x="558" y="719"/>
                  </a:lnTo>
                  <a:lnTo>
                    <a:pt x="550" y="719"/>
                  </a:lnTo>
                  <a:lnTo>
                    <a:pt x="542" y="721"/>
                  </a:lnTo>
                  <a:lnTo>
                    <a:pt x="536" y="722"/>
                  </a:lnTo>
                  <a:lnTo>
                    <a:pt x="532" y="724"/>
                  </a:lnTo>
                  <a:lnTo>
                    <a:pt x="529" y="725"/>
                  </a:lnTo>
                  <a:lnTo>
                    <a:pt x="526" y="729"/>
                  </a:lnTo>
                  <a:lnTo>
                    <a:pt x="523" y="732"/>
                  </a:lnTo>
                  <a:lnTo>
                    <a:pt x="520" y="735"/>
                  </a:lnTo>
                  <a:lnTo>
                    <a:pt x="517" y="736"/>
                  </a:lnTo>
                  <a:lnTo>
                    <a:pt x="515" y="736"/>
                  </a:lnTo>
                  <a:lnTo>
                    <a:pt x="512" y="738"/>
                  </a:lnTo>
                  <a:lnTo>
                    <a:pt x="510" y="738"/>
                  </a:lnTo>
                  <a:lnTo>
                    <a:pt x="507" y="738"/>
                  </a:lnTo>
                  <a:lnTo>
                    <a:pt x="504" y="738"/>
                  </a:lnTo>
                  <a:lnTo>
                    <a:pt x="502" y="738"/>
                  </a:lnTo>
                  <a:lnTo>
                    <a:pt x="501" y="736"/>
                  </a:lnTo>
                  <a:lnTo>
                    <a:pt x="499" y="736"/>
                  </a:lnTo>
                  <a:lnTo>
                    <a:pt x="496" y="735"/>
                  </a:lnTo>
                  <a:lnTo>
                    <a:pt x="494" y="735"/>
                  </a:lnTo>
                  <a:lnTo>
                    <a:pt x="491" y="735"/>
                  </a:lnTo>
                  <a:lnTo>
                    <a:pt x="490" y="736"/>
                  </a:lnTo>
                  <a:lnTo>
                    <a:pt x="488" y="738"/>
                  </a:lnTo>
                  <a:lnTo>
                    <a:pt x="488" y="740"/>
                  </a:lnTo>
                  <a:lnTo>
                    <a:pt x="487" y="741"/>
                  </a:lnTo>
                  <a:lnTo>
                    <a:pt x="487" y="743"/>
                  </a:lnTo>
                  <a:lnTo>
                    <a:pt x="487" y="744"/>
                  </a:lnTo>
                  <a:lnTo>
                    <a:pt x="487" y="749"/>
                  </a:lnTo>
                  <a:lnTo>
                    <a:pt x="488" y="755"/>
                  </a:lnTo>
                  <a:lnTo>
                    <a:pt x="490" y="759"/>
                  </a:lnTo>
                  <a:lnTo>
                    <a:pt x="491" y="762"/>
                  </a:lnTo>
                  <a:lnTo>
                    <a:pt x="494" y="765"/>
                  </a:lnTo>
                  <a:lnTo>
                    <a:pt x="496" y="768"/>
                  </a:lnTo>
                  <a:lnTo>
                    <a:pt x="499" y="770"/>
                  </a:lnTo>
                  <a:lnTo>
                    <a:pt x="501" y="773"/>
                  </a:lnTo>
                  <a:lnTo>
                    <a:pt x="501" y="778"/>
                  </a:lnTo>
                  <a:lnTo>
                    <a:pt x="499" y="778"/>
                  </a:lnTo>
                  <a:lnTo>
                    <a:pt x="496" y="778"/>
                  </a:lnTo>
                  <a:lnTo>
                    <a:pt x="494" y="778"/>
                  </a:lnTo>
                  <a:lnTo>
                    <a:pt x="493" y="776"/>
                  </a:lnTo>
                  <a:lnTo>
                    <a:pt x="491" y="776"/>
                  </a:lnTo>
                  <a:lnTo>
                    <a:pt x="488" y="776"/>
                  </a:lnTo>
                  <a:lnTo>
                    <a:pt x="487" y="774"/>
                  </a:lnTo>
                  <a:lnTo>
                    <a:pt x="485" y="774"/>
                  </a:lnTo>
                  <a:lnTo>
                    <a:pt x="482" y="774"/>
                  </a:lnTo>
                  <a:lnTo>
                    <a:pt x="479" y="774"/>
                  </a:lnTo>
                  <a:lnTo>
                    <a:pt x="476" y="774"/>
                  </a:lnTo>
                  <a:lnTo>
                    <a:pt x="471" y="773"/>
                  </a:lnTo>
                  <a:lnTo>
                    <a:pt x="466" y="771"/>
                  </a:lnTo>
                  <a:lnTo>
                    <a:pt x="463" y="770"/>
                  </a:lnTo>
                  <a:lnTo>
                    <a:pt x="458" y="770"/>
                  </a:lnTo>
                  <a:lnTo>
                    <a:pt x="453" y="768"/>
                  </a:lnTo>
                  <a:lnTo>
                    <a:pt x="450" y="766"/>
                  </a:lnTo>
                  <a:lnTo>
                    <a:pt x="446" y="766"/>
                  </a:lnTo>
                  <a:lnTo>
                    <a:pt x="442" y="768"/>
                  </a:lnTo>
                  <a:lnTo>
                    <a:pt x="441" y="770"/>
                  </a:lnTo>
                  <a:lnTo>
                    <a:pt x="441" y="774"/>
                  </a:lnTo>
                  <a:lnTo>
                    <a:pt x="438" y="779"/>
                  </a:lnTo>
                  <a:lnTo>
                    <a:pt x="436" y="782"/>
                  </a:lnTo>
                  <a:lnTo>
                    <a:pt x="434" y="789"/>
                  </a:lnTo>
                  <a:lnTo>
                    <a:pt x="434" y="792"/>
                  </a:lnTo>
                  <a:lnTo>
                    <a:pt x="434" y="795"/>
                  </a:lnTo>
                  <a:lnTo>
                    <a:pt x="434" y="796"/>
                  </a:lnTo>
                  <a:lnTo>
                    <a:pt x="434" y="800"/>
                  </a:lnTo>
                  <a:lnTo>
                    <a:pt x="436" y="801"/>
                  </a:lnTo>
                  <a:lnTo>
                    <a:pt x="438" y="803"/>
                  </a:lnTo>
                  <a:lnTo>
                    <a:pt x="441" y="804"/>
                  </a:lnTo>
                  <a:lnTo>
                    <a:pt x="441" y="806"/>
                  </a:lnTo>
                  <a:lnTo>
                    <a:pt x="441" y="809"/>
                  </a:lnTo>
                  <a:lnTo>
                    <a:pt x="441" y="811"/>
                  </a:lnTo>
                  <a:lnTo>
                    <a:pt x="441" y="815"/>
                  </a:lnTo>
                  <a:lnTo>
                    <a:pt x="438" y="822"/>
                  </a:lnTo>
                  <a:lnTo>
                    <a:pt x="438" y="823"/>
                  </a:lnTo>
                  <a:lnTo>
                    <a:pt x="439" y="825"/>
                  </a:lnTo>
                  <a:lnTo>
                    <a:pt x="439" y="826"/>
                  </a:lnTo>
                  <a:lnTo>
                    <a:pt x="441" y="828"/>
                  </a:lnTo>
                  <a:lnTo>
                    <a:pt x="441" y="830"/>
                  </a:lnTo>
                  <a:lnTo>
                    <a:pt x="442" y="830"/>
                  </a:lnTo>
                  <a:lnTo>
                    <a:pt x="442" y="831"/>
                  </a:lnTo>
                  <a:lnTo>
                    <a:pt x="446" y="831"/>
                  </a:lnTo>
                  <a:lnTo>
                    <a:pt x="447" y="831"/>
                  </a:lnTo>
                  <a:lnTo>
                    <a:pt x="450" y="833"/>
                  </a:lnTo>
                  <a:lnTo>
                    <a:pt x="453" y="834"/>
                  </a:lnTo>
                  <a:lnTo>
                    <a:pt x="457" y="836"/>
                  </a:lnTo>
                  <a:lnTo>
                    <a:pt x="458" y="837"/>
                  </a:lnTo>
                  <a:lnTo>
                    <a:pt x="458" y="839"/>
                  </a:lnTo>
                  <a:lnTo>
                    <a:pt x="458" y="842"/>
                  </a:lnTo>
                  <a:lnTo>
                    <a:pt x="460" y="844"/>
                  </a:lnTo>
                  <a:lnTo>
                    <a:pt x="460" y="847"/>
                  </a:lnTo>
                  <a:lnTo>
                    <a:pt x="460" y="850"/>
                  </a:lnTo>
                  <a:lnTo>
                    <a:pt x="463" y="855"/>
                  </a:lnTo>
                  <a:lnTo>
                    <a:pt x="464" y="855"/>
                  </a:lnTo>
                  <a:lnTo>
                    <a:pt x="466" y="858"/>
                  </a:lnTo>
                  <a:lnTo>
                    <a:pt x="468" y="860"/>
                  </a:lnTo>
                  <a:lnTo>
                    <a:pt x="471" y="861"/>
                  </a:lnTo>
                  <a:lnTo>
                    <a:pt x="474" y="863"/>
                  </a:lnTo>
                  <a:lnTo>
                    <a:pt x="476" y="864"/>
                  </a:lnTo>
                  <a:lnTo>
                    <a:pt x="479" y="864"/>
                  </a:lnTo>
                  <a:lnTo>
                    <a:pt x="485" y="866"/>
                  </a:lnTo>
                  <a:lnTo>
                    <a:pt x="491" y="867"/>
                  </a:lnTo>
                  <a:lnTo>
                    <a:pt x="498" y="867"/>
                  </a:lnTo>
                  <a:lnTo>
                    <a:pt x="504" y="867"/>
                  </a:lnTo>
                  <a:lnTo>
                    <a:pt x="504" y="869"/>
                  </a:lnTo>
                  <a:lnTo>
                    <a:pt x="506" y="871"/>
                  </a:lnTo>
                  <a:lnTo>
                    <a:pt x="507" y="872"/>
                  </a:lnTo>
                  <a:lnTo>
                    <a:pt x="509" y="872"/>
                  </a:lnTo>
                  <a:lnTo>
                    <a:pt x="515" y="872"/>
                  </a:lnTo>
                  <a:lnTo>
                    <a:pt x="520" y="872"/>
                  </a:lnTo>
                  <a:lnTo>
                    <a:pt x="521" y="872"/>
                  </a:lnTo>
                  <a:lnTo>
                    <a:pt x="525" y="872"/>
                  </a:lnTo>
                  <a:lnTo>
                    <a:pt x="526" y="871"/>
                  </a:lnTo>
                  <a:lnTo>
                    <a:pt x="528" y="869"/>
                  </a:lnTo>
                  <a:lnTo>
                    <a:pt x="528" y="867"/>
                  </a:lnTo>
                  <a:lnTo>
                    <a:pt x="528" y="864"/>
                  </a:lnTo>
                  <a:lnTo>
                    <a:pt x="528" y="863"/>
                  </a:lnTo>
                  <a:lnTo>
                    <a:pt x="528" y="860"/>
                  </a:lnTo>
                  <a:lnTo>
                    <a:pt x="528" y="855"/>
                  </a:lnTo>
                  <a:lnTo>
                    <a:pt x="528" y="852"/>
                  </a:lnTo>
                  <a:lnTo>
                    <a:pt x="526" y="848"/>
                  </a:lnTo>
                  <a:lnTo>
                    <a:pt x="526" y="845"/>
                  </a:lnTo>
                  <a:lnTo>
                    <a:pt x="526" y="839"/>
                  </a:lnTo>
                  <a:lnTo>
                    <a:pt x="529" y="839"/>
                  </a:lnTo>
                  <a:lnTo>
                    <a:pt x="531" y="839"/>
                  </a:lnTo>
                  <a:lnTo>
                    <a:pt x="534" y="837"/>
                  </a:lnTo>
                  <a:lnTo>
                    <a:pt x="536" y="836"/>
                  </a:lnTo>
                  <a:lnTo>
                    <a:pt x="537" y="836"/>
                  </a:lnTo>
                  <a:lnTo>
                    <a:pt x="539" y="834"/>
                  </a:lnTo>
                  <a:lnTo>
                    <a:pt x="540" y="831"/>
                  </a:lnTo>
                  <a:lnTo>
                    <a:pt x="542" y="830"/>
                  </a:lnTo>
                  <a:lnTo>
                    <a:pt x="545" y="822"/>
                  </a:lnTo>
                  <a:lnTo>
                    <a:pt x="548" y="814"/>
                  </a:lnTo>
                  <a:lnTo>
                    <a:pt x="550" y="811"/>
                  </a:lnTo>
                  <a:lnTo>
                    <a:pt x="553" y="809"/>
                  </a:lnTo>
                  <a:lnTo>
                    <a:pt x="555" y="807"/>
                  </a:lnTo>
                  <a:lnTo>
                    <a:pt x="558" y="806"/>
                  </a:lnTo>
                  <a:lnTo>
                    <a:pt x="562" y="804"/>
                  </a:lnTo>
                  <a:lnTo>
                    <a:pt x="567" y="803"/>
                  </a:lnTo>
                  <a:lnTo>
                    <a:pt x="572" y="801"/>
                  </a:lnTo>
                  <a:lnTo>
                    <a:pt x="577" y="801"/>
                  </a:lnTo>
                  <a:lnTo>
                    <a:pt x="578" y="798"/>
                  </a:lnTo>
                  <a:lnTo>
                    <a:pt x="580" y="796"/>
                  </a:lnTo>
                  <a:lnTo>
                    <a:pt x="581" y="795"/>
                  </a:lnTo>
                  <a:lnTo>
                    <a:pt x="581" y="793"/>
                  </a:lnTo>
                  <a:lnTo>
                    <a:pt x="581" y="789"/>
                  </a:lnTo>
                  <a:lnTo>
                    <a:pt x="580" y="787"/>
                  </a:lnTo>
                  <a:lnTo>
                    <a:pt x="580" y="785"/>
                  </a:lnTo>
                  <a:lnTo>
                    <a:pt x="580" y="784"/>
                  </a:lnTo>
                  <a:lnTo>
                    <a:pt x="580" y="782"/>
                  </a:lnTo>
                  <a:lnTo>
                    <a:pt x="581" y="781"/>
                  </a:lnTo>
                  <a:lnTo>
                    <a:pt x="577" y="781"/>
                  </a:lnTo>
                  <a:lnTo>
                    <a:pt x="575" y="781"/>
                  </a:lnTo>
                  <a:lnTo>
                    <a:pt x="573" y="781"/>
                  </a:lnTo>
                  <a:lnTo>
                    <a:pt x="570" y="781"/>
                  </a:lnTo>
                  <a:lnTo>
                    <a:pt x="566" y="782"/>
                  </a:lnTo>
                  <a:lnTo>
                    <a:pt x="561" y="785"/>
                  </a:lnTo>
                  <a:lnTo>
                    <a:pt x="558" y="785"/>
                  </a:lnTo>
                  <a:lnTo>
                    <a:pt x="555" y="784"/>
                  </a:lnTo>
                  <a:lnTo>
                    <a:pt x="551" y="784"/>
                  </a:lnTo>
                  <a:lnTo>
                    <a:pt x="548" y="782"/>
                  </a:lnTo>
                  <a:lnTo>
                    <a:pt x="545" y="781"/>
                  </a:lnTo>
                  <a:lnTo>
                    <a:pt x="542" y="779"/>
                  </a:lnTo>
                  <a:lnTo>
                    <a:pt x="540" y="778"/>
                  </a:lnTo>
                  <a:lnTo>
                    <a:pt x="537" y="776"/>
                  </a:lnTo>
                  <a:lnTo>
                    <a:pt x="534" y="773"/>
                  </a:lnTo>
                  <a:lnTo>
                    <a:pt x="532" y="771"/>
                  </a:lnTo>
                  <a:lnTo>
                    <a:pt x="531" y="768"/>
                  </a:lnTo>
                  <a:lnTo>
                    <a:pt x="529" y="766"/>
                  </a:lnTo>
                  <a:lnTo>
                    <a:pt x="528" y="765"/>
                  </a:lnTo>
                  <a:lnTo>
                    <a:pt x="528" y="762"/>
                  </a:lnTo>
                  <a:lnTo>
                    <a:pt x="526" y="760"/>
                  </a:lnTo>
                  <a:lnTo>
                    <a:pt x="526" y="757"/>
                  </a:lnTo>
                  <a:lnTo>
                    <a:pt x="526" y="752"/>
                  </a:lnTo>
                  <a:lnTo>
                    <a:pt x="526" y="749"/>
                  </a:lnTo>
                  <a:lnTo>
                    <a:pt x="526" y="748"/>
                  </a:lnTo>
                  <a:lnTo>
                    <a:pt x="526" y="744"/>
                  </a:lnTo>
                  <a:lnTo>
                    <a:pt x="532" y="744"/>
                  </a:lnTo>
                  <a:lnTo>
                    <a:pt x="536" y="744"/>
                  </a:lnTo>
                  <a:lnTo>
                    <a:pt x="537" y="749"/>
                  </a:lnTo>
                  <a:lnTo>
                    <a:pt x="537" y="755"/>
                  </a:lnTo>
                  <a:lnTo>
                    <a:pt x="540" y="760"/>
                  </a:lnTo>
                  <a:lnTo>
                    <a:pt x="542" y="765"/>
                  </a:lnTo>
                  <a:lnTo>
                    <a:pt x="545" y="768"/>
                  </a:lnTo>
                  <a:lnTo>
                    <a:pt x="547" y="770"/>
                  </a:lnTo>
                  <a:lnTo>
                    <a:pt x="548" y="771"/>
                  </a:lnTo>
                  <a:lnTo>
                    <a:pt x="550" y="773"/>
                  </a:lnTo>
                  <a:lnTo>
                    <a:pt x="553" y="774"/>
                  </a:lnTo>
                  <a:lnTo>
                    <a:pt x="555" y="776"/>
                  </a:lnTo>
                  <a:lnTo>
                    <a:pt x="558" y="776"/>
                  </a:lnTo>
                  <a:lnTo>
                    <a:pt x="561" y="776"/>
                  </a:lnTo>
                  <a:lnTo>
                    <a:pt x="566" y="776"/>
                  </a:lnTo>
                  <a:lnTo>
                    <a:pt x="569" y="776"/>
                  </a:lnTo>
                  <a:lnTo>
                    <a:pt x="573" y="774"/>
                  </a:lnTo>
                  <a:lnTo>
                    <a:pt x="577" y="773"/>
                  </a:lnTo>
                  <a:lnTo>
                    <a:pt x="580" y="770"/>
                  </a:lnTo>
                  <a:lnTo>
                    <a:pt x="581" y="768"/>
                  </a:lnTo>
                  <a:lnTo>
                    <a:pt x="583" y="765"/>
                  </a:lnTo>
                  <a:lnTo>
                    <a:pt x="586" y="762"/>
                  </a:lnTo>
                  <a:close/>
                  <a:moveTo>
                    <a:pt x="1202" y="692"/>
                  </a:moveTo>
                  <a:lnTo>
                    <a:pt x="1201" y="691"/>
                  </a:lnTo>
                  <a:lnTo>
                    <a:pt x="1202" y="691"/>
                  </a:lnTo>
                  <a:lnTo>
                    <a:pt x="1204" y="692"/>
                  </a:lnTo>
                  <a:lnTo>
                    <a:pt x="1202" y="692"/>
                  </a:lnTo>
                  <a:close/>
                  <a:moveTo>
                    <a:pt x="433" y="848"/>
                  </a:moveTo>
                  <a:lnTo>
                    <a:pt x="433" y="847"/>
                  </a:lnTo>
                  <a:lnTo>
                    <a:pt x="431" y="842"/>
                  </a:lnTo>
                  <a:lnTo>
                    <a:pt x="430" y="842"/>
                  </a:lnTo>
                  <a:lnTo>
                    <a:pt x="430" y="839"/>
                  </a:lnTo>
                  <a:lnTo>
                    <a:pt x="427" y="839"/>
                  </a:lnTo>
                  <a:lnTo>
                    <a:pt x="425" y="837"/>
                  </a:lnTo>
                  <a:lnTo>
                    <a:pt x="420" y="834"/>
                  </a:lnTo>
                  <a:lnTo>
                    <a:pt x="414" y="834"/>
                  </a:lnTo>
                  <a:lnTo>
                    <a:pt x="414" y="836"/>
                  </a:lnTo>
                  <a:lnTo>
                    <a:pt x="414" y="839"/>
                  </a:lnTo>
                  <a:lnTo>
                    <a:pt x="416" y="842"/>
                  </a:lnTo>
                  <a:lnTo>
                    <a:pt x="417" y="847"/>
                  </a:lnTo>
                  <a:lnTo>
                    <a:pt x="420" y="850"/>
                  </a:lnTo>
                  <a:lnTo>
                    <a:pt x="422" y="855"/>
                  </a:lnTo>
                  <a:lnTo>
                    <a:pt x="425" y="860"/>
                  </a:lnTo>
                  <a:lnTo>
                    <a:pt x="427" y="864"/>
                  </a:lnTo>
                  <a:lnTo>
                    <a:pt x="430" y="866"/>
                  </a:lnTo>
                  <a:lnTo>
                    <a:pt x="430" y="867"/>
                  </a:lnTo>
                  <a:lnTo>
                    <a:pt x="431" y="867"/>
                  </a:lnTo>
                  <a:lnTo>
                    <a:pt x="433" y="867"/>
                  </a:lnTo>
                  <a:lnTo>
                    <a:pt x="434" y="867"/>
                  </a:lnTo>
                  <a:lnTo>
                    <a:pt x="436" y="866"/>
                  </a:lnTo>
                  <a:lnTo>
                    <a:pt x="436" y="864"/>
                  </a:lnTo>
                  <a:lnTo>
                    <a:pt x="438" y="863"/>
                  </a:lnTo>
                  <a:lnTo>
                    <a:pt x="438" y="860"/>
                  </a:lnTo>
                  <a:lnTo>
                    <a:pt x="438" y="858"/>
                  </a:lnTo>
                  <a:lnTo>
                    <a:pt x="436" y="853"/>
                  </a:lnTo>
                  <a:lnTo>
                    <a:pt x="434" y="852"/>
                  </a:lnTo>
                  <a:lnTo>
                    <a:pt x="434" y="850"/>
                  </a:lnTo>
                  <a:lnTo>
                    <a:pt x="434" y="848"/>
                  </a:lnTo>
                  <a:lnTo>
                    <a:pt x="433" y="848"/>
                  </a:lnTo>
                  <a:close/>
                  <a:moveTo>
                    <a:pt x="585" y="867"/>
                  </a:moveTo>
                  <a:lnTo>
                    <a:pt x="580" y="867"/>
                  </a:lnTo>
                  <a:lnTo>
                    <a:pt x="575" y="867"/>
                  </a:lnTo>
                  <a:lnTo>
                    <a:pt x="573" y="869"/>
                  </a:lnTo>
                  <a:lnTo>
                    <a:pt x="572" y="869"/>
                  </a:lnTo>
                  <a:lnTo>
                    <a:pt x="570" y="871"/>
                  </a:lnTo>
                  <a:lnTo>
                    <a:pt x="570" y="872"/>
                  </a:lnTo>
                  <a:lnTo>
                    <a:pt x="570" y="875"/>
                  </a:lnTo>
                  <a:lnTo>
                    <a:pt x="572" y="878"/>
                  </a:lnTo>
                  <a:lnTo>
                    <a:pt x="573" y="883"/>
                  </a:lnTo>
                  <a:lnTo>
                    <a:pt x="573" y="885"/>
                  </a:lnTo>
                  <a:lnTo>
                    <a:pt x="575" y="888"/>
                  </a:lnTo>
                  <a:lnTo>
                    <a:pt x="578" y="891"/>
                  </a:lnTo>
                  <a:lnTo>
                    <a:pt x="580" y="893"/>
                  </a:lnTo>
                  <a:lnTo>
                    <a:pt x="581" y="893"/>
                  </a:lnTo>
                  <a:lnTo>
                    <a:pt x="583" y="893"/>
                  </a:lnTo>
                  <a:lnTo>
                    <a:pt x="585" y="893"/>
                  </a:lnTo>
                  <a:lnTo>
                    <a:pt x="586" y="893"/>
                  </a:lnTo>
                  <a:lnTo>
                    <a:pt x="586" y="891"/>
                  </a:lnTo>
                  <a:lnTo>
                    <a:pt x="588" y="889"/>
                  </a:lnTo>
                  <a:lnTo>
                    <a:pt x="589" y="886"/>
                  </a:lnTo>
                  <a:lnTo>
                    <a:pt x="589" y="885"/>
                  </a:lnTo>
                  <a:lnTo>
                    <a:pt x="589" y="880"/>
                  </a:lnTo>
                  <a:lnTo>
                    <a:pt x="588" y="877"/>
                  </a:lnTo>
                  <a:lnTo>
                    <a:pt x="586" y="875"/>
                  </a:lnTo>
                  <a:lnTo>
                    <a:pt x="585" y="872"/>
                  </a:lnTo>
                  <a:lnTo>
                    <a:pt x="585" y="867"/>
                  </a:lnTo>
                  <a:close/>
                  <a:moveTo>
                    <a:pt x="1743" y="2169"/>
                  </a:moveTo>
                  <a:lnTo>
                    <a:pt x="1738" y="2164"/>
                  </a:lnTo>
                  <a:lnTo>
                    <a:pt x="1736" y="2159"/>
                  </a:lnTo>
                  <a:lnTo>
                    <a:pt x="1733" y="2154"/>
                  </a:lnTo>
                  <a:lnTo>
                    <a:pt x="1730" y="2150"/>
                  </a:lnTo>
                  <a:lnTo>
                    <a:pt x="1728" y="2147"/>
                  </a:lnTo>
                  <a:lnTo>
                    <a:pt x="1727" y="2142"/>
                  </a:lnTo>
                  <a:lnTo>
                    <a:pt x="1724" y="2137"/>
                  </a:lnTo>
                  <a:lnTo>
                    <a:pt x="1721" y="2131"/>
                  </a:lnTo>
                  <a:lnTo>
                    <a:pt x="1719" y="2128"/>
                  </a:lnTo>
                  <a:lnTo>
                    <a:pt x="1717" y="2125"/>
                  </a:lnTo>
                  <a:lnTo>
                    <a:pt x="1717" y="2121"/>
                  </a:lnTo>
                  <a:lnTo>
                    <a:pt x="1714" y="2118"/>
                  </a:lnTo>
                  <a:lnTo>
                    <a:pt x="1709" y="2110"/>
                  </a:lnTo>
                  <a:lnTo>
                    <a:pt x="1705" y="2106"/>
                  </a:lnTo>
                  <a:lnTo>
                    <a:pt x="1700" y="2098"/>
                  </a:lnTo>
                  <a:lnTo>
                    <a:pt x="1695" y="2093"/>
                  </a:lnTo>
                  <a:lnTo>
                    <a:pt x="1689" y="2087"/>
                  </a:lnTo>
                  <a:lnTo>
                    <a:pt x="1684" y="2082"/>
                  </a:lnTo>
                  <a:lnTo>
                    <a:pt x="1678" y="2077"/>
                  </a:lnTo>
                  <a:lnTo>
                    <a:pt x="1675" y="2072"/>
                  </a:lnTo>
                  <a:lnTo>
                    <a:pt x="1670" y="2069"/>
                  </a:lnTo>
                  <a:lnTo>
                    <a:pt x="1668" y="2066"/>
                  </a:lnTo>
                  <a:lnTo>
                    <a:pt x="1667" y="2065"/>
                  </a:lnTo>
                  <a:lnTo>
                    <a:pt x="1667" y="2063"/>
                  </a:lnTo>
                  <a:lnTo>
                    <a:pt x="1668" y="2061"/>
                  </a:lnTo>
                  <a:lnTo>
                    <a:pt x="1672" y="2060"/>
                  </a:lnTo>
                  <a:lnTo>
                    <a:pt x="1673" y="2060"/>
                  </a:lnTo>
                  <a:lnTo>
                    <a:pt x="1679" y="2060"/>
                  </a:lnTo>
                  <a:lnTo>
                    <a:pt x="1686" y="2060"/>
                  </a:lnTo>
                  <a:lnTo>
                    <a:pt x="1687" y="2060"/>
                  </a:lnTo>
                  <a:lnTo>
                    <a:pt x="1689" y="2060"/>
                  </a:lnTo>
                  <a:lnTo>
                    <a:pt x="1691" y="2058"/>
                  </a:lnTo>
                  <a:lnTo>
                    <a:pt x="1692" y="2057"/>
                  </a:lnTo>
                  <a:lnTo>
                    <a:pt x="1694" y="2057"/>
                  </a:lnTo>
                  <a:lnTo>
                    <a:pt x="1694" y="2055"/>
                  </a:lnTo>
                  <a:lnTo>
                    <a:pt x="1695" y="2055"/>
                  </a:lnTo>
                  <a:lnTo>
                    <a:pt x="1695" y="2052"/>
                  </a:lnTo>
                  <a:lnTo>
                    <a:pt x="1695" y="2050"/>
                  </a:lnTo>
                  <a:lnTo>
                    <a:pt x="1694" y="2047"/>
                  </a:lnTo>
                  <a:lnTo>
                    <a:pt x="1692" y="2041"/>
                  </a:lnTo>
                  <a:lnTo>
                    <a:pt x="1689" y="2033"/>
                  </a:lnTo>
                  <a:lnTo>
                    <a:pt x="1687" y="2030"/>
                  </a:lnTo>
                  <a:lnTo>
                    <a:pt x="1687" y="2025"/>
                  </a:lnTo>
                  <a:lnTo>
                    <a:pt x="1686" y="2022"/>
                  </a:lnTo>
                  <a:lnTo>
                    <a:pt x="1687" y="2017"/>
                  </a:lnTo>
                  <a:lnTo>
                    <a:pt x="1698" y="2022"/>
                  </a:lnTo>
                  <a:lnTo>
                    <a:pt x="1708" y="2027"/>
                  </a:lnTo>
                  <a:lnTo>
                    <a:pt x="1717" y="2033"/>
                  </a:lnTo>
                  <a:lnTo>
                    <a:pt x="1725" y="2038"/>
                  </a:lnTo>
                  <a:lnTo>
                    <a:pt x="1733" y="2043"/>
                  </a:lnTo>
                  <a:lnTo>
                    <a:pt x="1741" y="2047"/>
                  </a:lnTo>
                  <a:lnTo>
                    <a:pt x="1746" y="2054"/>
                  </a:lnTo>
                  <a:lnTo>
                    <a:pt x="1752" y="2060"/>
                  </a:lnTo>
                  <a:lnTo>
                    <a:pt x="1763" y="2072"/>
                  </a:lnTo>
                  <a:lnTo>
                    <a:pt x="1774" y="2087"/>
                  </a:lnTo>
                  <a:lnTo>
                    <a:pt x="1787" y="2104"/>
                  </a:lnTo>
                  <a:lnTo>
                    <a:pt x="1804" y="2121"/>
                  </a:lnTo>
                  <a:lnTo>
                    <a:pt x="1811" y="2129"/>
                  </a:lnTo>
                  <a:lnTo>
                    <a:pt x="1817" y="2134"/>
                  </a:lnTo>
                  <a:lnTo>
                    <a:pt x="1825" y="2142"/>
                  </a:lnTo>
                  <a:lnTo>
                    <a:pt x="1833" y="2147"/>
                  </a:lnTo>
                  <a:lnTo>
                    <a:pt x="1841" y="2153"/>
                  </a:lnTo>
                  <a:lnTo>
                    <a:pt x="1850" y="2159"/>
                  </a:lnTo>
                  <a:lnTo>
                    <a:pt x="1858" y="2164"/>
                  </a:lnTo>
                  <a:lnTo>
                    <a:pt x="1867" y="2170"/>
                  </a:lnTo>
                  <a:lnTo>
                    <a:pt x="1877" y="2175"/>
                  </a:lnTo>
                  <a:lnTo>
                    <a:pt x="1886" y="2180"/>
                  </a:lnTo>
                  <a:lnTo>
                    <a:pt x="1896" y="2184"/>
                  </a:lnTo>
                  <a:lnTo>
                    <a:pt x="1905" y="2189"/>
                  </a:lnTo>
                  <a:lnTo>
                    <a:pt x="1926" y="2197"/>
                  </a:lnTo>
                  <a:lnTo>
                    <a:pt x="1943" y="2205"/>
                  </a:lnTo>
                  <a:lnTo>
                    <a:pt x="1950" y="2208"/>
                  </a:lnTo>
                  <a:lnTo>
                    <a:pt x="1954" y="2211"/>
                  </a:lnTo>
                  <a:lnTo>
                    <a:pt x="1959" y="2213"/>
                  </a:lnTo>
                  <a:lnTo>
                    <a:pt x="1964" y="2216"/>
                  </a:lnTo>
                  <a:lnTo>
                    <a:pt x="1970" y="2221"/>
                  </a:lnTo>
                  <a:lnTo>
                    <a:pt x="1978" y="2227"/>
                  </a:lnTo>
                  <a:lnTo>
                    <a:pt x="1986" y="2233"/>
                  </a:lnTo>
                  <a:lnTo>
                    <a:pt x="1995" y="2238"/>
                  </a:lnTo>
                  <a:lnTo>
                    <a:pt x="2000" y="2241"/>
                  </a:lnTo>
                  <a:lnTo>
                    <a:pt x="2007" y="2246"/>
                  </a:lnTo>
                  <a:lnTo>
                    <a:pt x="2014" y="2249"/>
                  </a:lnTo>
                  <a:lnTo>
                    <a:pt x="2022" y="2252"/>
                  </a:lnTo>
                  <a:lnTo>
                    <a:pt x="2019" y="2254"/>
                  </a:lnTo>
                  <a:lnTo>
                    <a:pt x="2016" y="2254"/>
                  </a:lnTo>
                  <a:lnTo>
                    <a:pt x="2013" y="2254"/>
                  </a:lnTo>
                  <a:lnTo>
                    <a:pt x="2010" y="2254"/>
                  </a:lnTo>
                  <a:lnTo>
                    <a:pt x="2003" y="2254"/>
                  </a:lnTo>
                  <a:lnTo>
                    <a:pt x="1997" y="2252"/>
                  </a:lnTo>
                  <a:lnTo>
                    <a:pt x="1984" y="2249"/>
                  </a:lnTo>
                  <a:lnTo>
                    <a:pt x="1970" y="2244"/>
                  </a:lnTo>
                  <a:lnTo>
                    <a:pt x="1964" y="2241"/>
                  </a:lnTo>
                  <a:lnTo>
                    <a:pt x="1959" y="2241"/>
                  </a:lnTo>
                  <a:lnTo>
                    <a:pt x="1954" y="2240"/>
                  </a:lnTo>
                  <a:lnTo>
                    <a:pt x="1950" y="2240"/>
                  </a:lnTo>
                  <a:lnTo>
                    <a:pt x="1948" y="2240"/>
                  </a:lnTo>
                  <a:lnTo>
                    <a:pt x="1946" y="2241"/>
                  </a:lnTo>
                  <a:lnTo>
                    <a:pt x="1943" y="2241"/>
                  </a:lnTo>
                  <a:lnTo>
                    <a:pt x="1942" y="2243"/>
                  </a:lnTo>
                  <a:lnTo>
                    <a:pt x="1940" y="2244"/>
                  </a:lnTo>
                  <a:lnTo>
                    <a:pt x="1939" y="2246"/>
                  </a:lnTo>
                  <a:lnTo>
                    <a:pt x="1939" y="2248"/>
                  </a:lnTo>
                  <a:lnTo>
                    <a:pt x="1937" y="2251"/>
                  </a:lnTo>
                  <a:lnTo>
                    <a:pt x="1935" y="2292"/>
                  </a:lnTo>
                  <a:lnTo>
                    <a:pt x="1939" y="2295"/>
                  </a:lnTo>
                  <a:lnTo>
                    <a:pt x="1940" y="2298"/>
                  </a:lnTo>
                  <a:lnTo>
                    <a:pt x="1943" y="2303"/>
                  </a:lnTo>
                  <a:lnTo>
                    <a:pt x="1946" y="2306"/>
                  </a:lnTo>
                  <a:lnTo>
                    <a:pt x="1948" y="2314"/>
                  </a:lnTo>
                  <a:lnTo>
                    <a:pt x="1951" y="2322"/>
                  </a:lnTo>
                  <a:lnTo>
                    <a:pt x="1954" y="2330"/>
                  </a:lnTo>
                  <a:lnTo>
                    <a:pt x="1958" y="2337"/>
                  </a:lnTo>
                  <a:lnTo>
                    <a:pt x="1959" y="2341"/>
                  </a:lnTo>
                  <a:lnTo>
                    <a:pt x="1961" y="2344"/>
                  </a:lnTo>
                  <a:lnTo>
                    <a:pt x="1964" y="2347"/>
                  </a:lnTo>
                  <a:lnTo>
                    <a:pt x="1967" y="2350"/>
                  </a:lnTo>
                  <a:lnTo>
                    <a:pt x="1970" y="2356"/>
                  </a:lnTo>
                  <a:lnTo>
                    <a:pt x="1973" y="2361"/>
                  </a:lnTo>
                  <a:lnTo>
                    <a:pt x="1976" y="2364"/>
                  </a:lnTo>
                  <a:lnTo>
                    <a:pt x="1981" y="2369"/>
                  </a:lnTo>
                  <a:lnTo>
                    <a:pt x="1984" y="2374"/>
                  </a:lnTo>
                  <a:lnTo>
                    <a:pt x="1989" y="2375"/>
                  </a:lnTo>
                  <a:lnTo>
                    <a:pt x="1994" y="2378"/>
                  </a:lnTo>
                  <a:lnTo>
                    <a:pt x="1999" y="2382"/>
                  </a:lnTo>
                  <a:lnTo>
                    <a:pt x="2005" y="2383"/>
                  </a:lnTo>
                  <a:lnTo>
                    <a:pt x="2010" y="2385"/>
                  </a:lnTo>
                  <a:lnTo>
                    <a:pt x="2014" y="2386"/>
                  </a:lnTo>
                  <a:lnTo>
                    <a:pt x="2021" y="2388"/>
                  </a:lnTo>
                  <a:lnTo>
                    <a:pt x="2030" y="2391"/>
                  </a:lnTo>
                  <a:lnTo>
                    <a:pt x="2043" y="2393"/>
                  </a:lnTo>
                  <a:lnTo>
                    <a:pt x="2054" y="2394"/>
                  </a:lnTo>
                  <a:lnTo>
                    <a:pt x="2063" y="2397"/>
                  </a:lnTo>
                  <a:lnTo>
                    <a:pt x="2068" y="2397"/>
                  </a:lnTo>
                  <a:lnTo>
                    <a:pt x="2074" y="2399"/>
                  </a:lnTo>
                  <a:lnTo>
                    <a:pt x="2079" y="2402"/>
                  </a:lnTo>
                  <a:lnTo>
                    <a:pt x="2084" y="2404"/>
                  </a:lnTo>
                  <a:lnTo>
                    <a:pt x="2089" y="2405"/>
                  </a:lnTo>
                  <a:lnTo>
                    <a:pt x="2092" y="2408"/>
                  </a:lnTo>
                  <a:lnTo>
                    <a:pt x="2097" y="2412"/>
                  </a:lnTo>
                  <a:lnTo>
                    <a:pt x="2100" y="2415"/>
                  </a:lnTo>
                  <a:lnTo>
                    <a:pt x="2103" y="2419"/>
                  </a:lnTo>
                  <a:lnTo>
                    <a:pt x="2106" y="2423"/>
                  </a:lnTo>
                  <a:lnTo>
                    <a:pt x="2109" y="2427"/>
                  </a:lnTo>
                  <a:lnTo>
                    <a:pt x="2109" y="2434"/>
                  </a:lnTo>
                  <a:lnTo>
                    <a:pt x="2103" y="2432"/>
                  </a:lnTo>
                  <a:lnTo>
                    <a:pt x="2097" y="2429"/>
                  </a:lnTo>
                  <a:lnTo>
                    <a:pt x="2092" y="2427"/>
                  </a:lnTo>
                  <a:lnTo>
                    <a:pt x="2089" y="2424"/>
                  </a:lnTo>
                  <a:lnTo>
                    <a:pt x="2084" y="2423"/>
                  </a:lnTo>
                  <a:lnTo>
                    <a:pt x="2081" y="2419"/>
                  </a:lnTo>
                  <a:lnTo>
                    <a:pt x="2076" y="2419"/>
                  </a:lnTo>
                  <a:lnTo>
                    <a:pt x="2071" y="2419"/>
                  </a:lnTo>
                  <a:lnTo>
                    <a:pt x="2067" y="2419"/>
                  </a:lnTo>
                  <a:lnTo>
                    <a:pt x="2062" y="2419"/>
                  </a:lnTo>
                  <a:lnTo>
                    <a:pt x="2059" y="2423"/>
                  </a:lnTo>
                  <a:lnTo>
                    <a:pt x="2055" y="2424"/>
                  </a:lnTo>
                  <a:lnTo>
                    <a:pt x="2051" y="2426"/>
                  </a:lnTo>
                  <a:lnTo>
                    <a:pt x="2048" y="2429"/>
                  </a:lnTo>
                  <a:lnTo>
                    <a:pt x="2046" y="2432"/>
                  </a:lnTo>
                  <a:lnTo>
                    <a:pt x="2041" y="2435"/>
                  </a:lnTo>
                  <a:lnTo>
                    <a:pt x="2040" y="2437"/>
                  </a:lnTo>
                  <a:lnTo>
                    <a:pt x="2040" y="2438"/>
                  </a:lnTo>
                  <a:lnTo>
                    <a:pt x="2040" y="2440"/>
                  </a:lnTo>
                  <a:lnTo>
                    <a:pt x="2040" y="2443"/>
                  </a:lnTo>
                  <a:lnTo>
                    <a:pt x="2041" y="2446"/>
                  </a:lnTo>
                  <a:lnTo>
                    <a:pt x="2044" y="2454"/>
                  </a:lnTo>
                  <a:lnTo>
                    <a:pt x="2049" y="2464"/>
                  </a:lnTo>
                  <a:lnTo>
                    <a:pt x="2054" y="2473"/>
                  </a:lnTo>
                  <a:lnTo>
                    <a:pt x="2059" y="2481"/>
                  </a:lnTo>
                  <a:lnTo>
                    <a:pt x="2060" y="2486"/>
                  </a:lnTo>
                  <a:lnTo>
                    <a:pt x="2062" y="2492"/>
                  </a:lnTo>
                  <a:lnTo>
                    <a:pt x="2063" y="2495"/>
                  </a:lnTo>
                  <a:lnTo>
                    <a:pt x="2063" y="2500"/>
                  </a:lnTo>
                  <a:lnTo>
                    <a:pt x="2057" y="2495"/>
                  </a:lnTo>
                  <a:lnTo>
                    <a:pt x="2051" y="2492"/>
                  </a:lnTo>
                  <a:lnTo>
                    <a:pt x="2044" y="2486"/>
                  </a:lnTo>
                  <a:lnTo>
                    <a:pt x="2038" y="2483"/>
                  </a:lnTo>
                  <a:lnTo>
                    <a:pt x="2033" y="2478"/>
                  </a:lnTo>
                  <a:lnTo>
                    <a:pt x="2029" y="2473"/>
                  </a:lnTo>
                  <a:lnTo>
                    <a:pt x="2022" y="2468"/>
                  </a:lnTo>
                  <a:lnTo>
                    <a:pt x="2019" y="2462"/>
                  </a:lnTo>
                  <a:lnTo>
                    <a:pt x="2010" y="2451"/>
                  </a:lnTo>
                  <a:lnTo>
                    <a:pt x="2002" y="2440"/>
                  </a:lnTo>
                  <a:lnTo>
                    <a:pt x="1994" y="2429"/>
                  </a:lnTo>
                  <a:lnTo>
                    <a:pt x="1986" y="2418"/>
                  </a:lnTo>
                  <a:lnTo>
                    <a:pt x="1980" y="2405"/>
                  </a:lnTo>
                  <a:lnTo>
                    <a:pt x="1972" y="2394"/>
                  </a:lnTo>
                  <a:lnTo>
                    <a:pt x="1969" y="2390"/>
                  </a:lnTo>
                  <a:lnTo>
                    <a:pt x="1964" y="2385"/>
                  </a:lnTo>
                  <a:lnTo>
                    <a:pt x="1959" y="2378"/>
                  </a:lnTo>
                  <a:lnTo>
                    <a:pt x="1954" y="2374"/>
                  </a:lnTo>
                  <a:lnTo>
                    <a:pt x="1950" y="2369"/>
                  </a:lnTo>
                  <a:lnTo>
                    <a:pt x="1945" y="2364"/>
                  </a:lnTo>
                  <a:lnTo>
                    <a:pt x="1940" y="2360"/>
                  </a:lnTo>
                  <a:lnTo>
                    <a:pt x="1934" y="2356"/>
                  </a:lnTo>
                  <a:lnTo>
                    <a:pt x="1928" y="2352"/>
                  </a:lnTo>
                  <a:lnTo>
                    <a:pt x="1923" y="2349"/>
                  </a:lnTo>
                  <a:lnTo>
                    <a:pt x="1915" y="2345"/>
                  </a:lnTo>
                  <a:lnTo>
                    <a:pt x="1909" y="2342"/>
                  </a:lnTo>
                  <a:lnTo>
                    <a:pt x="1904" y="2328"/>
                  </a:lnTo>
                  <a:lnTo>
                    <a:pt x="1896" y="2315"/>
                  </a:lnTo>
                  <a:lnTo>
                    <a:pt x="1890" y="2301"/>
                  </a:lnTo>
                  <a:lnTo>
                    <a:pt x="1880" y="2287"/>
                  </a:lnTo>
                  <a:lnTo>
                    <a:pt x="1872" y="2273"/>
                  </a:lnTo>
                  <a:lnTo>
                    <a:pt x="1861" y="2259"/>
                  </a:lnTo>
                  <a:lnTo>
                    <a:pt x="1852" y="2244"/>
                  </a:lnTo>
                  <a:lnTo>
                    <a:pt x="1841" y="2232"/>
                  </a:lnTo>
                  <a:lnTo>
                    <a:pt x="1830" y="2219"/>
                  </a:lnTo>
                  <a:lnTo>
                    <a:pt x="1817" y="2208"/>
                  </a:lnTo>
                  <a:lnTo>
                    <a:pt x="1812" y="2203"/>
                  </a:lnTo>
                  <a:lnTo>
                    <a:pt x="1806" y="2197"/>
                  </a:lnTo>
                  <a:lnTo>
                    <a:pt x="1801" y="2192"/>
                  </a:lnTo>
                  <a:lnTo>
                    <a:pt x="1795" y="2188"/>
                  </a:lnTo>
                  <a:lnTo>
                    <a:pt x="1790" y="2184"/>
                  </a:lnTo>
                  <a:lnTo>
                    <a:pt x="1784" y="2180"/>
                  </a:lnTo>
                  <a:lnTo>
                    <a:pt x="1779" y="2178"/>
                  </a:lnTo>
                  <a:lnTo>
                    <a:pt x="1773" y="2175"/>
                  </a:lnTo>
                  <a:lnTo>
                    <a:pt x="1768" y="2172"/>
                  </a:lnTo>
                  <a:lnTo>
                    <a:pt x="1762" y="2170"/>
                  </a:lnTo>
                  <a:lnTo>
                    <a:pt x="1757" y="2170"/>
                  </a:lnTo>
                  <a:lnTo>
                    <a:pt x="1752" y="2169"/>
                  </a:lnTo>
                  <a:lnTo>
                    <a:pt x="1743" y="2169"/>
                  </a:lnTo>
                  <a:close/>
                  <a:moveTo>
                    <a:pt x="1923" y="1074"/>
                  </a:moveTo>
                  <a:lnTo>
                    <a:pt x="1918" y="1052"/>
                  </a:lnTo>
                  <a:lnTo>
                    <a:pt x="1918" y="1050"/>
                  </a:lnTo>
                  <a:lnTo>
                    <a:pt x="1916" y="1050"/>
                  </a:lnTo>
                  <a:lnTo>
                    <a:pt x="1916" y="1049"/>
                  </a:lnTo>
                  <a:lnTo>
                    <a:pt x="1916" y="1046"/>
                  </a:lnTo>
                  <a:lnTo>
                    <a:pt x="1916" y="1044"/>
                  </a:lnTo>
                  <a:lnTo>
                    <a:pt x="1918" y="1041"/>
                  </a:lnTo>
                  <a:lnTo>
                    <a:pt x="1920" y="1041"/>
                  </a:lnTo>
                  <a:lnTo>
                    <a:pt x="1920" y="1038"/>
                  </a:lnTo>
                  <a:lnTo>
                    <a:pt x="1923" y="1038"/>
                  </a:lnTo>
                  <a:lnTo>
                    <a:pt x="1937" y="1046"/>
                  </a:lnTo>
                  <a:lnTo>
                    <a:pt x="1937" y="1050"/>
                  </a:lnTo>
                  <a:lnTo>
                    <a:pt x="1937" y="1055"/>
                  </a:lnTo>
                  <a:lnTo>
                    <a:pt x="1937" y="1060"/>
                  </a:lnTo>
                  <a:lnTo>
                    <a:pt x="1937" y="1065"/>
                  </a:lnTo>
                  <a:lnTo>
                    <a:pt x="1939" y="1068"/>
                  </a:lnTo>
                  <a:lnTo>
                    <a:pt x="1939" y="1074"/>
                  </a:lnTo>
                  <a:lnTo>
                    <a:pt x="1940" y="1079"/>
                  </a:lnTo>
                  <a:lnTo>
                    <a:pt x="1940" y="1084"/>
                  </a:lnTo>
                  <a:lnTo>
                    <a:pt x="1942" y="1090"/>
                  </a:lnTo>
                  <a:lnTo>
                    <a:pt x="1943" y="1095"/>
                  </a:lnTo>
                  <a:lnTo>
                    <a:pt x="1943" y="1099"/>
                  </a:lnTo>
                  <a:lnTo>
                    <a:pt x="1943" y="1102"/>
                  </a:lnTo>
                  <a:lnTo>
                    <a:pt x="1940" y="1102"/>
                  </a:lnTo>
                  <a:lnTo>
                    <a:pt x="1940" y="1099"/>
                  </a:lnTo>
                  <a:lnTo>
                    <a:pt x="1939" y="1098"/>
                  </a:lnTo>
                  <a:lnTo>
                    <a:pt x="1937" y="1095"/>
                  </a:lnTo>
                  <a:lnTo>
                    <a:pt x="1937" y="1093"/>
                  </a:lnTo>
                  <a:lnTo>
                    <a:pt x="1935" y="1091"/>
                  </a:lnTo>
                  <a:lnTo>
                    <a:pt x="1934" y="1090"/>
                  </a:lnTo>
                  <a:lnTo>
                    <a:pt x="1932" y="1087"/>
                  </a:lnTo>
                  <a:lnTo>
                    <a:pt x="1929" y="1084"/>
                  </a:lnTo>
                  <a:lnTo>
                    <a:pt x="1926" y="1082"/>
                  </a:lnTo>
                  <a:lnTo>
                    <a:pt x="1924" y="1080"/>
                  </a:lnTo>
                  <a:lnTo>
                    <a:pt x="1923" y="1079"/>
                  </a:lnTo>
                  <a:lnTo>
                    <a:pt x="1923" y="1077"/>
                  </a:lnTo>
                  <a:lnTo>
                    <a:pt x="1923" y="1074"/>
                  </a:lnTo>
                  <a:close/>
                  <a:moveTo>
                    <a:pt x="1660" y="1989"/>
                  </a:moveTo>
                  <a:lnTo>
                    <a:pt x="1654" y="1990"/>
                  </a:lnTo>
                  <a:lnTo>
                    <a:pt x="1651" y="1990"/>
                  </a:lnTo>
                  <a:lnTo>
                    <a:pt x="1648" y="1994"/>
                  </a:lnTo>
                  <a:lnTo>
                    <a:pt x="1646" y="1995"/>
                  </a:lnTo>
                  <a:lnTo>
                    <a:pt x="1645" y="1997"/>
                  </a:lnTo>
                  <a:lnTo>
                    <a:pt x="1645" y="1998"/>
                  </a:lnTo>
                  <a:lnTo>
                    <a:pt x="1643" y="1998"/>
                  </a:lnTo>
                  <a:lnTo>
                    <a:pt x="1643" y="2001"/>
                  </a:lnTo>
                  <a:lnTo>
                    <a:pt x="1643" y="2005"/>
                  </a:lnTo>
                  <a:lnTo>
                    <a:pt x="1643" y="2011"/>
                  </a:lnTo>
                  <a:lnTo>
                    <a:pt x="1656" y="2014"/>
                  </a:lnTo>
                  <a:lnTo>
                    <a:pt x="1667" y="2016"/>
                  </a:lnTo>
                  <a:lnTo>
                    <a:pt x="1668" y="2016"/>
                  </a:lnTo>
                  <a:lnTo>
                    <a:pt x="1670" y="2016"/>
                  </a:lnTo>
                  <a:lnTo>
                    <a:pt x="1672" y="2016"/>
                  </a:lnTo>
                  <a:lnTo>
                    <a:pt x="1675" y="2014"/>
                  </a:lnTo>
                  <a:lnTo>
                    <a:pt x="1676" y="2013"/>
                  </a:lnTo>
                  <a:lnTo>
                    <a:pt x="1678" y="2011"/>
                  </a:lnTo>
                  <a:lnTo>
                    <a:pt x="1679" y="2009"/>
                  </a:lnTo>
                  <a:lnTo>
                    <a:pt x="1683" y="2008"/>
                  </a:lnTo>
                  <a:lnTo>
                    <a:pt x="1676" y="2001"/>
                  </a:lnTo>
                  <a:lnTo>
                    <a:pt x="1672" y="1998"/>
                  </a:lnTo>
                  <a:lnTo>
                    <a:pt x="1667" y="1997"/>
                  </a:lnTo>
                  <a:lnTo>
                    <a:pt x="1665" y="1994"/>
                  </a:lnTo>
                  <a:lnTo>
                    <a:pt x="1662" y="1990"/>
                  </a:lnTo>
                  <a:lnTo>
                    <a:pt x="1660" y="1989"/>
                  </a:lnTo>
                  <a:close/>
                  <a:moveTo>
                    <a:pt x="1281" y="126"/>
                  </a:moveTo>
                  <a:lnTo>
                    <a:pt x="1277" y="128"/>
                  </a:lnTo>
                  <a:lnTo>
                    <a:pt x="1272" y="131"/>
                  </a:lnTo>
                  <a:lnTo>
                    <a:pt x="1267" y="134"/>
                  </a:lnTo>
                  <a:lnTo>
                    <a:pt x="1262" y="137"/>
                  </a:lnTo>
                  <a:lnTo>
                    <a:pt x="1259" y="142"/>
                  </a:lnTo>
                  <a:lnTo>
                    <a:pt x="1254" y="145"/>
                  </a:lnTo>
                  <a:lnTo>
                    <a:pt x="1251" y="150"/>
                  </a:lnTo>
                  <a:lnTo>
                    <a:pt x="1248" y="154"/>
                  </a:lnTo>
                  <a:lnTo>
                    <a:pt x="1247" y="159"/>
                  </a:lnTo>
                  <a:lnTo>
                    <a:pt x="1243" y="164"/>
                  </a:lnTo>
                  <a:lnTo>
                    <a:pt x="1242" y="169"/>
                  </a:lnTo>
                  <a:lnTo>
                    <a:pt x="1240" y="175"/>
                  </a:lnTo>
                  <a:lnTo>
                    <a:pt x="1239" y="180"/>
                  </a:lnTo>
                  <a:lnTo>
                    <a:pt x="1237" y="188"/>
                  </a:lnTo>
                  <a:lnTo>
                    <a:pt x="1237" y="192"/>
                  </a:lnTo>
                  <a:lnTo>
                    <a:pt x="1237" y="200"/>
                  </a:lnTo>
                  <a:lnTo>
                    <a:pt x="1237" y="207"/>
                  </a:lnTo>
                  <a:lnTo>
                    <a:pt x="1237" y="211"/>
                  </a:lnTo>
                  <a:lnTo>
                    <a:pt x="1239" y="216"/>
                  </a:lnTo>
                  <a:lnTo>
                    <a:pt x="1240" y="221"/>
                  </a:lnTo>
                  <a:lnTo>
                    <a:pt x="1242" y="224"/>
                  </a:lnTo>
                  <a:lnTo>
                    <a:pt x="1243" y="225"/>
                  </a:lnTo>
                  <a:lnTo>
                    <a:pt x="1247" y="229"/>
                  </a:lnTo>
                  <a:lnTo>
                    <a:pt x="1250" y="230"/>
                  </a:lnTo>
                  <a:lnTo>
                    <a:pt x="1253" y="232"/>
                  </a:lnTo>
                  <a:lnTo>
                    <a:pt x="1258" y="233"/>
                  </a:lnTo>
                  <a:lnTo>
                    <a:pt x="1261" y="233"/>
                  </a:lnTo>
                  <a:lnTo>
                    <a:pt x="1264" y="235"/>
                  </a:lnTo>
                  <a:lnTo>
                    <a:pt x="1272" y="236"/>
                  </a:lnTo>
                  <a:lnTo>
                    <a:pt x="1281" y="236"/>
                  </a:lnTo>
                  <a:lnTo>
                    <a:pt x="1281" y="126"/>
                  </a:lnTo>
                  <a:close/>
                  <a:moveTo>
                    <a:pt x="2278" y="1091"/>
                  </a:moveTo>
                  <a:lnTo>
                    <a:pt x="2269" y="1093"/>
                  </a:lnTo>
                  <a:lnTo>
                    <a:pt x="2266" y="1090"/>
                  </a:lnTo>
                  <a:lnTo>
                    <a:pt x="2266" y="1088"/>
                  </a:lnTo>
                  <a:lnTo>
                    <a:pt x="2266" y="1085"/>
                  </a:lnTo>
                  <a:lnTo>
                    <a:pt x="2266" y="1082"/>
                  </a:lnTo>
                  <a:lnTo>
                    <a:pt x="2269" y="1080"/>
                  </a:lnTo>
                  <a:lnTo>
                    <a:pt x="2270" y="1079"/>
                  </a:lnTo>
                  <a:lnTo>
                    <a:pt x="2274" y="1077"/>
                  </a:lnTo>
                  <a:lnTo>
                    <a:pt x="2277" y="1077"/>
                  </a:lnTo>
                  <a:lnTo>
                    <a:pt x="2281" y="1076"/>
                  </a:lnTo>
                  <a:lnTo>
                    <a:pt x="2286" y="1076"/>
                  </a:lnTo>
                  <a:lnTo>
                    <a:pt x="2289" y="1076"/>
                  </a:lnTo>
                  <a:lnTo>
                    <a:pt x="2294" y="1076"/>
                  </a:lnTo>
                  <a:lnTo>
                    <a:pt x="2296" y="1077"/>
                  </a:lnTo>
                  <a:lnTo>
                    <a:pt x="2297" y="1077"/>
                  </a:lnTo>
                  <a:lnTo>
                    <a:pt x="2297" y="1079"/>
                  </a:lnTo>
                  <a:lnTo>
                    <a:pt x="2299" y="1080"/>
                  </a:lnTo>
                  <a:lnTo>
                    <a:pt x="2294" y="1082"/>
                  </a:lnTo>
                  <a:lnTo>
                    <a:pt x="2291" y="1084"/>
                  </a:lnTo>
                  <a:lnTo>
                    <a:pt x="2289" y="1085"/>
                  </a:lnTo>
                  <a:lnTo>
                    <a:pt x="2289" y="1087"/>
                  </a:lnTo>
                  <a:lnTo>
                    <a:pt x="2289" y="1088"/>
                  </a:lnTo>
                  <a:lnTo>
                    <a:pt x="2278" y="1091"/>
                  </a:lnTo>
                  <a:close/>
                  <a:moveTo>
                    <a:pt x="2237" y="1121"/>
                  </a:moveTo>
                  <a:lnTo>
                    <a:pt x="2229" y="1121"/>
                  </a:lnTo>
                  <a:lnTo>
                    <a:pt x="2223" y="1121"/>
                  </a:lnTo>
                  <a:lnTo>
                    <a:pt x="2218" y="1120"/>
                  </a:lnTo>
                  <a:lnTo>
                    <a:pt x="2215" y="1120"/>
                  </a:lnTo>
                  <a:lnTo>
                    <a:pt x="2212" y="1118"/>
                  </a:lnTo>
                  <a:lnTo>
                    <a:pt x="2210" y="1115"/>
                  </a:lnTo>
                  <a:lnTo>
                    <a:pt x="2209" y="1117"/>
                  </a:lnTo>
                  <a:lnTo>
                    <a:pt x="2207" y="1118"/>
                  </a:lnTo>
                  <a:lnTo>
                    <a:pt x="2206" y="1118"/>
                  </a:lnTo>
                  <a:lnTo>
                    <a:pt x="2204" y="1121"/>
                  </a:lnTo>
                  <a:lnTo>
                    <a:pt x="2202" y="1123"/>
                  </a:lnTo>
                  <a:lnTo>
                    <a:pt x="2202" y="1136"/>
                  </a:lnTo>
                  <a:lnTo>
                    <a:pt x="2207" y="1136"/>
                  </a:lnTo>
                  <a:lnTo>
                    <a:pt x="2209" y="1136"/>
                  </a:lnTo>
                  <a:lnTo>
                    <a:pt x="2212" y="1136"/>
                  </a:lnTo>
                  <a:lnTo>
                    <a:pt x="2217" y="1136"/>
                  </a:lnTo>
                  <a:lnTo>
                    <a:pt x="2225" y="1136"/>
                  </a:lnTo>
                  <a:lnTo>
                    <a:pt x="2236" y="1136"/>
                  </a:lnTo>
                  <a:lnTo>
                    <a:pt x="2239" y="1136"/>
                  </a:lnTo>
                  <a:lnTo>
                    <a:pt x="2240" y="1134"/>
                  </a:lnTo>
                  <a:lnTo>
                    <a:pt x="2243" y="1132"/>
                  </a:lnTo>
                  <a:lnTo>
                    <a:pt x="2245" y="1131"/>
                  </a:lnTo>
                  <a:lnTo>
                    <a:pt x="2247" y="1128"/>
                  </a:lnTo>
                  <a:lnTo>
                    <a:pt x="2248" y="1121"/>
                  </a:lnTo>
                  <a:lnTo>
                    <a:pt x="2243" y="1121"/>
                  </a:lnTo>
                  <a:lnTo>
                    <a:pt x="2237" y="1121"/>
                  </a:lnTo>
                  <a:close/>
                  <a:moveTo>
                    <a:pt x="2243" y="1719"/>
                  </a:moveTo>
                  <a:lnTo>
                    <a:pt x="2239" y="1718"/>
                  </a:lnTo>
                  <a:lnTo>
                    <a:pt x="2236" y="1718"/>
                  </a:lnTo>
                  <a:lnTo>
                    <a:pt x="2232" y="1718"/>
                  </a:lnTo>
                  <a:lnTo>
                    <a:pt x="2229" y="1721"/>
                  </a:lnTo>
                  <a:lnTo>
                    <a:pt x="2228" y="1722"/>
                  </a:lnTo>
                  <a:lnTo>
                    <a:pt x="2228" y="1725"/>
                  </a:lnTo>
                  <a:lnTo>
                    <a:pt x="2228" y="1727"/>
                  </a:lnTo>
                  <a:lnTo>
                    <a:pt x="2228" y="1729"/>
                  </a:lnTo>
                  <a:lnTo>
                    <a:pt x="2229" y="1729"/>
                  </a:lnTo>
                  <a:lnTo>
                    <a:pt x="2232" y="1730"/>
                  </a:lnTo>
                  <a:lnTo>
                    <a:pt x="2236" y="1732"/>
                  </a:lnTo>
                  <a:lnTo>
                    <a:pt x="2239" y="1733"/>
                  </a:lnTo>
                  <a:lnTo>
                    <a:pt x="2240" y="1733"/>
                  </a:lnTo>
                  <a:lnTo>
                    <a:pt x="2243" y="1733"/>
                  </a:lnTo>
                  <a:lnTo>
                    <a:pt x="2243" y="1729"/>
                  </a:lnTo>
                  <a:lnTo>
                    <a:pt x="2243" y="1725"/>
                  </a:lnTo>
                  <a:lnTo>
                    <a:pt x="2243" y="1722"/>
                  </a:lnTo>
                  <a:lnTo>
                    <a:pt x="2243" y="1719"/>
                  </a:lnTo>
                  <a:close/>
                  <a:moveTo>
                    <a:pt x="2266" y="1689"/>
                  </a:moveTo>
                  <a:lnTo>
                    <a:pt x="2262" y="1689"/>
                  </a:lnTo>
                  <a:lnTo>
                    <a:pt x="2261" y="1688"/>
                  </a:lnTo>
                  <a:lnTo>
                    <a:pt x="2259" y="1688"/>
                  </a:lnTo>
                  <a:lnTo>
                    <a:pt x="2258" y="1686"/>
                  </a:lnTo>
                  <a:lnTo>
                    <a:pt x="2258" y="1692"/>
                  </a:lnTo>
                  <a:lnTo>
                    <a:pt x="2258" y="1697"/>
                  </a:lnTo>
                  <a:lnTo>
                    <a:pt x="2258" y="1699"/>
                  </a:lnTo>
                  <a:lnTo>
                    <a:pt x="2259" y="1700"/>
                  </a:lnTo>
                  <a:lnTo>
                    <a:pt x="2261" y="1702"/>
                  </a:lnTo>
                  <a:lnTo>
                    <a:pt x="2262" y="1702"/>
                  </a:lnTo>
                  <a:lnTo>
                    <a:pt x="2266" y="1703"/>
                  </a:lnTo>
                  <a:lnTo>
                    <a:pt x="2269" y="1703"/>
                  </a:lnTo>
                  <a:lnTo>
                    <a:pt x="2270" y="1703"/>
                  </a:lnTo>
                  <a:lnTo>
                    <a:pt x="2272" y="1702"/>
                  </a:lnTo>
                  <a:lnTo>
                    <a:pt x="2274" y="1702"/>
                  </a:lnTo>
                  <a:lnTo>
                    <a:pt x="2275" y="1702"/>
                  </a:lnTo>
                  <a:lnTo>
                    <a:pt x="2277" y="1700"/>
                  </a:lnTo>
                  <a:lnTo>
                    <a:pt x="2277" y="1699"/>
                  </a:lnTo>
                  <a:lnTo>
                    <a:pt x="2277" y="1697"/>
                  </a:lnTo>
                  <a:lnTo>
                    <a:pt x="2266" y="1689"/>
                  </a:lnTo>
                  <a:close/>
                  <a:moveTo>
                    <a:pt x="2258" y="1710"/>
                  </a:moveTo>
                  <a:lnTo>
                    <a:pt x="2266" y="1711"/>
                  </a:lnTo>
                  <a:lnTo>
                    <a:pt x="2270" y="1713"/>
                  </a:lnTo>
                  <a:lnTo>
                    <a:pt x="2272" y="1713"/>
                  </a:lnTo>
                  <a:lnTo>
                    <a:pt x="2274" y="1713"/>
                  </a:lnTo>
                  <a:lnTo>
                    <a:pt x="2275" y="1714"/>
                  </a:lnTo>
                  <a:lnTo>
                    <a:pt x="2277" y="1716"/>
                  </a:lnTo>
                  <a:lnTo>
                    <a:pt x="2277" y="1718"/>
                  </a:lnTo>
                  <a:lnTo>
                    <a:pt x="2277" y="1722"/>
                  </a:lnTo>
                  <a:lnTo>
                    <a:pt x="2277" y="1725"/>
                  </a:lnTo>
                  <a:lnTo>
                    <a:pt x="2278" y="1730"/>
                  </a:lnTo>
                  <a:lnTo>
                    <a:pt x="2278" y="1733"/>
                  </a:lnTo>
                  <a:lnTo>
                    <a:pt x="2278" y="1735"/>
                  </a:lnTo>
                  <a:lnTo>
                    <a:pt x="2280" y="1738"/>
                  </a:lnTo>
                  <a:lnTo>
                    <a:pt x="2281" y="1740"/>
                  </a:lnTo>
                  <a:lnTo>
                    <a:pt x="2281" y="1748"/>
                  </a:lnTo>
                  <a:lnTo>
                    <a:pt x="2281" y="1755"/>
                  </a:lnTo>
                  <a:lnTo>
                    <a:pt x="2281" y="1763"/>
                  </a:lnTo>
                  <a:lnTo>
                    <a:pt x="2281" y="1770"/>
                  </a:lnTo>
                  <a:lnTo>
                    <a:pt x="2281" y="1771"/>
                  </a:lnTo>
                  <a:lnTo>
                    <a:pt x="2280" y="1774"/>
                  </a:lnTo>
                  <a:lnTo>
                    <a:pt x="2278" y="1774"/>
                  </a:lnTo>
                  <a:lnTo>
                    <a:pt x="2277" y="1776"/>
                  </a:lnTo>
                  <a:lnTo>
                    <a:pt x="2274" y="1776"/>
                  </a:lnTo>
                  <a:lnTo>
                    <a:pt x="2272" y="1776"/>
                  </a:lnTo>
                  <a:lnTo>
                    <a:pt x="2270" y="1774"/>
                  </a:lnTo>
                  <a:lnTo>
                    <a:pt x="2267" y="1774"/>
                  </a:lnTo>
                  <a:lnTo>
                    <a:pt x="2266" y="1771"/>
                  </a:lnTo>
                  <a:lnTo>
                    <a:pt x="2262" y="1768"/>
                  </a:lnTo>
                  <a:lnTo>
                    <a:pt x="2261" y="1765"/>
                  </a:lnTo>
                  <a:lnTo>
                    <a:pt x="2259" y="1762"/>
                  </a:lnTo>
                  <a:lnTo>
                    <a:pt x="2258" y="1760"/>
                  </a:lnTo>
                  <a:lnTo>
                    <a:pt x="2259" y="1757"/>
                  </a:lnTo>
                  <a:lnTo>
                    <a:pt x="2261" y="1754"/>
                  </a:lnTo>
                  <a:lnTo>
                    <a:pt x="2261" y="1752"/>
                  </a:lnTo>
                  <a:lnTo>
                    <a:pt x="2261" y="1751"/>
                  </a:lnTo>
                  <a:lnTo>
                    <a:pt x="2262" y="1748"/>
                  </a:lnTo>
                  <a:lnTo>
                    <a:pt x="2264" y="1746"/>
                  </a:lnTo>
                  <a:lnTo>
                    <a:pt x="2264" y="1743"/>
                  </a:lnTo>
                  <a:lnTo>
                    <a:pt x="2264" y="1741"/>
                  </a:lnTo>
                  <a:lnTo>
                    <a:pt x="2264" y="1738"/>
                  </a:lnTo>
                  <a:lnTo>
                    <a:pt x="2264" y="1735"/>
                  </a:lnTo>
                  <a:lnTo>
                    <a:pt x="2262" y="1733"/>
                  </a:lnTo>
                  <a:lnTo>
                    <a:pt x="2261" y="1730"/>
                  </a:lnTo>
                  <a:lnTo>
                    <a:pt x="2261" y="1729"/>
                  </a:lnTo>
                  <a:lnTo>
                    <a:pt x="2259" y="1725"/>
                  </a:lnTo>
                  <a:lnTo>
                    <a:pt x="2258" y="1722"/>
                  </a:lnTo>
                  <a:lnTo>
                    <a:pt x="2258" y="1721"/>
                  </a:lnTo>
                  <a:lnTo>
                    <a:pt x="2258" y="1716"/>
                  </a:lnTo>
                  <a:lnTo>
                    <a:pt x="2258" y="1713"/>
                  </a:lnTo>
                  <a:lnTo>
                    <a:pt x="2258" y="1710"/>
                  </a:lnTo>
                  <a:close/>
                  <a:moveTo>
                    <a:pt x="2315" y="1850"/>
                  </a:moveTo>
                  <a:lnTo>
                    <a:pt x="2310" y="1844"/>
                  </a:lnTo>
                  <a:lnTo>
                    <a:pt x="2307" y="1844"/>
                  </a:lnTo>
                  <a:lnTo>
                    <a:pt x="2307" y="1845"/>
                  </a:lnTo>
                  <a:lnTo>
                    <a:pt x="2305" y="1845"/>
                  </a:lnTo>
                  <a:lnTo>
                    <a:pt x="2304" y="1847"/>
                  </a:lnTo>
                  <a:lnTo>
                    <a:pt x="2304" y="1848"/>
                  </a:lnTo>
                  <a:lnTo>
                    <a:pt x="2304" y="1850"/>
                  </a:lnTo>
                  <a:lnTo>
                    <a:pt x="2305" y="1852"/>
                  </a:lnTo>
                  <a:lnTo>
                    <a:pt x="2307" y="1853"/>
                  </a:lnTo>
                  <a:lnTo>
                    <a:pt x="2311" y="1853"/>
                  </a:lnTo>
                  <a:lnTo>
                    <a:pt x="2313" y="1853"/>
                  </a:lnTo>
                  <a:lnTo>
                    <a:pt x="2315" y="1853"/>
                  </a:lnTo>
                  <a:lnTo>
                    <a:pt x="2315" y="1852"/>
                  </a:lnTo>
                  <a:lnTo>
                    <a:pt x="2315" y="1850"/>
                  </a:lnTo>
                  <a:close/>
                  <a:moveTo>
                    <a:pt x="2318" y="1872"/>
                  </a:moveTo>
                  <a:lnTo>
                    <a:pt x="2315" y="1872"/>
                  </a:lnTo>
                  <a:lnTo>
                    <a:pt x="2313" y="1874"/>
                  </a:lnTo>
                  <a:lnTo>
                    <a:pt x="2311" y="1875"/>
                  </a:lnTo>
                  <a:lnTo>
                    <a:pt x="2310" y="1880"/>
                  </a:lnTo>
                  <a:lnTo>
                    <a:pt x="2310" y="1883"/>
                  </a:lnTo>
                  <a:lnTo>
                    <a:pt x="2310" y="1886"/>
                  </a:lnTo>
                  <a:lnTo>
                    <a:pt x="2310" y="1888"/>
                  </a:lnTo>
                  <a:lnTo>
                    <a:pt x="2311" y="1890"/>
                  </a:lnTo>
                  <a:lnTo>
                    <a:pt x="2311" y="1891"/>
                  </a:lnTo>
                  <a:lnTo>
                    <a:pt x="2313" y="1891"/>
                  </a:lnTo>
                  <a:lnTo>
                    <a:pt x="2315" y="1891"/>
                  </a:lnTo>
                  <a:lnTo>
                    <a:pt x="2316" y="1893"/>
                  </a:lnTo>
                  <a:lnTo>
                    <a:pt x="2318" y="1893"/>
                  </a:lnTo>
                  <a:lnTo>
                    <a:pt x="2318" y="1891"/>
                  </a:lnTo>
                  <a:lnTo>
                    <a:pt x="2319" y="1891"/>
                  </a:lnTo>
                  <a:lnTo>
                    <a:pt x="2321" y="1890"/>
                  </a:lnTo>
                  <a:lnTo>
                    <a:pt x="2322" y="1886"/>
                  </a:lnTo>
                  <a:lnTo>
                    <a:pt x="2322" y="1883"/>
                  </a:lnTo>
                  <a:lnTo>
                    <a:pt x="2322" y="1878"/>
                  </a:lnTo>
                  <a:lnTo>
                    <a:pt x="2322" y="1875"/>
                  </a:lnTo>
                  <a:lnTo>
                    <a:pt x="2321" y="1874"/>
                  </a:lnTo>
                  <a:lnTo>
                    <a:pt x="2319" y="1874"/>
                  </a:lnTo>
                  <a:lnTo>
                    <a:pt x="2318" y="1872"/>
                  </a:lnTo>
                  <a:close/>
                  <a:moveTo>
                    <a:pt x="2335" y="1956"/>
                  </a:moveTo>
                  <a:lnTo>
                    <a:pt x="2332" y="1953"/>
                  </a:lnTo>
                  <a:lnTo>
                    <a:pt x="2329" y="1951"/>
                  </a:lnTo>
                  <a:lnTo>
                    <a:pt x="2329" y="1943"/>
                  </a:lnTo>
                  <a:lnTo>
                    <a:pt x="2332" y="1945"/>
                  </a:lnTo>
                  <a:lnTo>
                    <a:pt x="2335" y="1945"/>
                  </a:lnTo>
                  <a:lnTo>
                    <a:pt x="2337" y="1946"/>
                  </a:lnTo>
                  <a:lnTo>
                    <a:pt x="2338" y="1948"/>
                  </a:lnTo>
                  <a:lnTo>
                    <a:pt x="2340" y="1951"/>
                  </a:lnTo>
                  <a:lnTo>
                    <a:pt x="2337" y="1953"/>
                  </a:lnTo>
                  <a:lnTo>
                    <a:pt x="2335" y="1956"/>
                  </a:lnTo>
                  <a:close/>
                  <a:moveTo>
                    <a:pt x="2353" y="1973"/>
                  </a:moveTo>
                  <a:lnTo>
                    <a:pt x="2348" y="1970"/>
                  </a:lnTo>
                  <a:lnTo>
                    <a:pt x="2343" y="1967"/>
                  </a:lnTo>
                  <a:lnTo>
                    <a:pt x="2343" y="1970"/>
                  </a:lnTo>
                  <a:lnTo>
                    <a:pt x="2343" y="1975"/>
                  </a:lnTo>
                  <a:lnTo>
                    <a:pt x="2343" y="1976"/>
                  </a:lnTo>
                  <a:lnTo>
                    <a:pt x="2345" y="1978"/>
                  </a:lnTo>
                  <a:lnTo>
                    <a:pt x="2345" y="1979"/>
                  </a:lnTo>
                  <a:lnTo>
                    <a:pt x="2348" y="1981"/>
                  </a:lnTo>
                  <a:lnTo>
                    <a:pt x="2348" y="1979"/>
                  </a:lnTo>
                  <a:lnTo>
                    <a:pt x="2351" y="1978"/>
                  </a:lnTo>
                  <a:lnTo>
                    <a:pt x="2353" y="1976"/>
                  </a:lnTo>
                  <a:lnTo>
                    <a:pt x="2354" y="1975"/>
                  </a:lnTo>
                  <a:lnTo>
                    <a:pt x="2353" y="1973"/>
                  </a:lnTo>
                  <a:close/>
                  <a:moveTo>
                    <a:pt x="2353" y="2024"/>
                  </a:moveTo>
                  <a:lnTo>
                    <a:pt x="2351" y="2024"/>
                  </a:lnTo>
                  <a:lnTo>
                    <a:pt x="2349" y="2024"/>
                  </a:lnTo>
                  <a:lnTo>
                    <a:pt x="2348" y="2022"/>
                  </a:lnTo>
                  <a:lnTo>
                    <a:pt x="2346" y="2020"/>
                  </a:lnTo>
                  <a:lnTo>
                    <a:pt x="2346" y="2019"/>
                  </a:lnTo>
                  <a:lnTo>
                    <a:pt x="2346" y="2017"/>
                  </a:lnTo>
                  <a:lnTo>
                    <a:pt x="2346" y="2014"/>
                  </a:lnTo>
                  <a:lnTo>
                    <a:pt x="2346" y="2011"/>
                  </a:lnTo>
                  <a:lnTo>
                    <a:pt x="2348" y="2011"/>
                  </a:lnTo>
                  <a:lnTo>
                    <a:pt x="2348" y="2008"/>
                  </a:lnTo>
                  <a:lnTo>
                    <a:pt x="2351" y="2009"/>
                  </a:lnTo>
                  <a:lnTo>
                    <a:pt x="2354" y="2011"/>
                  </a:lnTo>
                  <a:lnTo>
                    <a:pt x="2354" y="2017"/>
                  </a:lnTo>
                  <a:lnTo>
                    <a:pt x="2354" y="2022"/>
                  </a:lnTo>
                  <a:lnTo>
                    <a:pt x="2353" y="2024"/>
                  </a:lnTo>
                  <a:close/>
                  <a:moveTo>
                    <a:pt x="2357" y="2072"/>
                  </a:moveTo>
                  <a:lnTo>
                    <a:pt x="2357" y="2060"/>
                  </a:lnTo>
                  <a:lnTo>
                    <a:pt x="2356" y="2057"/>
                  </a:lnTo>
                  <a:lnTo>
                    <a:pt x="2356" y="2055"/>
                  </a:lnTo>
                  <a:lnTo>
                    <a:pt x="2353" y="2054"/>
                  </a:lnTo>
                  <a:lnTo>
                    <a:pt x="2351" y="2050"/>
                  </a:lnTo>
                  <a:lnTo>
                    <a:pt x="2351" y="2049"/>
                  </a:lnTo>
                  <a:lnTo>
                    <a:pt x="2349" y="2046"/>
                  </a:lnTo>
                  <a:lnTo>
                    <a:pt x="2348" y="2043"/>
                  </a:lnTo>
                  <a:lnTo>
                    <a:pt x="2349" y="2041"/>
                  </a:lnTo>
                  <a:lnTo>
                    <a:pt x="2349" y="2039"/>
                  </a:lnTo>
                  <a:lnTo>
                    <a:pt x="2349" y="2038"/>
                  </a:lnTo>
                  <a:lnTo>
                    <a:pt x="2351" y="2036"/>
                  </a:lnTo>
                  <a:lnTo>
                    <a:pt x="2353" y="2036"/>
                  </a:lnTo>
                  <a:lnTo>
                    <a:pt x="2354" y="2035"/>
                  </a:lnTo>
                  <a:lnTo>
                    <a:pt x="2357" y="2041"/>
                  </a:lnTo>
                  <a:lnTo>
                    <a:pt x="2364" y="2047"/>
                  </a:lnTo>
                  <a:lnTo>
                    <a:pt x="2364" y="2052"/>
                  </a:lnTo>
                  <a:lnTo>
                    <a:pt x="2365" y="2055"/>
                  </a:lnTo>
                  <a:lnTo>
                    <a:pt x="2367" y="2060"/>
                  </a:lnTo>
                  <a:lnTo>
                    <a:pt x="2367" y="2066"/>
                  </a:lnTo>
                  <a:lnTo>
                    <a:pt x="2367" y="2071"/>
                  </a:lnTo>
                  <a:lnTo>
                    <a:pt x="2367" y="2072"/>
                  </a:lnTo>
                  <a:lnTo>
                    <a:pt x="2365" y="2074"/>
                  </a:lnTo>
                  <a:lnTo>
                    <a:pt x="2365" y="2076"/>
                  </a:lnTo>
                  <a:lnTo>
                    <a:pt x="2364" y="2076"/>
                  </a:lnTo>
                  <a:lnTo>
                    <a:pt x="2360" y="2074"/>
                  </a:lnTo>
                  <a:lnTo>
                    <a:pt x="2357" y="2072"/>
                  </a:lnTo>
                  <a:close/>
                  <a:moveTo>
                    <a:pt x="2362" y="2169"/>
                  </a:moveTo>
                  <a:lnTo>
                    <a:pt x="2362" y="2178"/>
                  </a:lnTo>
                  <a:lnTo>
                    <a:pt x="2362" y="2188"/>
                  </a:lnTo>
                  <a:lnTo>
                    <a:pt x="2362" y="2196"/>
                  </a:lnTo>
                  <a:lnTo>
                    <a:pt x="2362" y="2202"/>
                  </a:lnTo>
                  <a:lnTo>
                    <a:pt x="2360" y="2207"/>
                  </a:lnTo>
                  <a:lnTo>
                    <a:pt x="2359" y="2214"/>
                  </a:lnTo>
                  <a:lnTo>
                    <a:pt x="2357" y="2219"/>
                  </a:lnTo>
                  <a:lnTo>
                    <a:pt x="2356" y="2222"/>
                  </a:lnTo>
                  <a:lnTo>
                    <a:pt x="2356" y="2225"/>
                  </a:lnTo>
                  <a:lnTo>
                    <a:pt x="2354" y="2225"/>
                  </a:lnTo>
                  <a:lnTo>
                    <a:pt x="2349" y="2218"/>
                  </a:lnTo>
                  <a:lnTo>
                    <a:pt x="2345" y="2210"/>
                  </a:lnTo>
                  <a:lnTo>
                    <a:pt x="2343" y="2205"/>
                  </a:lnTo>
                  <a:lnTo>
                    <a:pt x="2341" y="2200"/>
                  </a:lnTo>
                  <a:lnTo>
                    <a:pt x="2340" y="2196"/>
                  </a:lnTo>
                  <a:lnTo>
                    <a:pt x="2340" y="2189"/>
                  </a:lnTo>
                  <a:lnTo>
                    <a:pt x="2340" y="2181"/>
                  </a:lnTo>
                  <a:lnTo>
                    <a:pt x="2341" y="2173"/>
                  </a:lnTo>
                  <a:lnTo>
                    <a:pt x="2343" y="2167"/>
                  </a:lnTo>
                  <a:lnTo>
                    <a:pt x="2343" y="2159"/>
                  </a:lnTo>
                  <a:lnTo>
                    <a:pt x="2343" y="2158"/>
                  </a:lnTo>
                  <a:lnTo>
                    <a:pt x="2343" y="2154"/>
                  </a:lnTo>
                  <a:lnTo>
                    <a:pt x="2345" y="2154"/>
                  </a:lnTo>
                  <a:lnTo>
                    <a:pt x="2345" y="2153"/>
                  </a:lnTo>
                  <a:lnTo>
                    <a:pt x="2346" y="2153"/>
                  </a:lnTo>
                  <a:lnTo>
                    <a:pt x="2348" y="2153"/>
                  </a:lnTo>
                  <a:lnTo>
                    <a:pt x="2351" y="2153"/>
                  </a:lnTo>
                  <a:lnTo>
                    <a:pt x="2353" y="2154"/>
                  </a:lnTo>
                  <a:lnTo>
                    <a:pt x="2354" y="2154"/>
                  </a:lnTo>
                  <a:lnTo>
                    <a:pt x="2356" y="2158"/>
                  </a:lnTo>
                  <a:lnTo>
                    <a:pt x="2357" y="2158"/>
                  </a:lnTo>
                  <a:lnTo>
                    <a:pt x="2359" y="2159"/>
                  </a:lnTo>
                  <a:lnTo>
                    <a:pt x="2360" y="2162"/>
                  </a:lnTo>
                  <a:lnTo>
                    <a:pt x="2360" y="2164"/>
                  </a:lnTo>
                  <a:lnTo>
                    <a:pt x="2360" y="2166"/>
                  </a:lnTo>
                  <a:lnTo>
                    <a:pt x="2362" y="2169"/>
                  </a:lnTo>
                  <a:close/>
                  <a:moveTo>
                    <a:pt x="2360" y="2426"/>
                  </a:moveTo>
                  <a:lnTo>
                    <a:pt x="2360" y="2426"/>
                  </a:lnTo>
                  <a:lnTo>
                    <a:pt x="2359" y="2426"/>
                  </a:lnTo>
                  <a:lnTo>
                    <a:pt x="2357" y="2424"/>
                  </a:lnTo>
                  <a:lnTo>
                    <a:pt x="2357" y="2423"/>
                  </a:lnTo>
                  <a:lnTo>
                    <a:pt x="2356" y="2421"/>
                  </a:lnTo>
                  <a:lnTo>
                    <a:pt x="2354" y="2421"/>
                  </a:lnTo>
                  <a:lnTo>
                    <a:pt x="2353" y="2423"/>
                  </a:lnTo>
                  <a:lnTo>
                    <a:pt x="2351" y="2424"/>
                  </a:lnTo>
                  <a:lnTo>
                    <a:pt x="2351" y="2426"/>
                  </a:lnTo>
                  <a:lnTo>
                    <a:pt x="2349" y="2429"/>
                  </a:lnTo>
                  <a:lnTo>
                    <a:pt x="2349" y="2432"/>
                  </a:lnTo>
                  <a:lnTo>
                    <a:pt x="2348" y="2435"/>
                  </a:lnTo>
                  <a:lnTo>
                    <a:pt x="2348" y="2438"/>
                  </a:lnTo>
                  <a:lnTo>
                    <a:pt x="2349" y="2440"/>
                  </a:lnTo>
                  <a:lnTo>
                    <a:pt x="2351" y="2440"/>
                  </a:lnTo>
                  <a:lnTo>
                    <a:pt x="2353" y="2442"/>
                  </a:lnTo>
                  <a:lnTo>
                    <a:pt x="2354" y="2443"/>
                  </a:lnTo>
                  <a:lnTo>
                    <a:pt x="2356" y="2440"/>
                  </a:lnTo>
                  <a:lnTo>
                    <a:pt x="2359" y="2434"/>
                  </a:lnTo>
                  <a:lnTo>
                    <a:pt x="2360" y="2431"/>
                  </a:lnTo>
                  <a:lnTo>
                    <a:pt x="2360" y="2429"/>
                  </a:lnTo>
                  <a:lnTo>
                    <a:pt x="2362" y="2427"/>
                  </a:lnTo>
                  <a:lnTo>
                    <a:pt x="2360" y="2426"/>
                  </a:lnTo>
                  <a:close/>
                  <a:moveTo>
                    <a:pt x="2313" y="2345"/>
                  </a:moveTo>
                  <a:lnTo>
                    <a:pt x="2313" y="2337"/>
                  </a:lnTo>
                  <a:lnTo>
                    <a:pt x="2313" y="2330"/>
                  </a:lnTo>
                  <a:lnTo>
                    <a:pt x="2313" y="2322"/>
                  </a:lnTo>
                  <a:lnTo>
                    <a:pt x="2313" y="2315"/>
                  </a:lnTo>
                  <a:lnTo>
                    <a:pt x="2313" y="2312"/>
                  </a:lnTo>
                  <a:lnTo>
                    <a:pt x="2311" y="2307"/>
                  </a:lnTo>
                  <a:lnTo>
                    <a:pt x="2311" y="2306"/>
                  </a:lnTo>
                  <a:lnTo>
                    <a:pt x="2310" y="2303"/>
                  </a:lnTo>
                  <a:lnTo>
                    <a:pt x="2310" y="2298"/>
                  </a:lnTo>
                  <a:lnTo>
                    <a:pt x="2310" y="2296"/>
                  </a:lnTo>
                  <a:lnTo>
                    <a:pt x="2310" y="2293"/>
                  </a:lnTo>
                  <a:lnTo>
                    <a:pt x="2315" y="2293"/>
                  </a:lnTo>
                  <a:lnTo>
                    <a:pt x="2318" y="2292"/>
                  </a:lnTo>
                  <a:lnTo>
                    <a:pt x="2319" y="2290"/>
                  </a:lnTo>
                  <a:lnTo>
                    <a:pt x="2321" y="2289"/>
                  </a:lnTo>
                  <a:lnTo>
                    <a:pt x="2322" y="2285"/>
                  </a:lnTo>
                  <a:lnTo>
                    <a:pt x="2324" y="2282"/>
                  </a:lnTo>
                  <a:lnTo>
                    <a:pt x="2324" y="2279"/>
                  </a:lnTo>
                  <a:lnTo>
                    <a:pt x="2326" y="2276"/>
                  </a:lnTo>
                  <a:lnTo>
                    <a:pt x="2327" y="2270"/>
                  </a:lnTo>
                  <a:lnTo>
                    <a:pt x="2329" y="2265"/>
                  </a:lnTo>
                  <a:lnTo>
                    <a:pt x="2330" y="2262"/>
                  </a:lnTo>
                  <a:lnTo>
                    <a:pt x="2332" y="2262"/>
                  </a:lnTo>
                  <a:lnTo>
                    <a:pt x="2334" y="2259"/>
                  </a:lnTo>
                  <a:lnTo>
                    <a:pt x="2335" y="2259"/>
                  </a:lnTo>
                  <a:lnTo>
                    <a:pt x="2337" y="2259"/>
                  </a:lnTo>
                  <a:lnTo>
                    <a:pt x="2338" y="2260"/>
                  </a:lnTo>
                  <a:lnTo>
                    <a:pt x="2340" y="2262"/>
                  </a:lnTo>
                  <a:lnTo>
                    <a:pt x="2340" y="2263"/>
                  </a:lnTo>
                  <a:lnTo>
                    <a:pt x="2341" y="2266"/>
                  </a:lnTo>
                  <a:lnTo>
                    <a:pt x="2343" y="2266"/>
                  </a:lnTo>
                  <a:lnTo>
                    <a:pt x="2343" y="2270"/>
                  </a:lnTo>
                  <a:lnTo>
                    <a:pt x="2343" y="2271"/>
                  </a:lnTo>
                  <a:lnTo>
                    <a:pt x="2343" y="2274"/>
                  </a:lnTo>
                  <a:lnTo>
                    <a:pt x="2343" y="2279"/>
                  </a:lnTo>
                  <a:lnTo>
                    <a:pt x="2340" y="2282"/>
                  </a:lnTo>
                  <a:lnTo>
                    <a:pt x="2340" y="2285"/>
                  </a:lnTo>
                  <a:lnTo>
                    <a:pt x="2338" y="2287"/>
                  </a:lnTo>
                  <a:lnTo>
                    <a:pt x="2337" y="2290"/>
                  </a:lnTo>
                  <a:lnTo>
                    <a:pt x="2335" y="2293"/>
                  </a:lnTo>
                  <a:lnTo>
                    <a:pt x="2335" y="2298"/>
                  </a:lnTo>
                  <a:lnTo>
                    <a:pt x="2335" y="2303"/>
                  </a:lnTo>
                  <a:lnTo>
                    <a:pt x="2337" y="2306"/>
                  </a:lnTo>
                  <a:lnTo>
                    <a:pt x="2337" y="2309"/>
                  </a:lnTo>
                  <a:lnTo>
                    <a:pt x="2337" y="2312"/>
                  </a:lnTo>
                  <a:lnTo>
                    <a:pt x="2338" y="2315"/>
                  </a:lnTo>
                  <a:lnTo>
                    <a:pt x="2338" y="2319"/>
                  </a:lnTo>
                  <a:lnTo>
                    <a:pt x="2340" y="2320"/>
                  </a:lnTo>
                  <a:lnTo>
                    <a:pt x="2340" y="2325"/>
                  </a:lnTo>
                  <a:lnTo>
                    <a:pt x="2340" y="2326"/>
                  </a:lnTo>
                  <a:lnTo>
                    <a:pt x="2340" y="2328"/>
                  </a:lnTo>
                  <a:lnTo>
                    <a:pt x="2338" y="2330"/>
                  </a:lnTo>
                  <a:lnTo>
                    <a:pt x="2337" y="2331"/>
                  </a:lnTo>
                  <a:lnTo>
                    <a:pt x="2335" y="2333"/>
                  </a:lnTo>
                  <a:lnTo>
                    <a:pt x="2334" y="2336"/>
                  </a:lnTo>
                  <a:lnTo>
                    <a:pt x="2332" y="2337"/>
                  </a:lnTo>
                  <a:lnTo>
                    <a:pt x="2330" y="2339"/>
                  </a:lnTo>
                  <a:lnTo>
                    <a:pt x="2330" y="2341"/>
                  </a:lnTo>
                  <a:lnTo>
                    <a:pt x="2329" y="2341"/>
                  </a:lnTo>
                  <a:lnTo>
                    <a:pt x="2329" y="2342"/>
                  </a:lnTo>
                  <a:lnTo>
                    <a:pt x="2329" y="2344"/>
                  </a:lnTo>
                  <a:lnTo>
                    <a:pt x="2329" y="2347"/>
                  </a:lnTo>
                  <a:lnTo>
                    <a:pt x="2330" y="2352"/>
                  </a:lnTo>
                  <a:lnTo>
                    <a:pt x="2330" y="2353"/>
                  </a:lnTo>
                  <a:lnTo>
                    <a:pt x="2332" y="2356"/>
                  </a:lnTo>
                  <a:lnTo>
                    <a:pt x="2334" y="2361"/>
                  </a:lnTo>
                  <a:lnTo>
                    <a:pt x="2335" y="2364"/>
                  </a:lnTo>
                  <a:lnTo>
                    <a:pt x="2335" y="2366"/>
                  </a:lnTo>
                  <a:lnTo>
                    <a:pt x="2335" y="2371"/>
                  </a:lnTo>
                  <a:lnTo>
                    <a:pt x="2335" y="2374"/>
                  </a:lnTo>
                  <a:lnTo>
                    <a:pt x="2335" y="2377"/>
                  </a:lnTo>
                  <a:lnTo>
                    <a:pt x="2334" y="2380"/>
                  </a:lnTo>
                  <a:lnTo>
                    <a:pt x="2334" y="2383"/>
                  </a:lnTo>
                  <a:lnTo>
                    <a:pt x="2332" y="2385"/>
                  </a:lnTo>
                  <a:lnTo>
                    <a:pt x="2330" y="2388"/>
                  </a:lnTo>
                  <a:lnTo>
                    <a:pt x="2330" y="2393"/>
                  </a:lnTo>
                  <a:lnTo>
                    <a:pt x="2330" y="2394"/>
                  </a:lnTo>
                  <a:lnTo>
                    <a:pt x="2327" y="2393"/>
                  </a:lnTo>
                  <a:lnTo>
                    <a:pt x="2326" y="2391"/>
                  </a:lnTo>
                  <a:lnTo>
                    <a:pt x="2324" y="2390"/>
                  </a:lnTo>
                  <a:lnTo>
                    <a:pt x="2324" y="2386"/>
                  </a:lnTo>
                  <a:lnTo>
                    <a:pt x="2324" y="2380"/>
                  </a:lnTo>
                  <a:lnTo>
                    <a:pt x="2324" y="2374"/>
                  </a:lnTo>
                  <a:lnTo>
                    <a:pt x="2324" y="2372"/>
                  </a:lnTo>
                  <a:lnTo>
                    <a:pt x="2324" y="2371"/>
                  </a:lnTo>
                  <a:lnTo>
                    <a:pt x="2322" y="2371"/>
                  </a:lnTo>
                  <a:lnTo>
                    <a:pt x="2322" y="2369"/>
                  </a:lnTo>
                  <a:lnTo>
                    <a:pt x="2319" y="2369"/>
                  </a:lnTo>
                  <a:lnTo>
                    <a:pt x="2318" y="2369"/>
                  </a:lnTo>
                  <a:lnTo>
                    <a:pt x="2316" y="2367"/>
                  </a:lnTo>
                  <a:lnTo>
                    <a:pt x="2315" y="2366"/>
                  </a:lnTo>
                  <a:lnTo>
                    <a:pt x="2315" y="2364"/>
                  </a:lnTo>
                  <a:lnTo>
                    <a:pt x="2315" y="2363"/>
                  </a:lnTo>
                  <a:lnTo>
                    <a:pt x="2315" y="2360"/>
                  </a:lnTo>
                  <a:lnTo>
                    <a:pt x="2315" y="2356"/>
                  </a:lnTo>
                  <a:lnTo>
                    <a:pt x="2315" y="2350"/>
                  </a:lnTo>
                  <a:lnTo>
                    <a:pt x="2313" y="2345"/>
                  </a:lnTo>
                  <a:close/>
                  <a:moveTo>
                    <a:pt x="2291" y="2435"/>
                  </a:moveTo>
                  <a:lnTo>
                    <a:pt x="2291" y="2440"/>
                  </a:lnTo>
                  <a:lnTo>
                    <a:pt x="2291" y="2443"/>
                  </a:lnTo>
                  <a:lnTo>
                    <a:pt x="2292" y="2446"/>
                  </a:lnTo>
                  <a:lnTo>
                    <a:pt x="2294" y="2449"/>
                  </a:lnTo>
                  <a:lnTo>
                    <a:pt x="2297" y="2464"/>
                  </a:lnTo>
                  <a:lnTo>
                    <a:pt x="2302" y="2478"/>
                  </a:lnTo>
                  <a:lnTo>
                    <a:pt x="2302" y="2481"/>
                  </a:lnTo>
                  <a:lnTo>
                    <a:pt x="2304" y="2484"/>
                  </a:lnTo>
                  <a:lnTo>
                    <a:pt x="2307" y="2486"/>
                  </a:lnTo>
                  <a:lnTo>
                    <a:pt x="2308" y="2489"/>
                  </a:lnTo>
                  <a:lnTo>
                    <a:pt x="2311" y="2489"/>
                  </a:lnTo>
                  <a:lnTo>
                    <a:pt x="2315" y="2490"/>
                  </a:lnTo>
                  <a:lnTo>
                    <a:pt x="2318" y="2492"/>
                  </a:lnTo>
                  <a:lnTo>
                    <a:pt x="2322" y="2492"/>
                  </a:lnTo>
                  <a:lnTo>
                    <a:pt x="2322" y="2486"/>
                  </a:lnTo>
                  <a:lnTo>
                    <a:pt x="2319" y="2483"/>
                  </a:lnTo>
                  <a:lnTo>
                    <a:pt x="2315" y="2476"/>
                  </a:lnTo>
                  <a:lnTo>
                    <a:pt x="2313" y="2473"/>
                  </a:lnTo>
                  <a:lnTo>
                    <a:pt x="2311" y="2470"/>
                  </a:lnTo>
                  <a:lnTo>
                    <a:pt x="2311" y="2467"/>
                  </a:lnTo>
                  <a:lnTo>
                    <a:pt x="2311" y="2464"/>
                  </a:lnTo>
                  <a:lnTo>
                    <a:pt x="2311" y="2456"/>
                  </a:lnTo>
                  <a:lnTo>
                    <a:pt x="2311" y="2451"/>
                  </a:lnTo>
                  <a:lnTo>
                    <a:pt x="2311" y="2446"/>
                  </a:lnTo>
                  <a:lnTo>
                    <a:pt x="2311" y="2438"/>
                  </a:lnTo>
                  <a:lnTo>
                    <a:pt x="2311" y="2435"/>
                  </a:lnTo>
                  <a:lnTo>
                    <a:pt x="2311" y="2432"/>
                  </a:lnTo>
                  <a:lnTo>
                    <a:pt x="2313" y="2431"/>
                  </a:lnTo>
                  <a:lnTo>
                    <a:pt x="2315" y="2426"/>
                  </a:lnTo>
                  <a:lnTo>
                    <a:pt x="2316" y="2419"/>
                  </a:lnTo>
                  <a:lnTo>
                    <a:pt x="2318" y="2415"/>
                  </a:lnTo>
                  <a:lnTo>
                    <a:pt x="2318" y="2402"/>
                  </a:lnTo>
                  <a:lnTo>
                    <a:pt x="2313" y="2405"/>
                  </a:lnTo>
                  <a:lnTo>
                    <a:pt x="2308" y="2407"/>
                  </a:lnTo>
                  <a:lnTo>
                    <a:pt x="2305" y="2408"/>
                  </a:lnTo>
                  <a:lnTo>
                    <a:pt x="2304" y="2410"/>
                  </a:lnTo>
                  <a:lnTo>
                    <a:pt x="2300" y="2413"/>
                  </a:lnTo>
                  <a:lnTo>
                    <a:pt x="2299" y="2413"/>
                  </a:lnTo>
                  <a:lnTo>
                    <a:pt x="2297" y="2416"/>
                  </a:lnTo>
                  <a:lnTo>
                    <a:pt x="2296" y="2418"/>
                  </a:lnTo>
                  <a:lnTo>
                    <a:pt x="2294" y="2421"/>
                  </a:lnTo>
                  <a:lnTo>
                    <a:pt x="2292" y="2424"/>
                  </a:lnTo>
                  <a:lnTo>
                    <a:pt x="2291" y="2426"/>
                  </a:lnTo>
                  <a:lnTo>
                    <a:pt x="2291" y="2431"/>
                  </a:lnTo>
                  <a:lnTo>
                    <a:pt x="2291" y="2432"/>
                  </a:lnTo>
                  <a:lnTo>
                    <a:pt x="2291" y="2435"/>
                  </a:lnTo>
                  <a:close/>
                </a:path>
              </a:pathLst>
            </a:custGeom>
            <a:solidFill>
              <a:srgbClr val="0070C0">
                <a:alpha val="10000"/>
              </a:srgbClr>
            </a:solidFill>
            <a:ln w="9525">
              <a:solidFill>
                <a:srgbClr val="FFFFFF">
                  <a:alpha val="0"/>
                </a:srgbClr>
              </a:solidFill>
              <a:round/>
              <a:headEnd/>
              <a:tailEnd/>
            </a:ln>
          </p:spPr>
          <p:txBody>
            <a:bodyPr lIns="91413" tIns="45707" rIns="91413" bIns="45707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372">
                <a:defRPr/>
              </a:pPr>
              <a:endParaRPr lang="ru-RU" sz="1700" dirty="0">
                <a:solidFill>
                  <a:srgbClr val="000000"/>
                </a:solidFill>
                <a:latin typeface="Arial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5" name="Полилиния 11">
              <a:extLst>
                <a:ext uri="{FF2B5EF4-FFF2-40B4-BE49-F238E27FC236}">
                  <a16:creationId xmlns:a16="http://schemas.microsoft.com/office/drawing/2014/main" id="{09573EED-8791-4F0E-90B7-01E2935DF055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 rot="389746">
              <a:off x="5568374" y="7402161"/>
              <a:ext cx="513373" cy="374748"/>
            </a:xfrm>
            <a:custGeom>
              <a:avLst/>
              <a:gdLst>
                <a:gd name="connsiteX0" fmla="*/ 0 w 300567"/>
                <a:gd name="connsiteY0" fmla="*/ 141539 h 217739"/>
                <a:gd name="connsiteX1" fmla="*/ 38100 w 300567"/>
                <a:gd name="connsiteY1" fmla="*/ 116139 h 217739"/>
                <a:gd name="connsiteX2" fmla="*/ 76200 w 300567"/>
                <a:gd name="connsiteY2" fmla="*/ 103439 h 217739"/>
                <a:gd name="connsiteX3" fmla="*/ 88900 w 300567"/>
                <a:gd name="connsiteY3" fmla="*/ 1839 h 217739"/>
                <a:gd name="connsiteX4" fmla="*/ 215900 w 300567"/>
                <a:gd name="connsiteY4" fmla="*/ 14539 h 217739"/>
                <a:gd name="connsiteX5" fmla="*/ 228600 w 300567"/>
                <a:gd name="connsiteY5" fmla="*/ 52639 h 217739"/>
                <a:gd name="connsiteX6" fmla="*/ 266700 w 300567"/>
                <a:gd name="connsiteY6" fmla="*/ 65339 h 217739"/>
                <a:gd name="connsiteX7" fmla="*/ 292100 w 300567"/>
                <a:gd name="connsiteY7" fmla="*/ 141539 h 217739"/>
                <a:gd name="connsiteX8" fmla="*/ 279400 w 300567"/>
                <a:gd name="connsiteY8" fmla="*/ 217739 h 2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0567" h="217739">
                  <a:moveTo>
                    <a:pt x="0" y="141539"/>
                  </a:moveTo>
                  <a:cubicBezTo>
                    <a:pt x="12700" y="133072"/>
                    <a:pt x="24448" y="122965"/>
                    <a:pt x="38100" y="116139"/>
                  </a:cubicBezTo>
                  <a:cubicBezTo>
                    <a:pt x="50074" y="110152"/>
                    <a:pt x="70763" y="115672"/>
                    <a:pt x="76200" y="103439"/>
                  </a:cubicBezTo>
                  <a:cubicBezTo>
                    <a:pt x="90062" y="72250"/>
                    <a:pt x="84667" y="35706"/>
                    <a:pt x="88900" y="1839"/>
                  </a:cubicBezTo>
                  <a:cubicBezTo>
                    <a:pt x="131233" y="6072"/>
                    <a:pt x="175917" y="0"/>
                    <a:pt x="215900" y="14539"/>
                  </a:cubicBezTo>
                  <a:cubicBezTo>
                    <a:pt x="228481" y="19114"/>
                    <a:pt x="219134" y="43173"/>
                    <a:pt x="228600" y="52639"/>
                  </a:cubicBezTo>
                  <a:cubicBezTo>
                    <a:pt x="238066" y="62105"/>
                    <a:pt x="254000" y="61106"/>
                    <a:pt x="266700" y="65339"/>
                  </a:cubicBezTo>
                  <a:cubicBezTo>
                    <a:pt x="275167" y="90739"/>
                    <a:pt x="300567" y="116139"/>
                    <a:pt x="292100" y="141539"/>
                  </a:cubicBezTo>
                  <a:cubicBezTo>
                    <a:pt x="275384" y="191687"/>
                    <a:pt x="279400" y="166252"/>
                    <a:pt x="279400" y="217739"/>
                  </a:cubicBezTo>
                </a:path>
              </a:pathLst>
            </a:cu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91412" tIns="45707" rIns="91412" bIns="45707"/>
            <a:lstStyle/>
            <a:p>
              <a:pPr defTabSz="914372">
                <a:defRPr/>
              </a:pPr>
              <a:endParaRPr lang="ru-RU" sz="1700" kern="0" dirty="0">
                <a:solidFill>
                  <a:srgbClr val="C7E0FB"/>
                </a:solidFill>
                <a:latin typeface="Europe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28" name="Google Shape;56;p13">
            <a:extLst>
              <a:ext uri="{FF2B5EF4-FFF2-40B4-BE49-F238E27FC236}">
                <a16:creationId xmlns:a16="http://schemas.microsoft.com/office/drawing/2014/main" id="{7F4FD95A-3C23-4D5D-8E47-DB215B8E9C73}"/>
              </a:ext>
            </a:extLst>
          </p:cNvPr>
          <p:cNvSpPr txBox="1"/>
          <p:nvPr/>
        </p:nvSpPr>
        <p:spPr>
          <a:xfrm>
            <a:off x="0" y="154509"/>
            <a:ext cx="9143996" cy="72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 b="1" dirty="0">
                <a:solidFill>
                  <a:schemeClr val="tx1"/>
                </a:solidFill>
                <a:latin typeface="Century Gothic" panose="020B0502020202020204" pitchFamily="34" charset="0"/>
                <a:ea typeface="Inter"/>
                <a:cs typeface="Inter"/>
                <a:sym typeface="Inter"/>
              </a:rPr>
              <a:t>О КОМПАНИИ</a:t>
            </a:r>
          </a:p>
        </p:txBody>
      </p:sp>
      <p:sp>
        <p:nvSpPr>
          <p:cNvPr id="27" name="Полилиния: фигура 26">
            <a:extLst>
              <a:ext uri="{FF2B5EF4-FFF2-40B4-BE49-F238E27FC236}">
                <a16:creationId xmlns:a16="http://schemas.microsoft.com/office/drawing/2014/main" id="{12A291F5-F075-40D7-9FED-7B497967D68B}"/>
              </a:ext>
            </a:extLst>
          </p:cNvPr>
          <p:cNvSpPr/>
          <p:nvPr/>
        </p:nvSpPr>
        <p:spPr>
          <a:xfrm>
            <a:off x="-11962" y="1466850"/>
            <a:ext cx="9172575" cy="2752725"/>
          </a:xfrm>
          <a:custGeom>
            <a:avLst/>
            <a:gdLst>
              <a:gd name="connsiteX0" fmla="*/ 0 w 9172575"/>
              <a:gd name="connsiteY0" fmla="*/ 2752725 h 2752725"/>
              <a:gd name="connsiteX1" fmla="*/ 962025 w 9172575"/>
              <a:gd name="connsiteY1" fmla="*/ 1790700 h 2752725"/>
              <a:gd name="connsiteX2" fmla="*/ 2371725 w 9172575"/>
              <a:gd name="connsiteY2" fmla="*/ 1400175 h 2752725"/>
              <a:gd name="connsiteX3" fmla="*/ 6324600 w 9172575"/>
              <a:gd name="connsiteY3" fmla="*/ 1666875 h 2752725"/>
              <a:gd name="connsiteX4" fmla="*/ 8229600 w 9172575"/>
              <a:gd name="connsiteY4" fmla="*/ 409575 h 2752725"/>
              <a:gd name="connsiteX5" fmla="*/ 9172575 w 9172575"/>
              <a:gd name="connsiteY5" fmla="*/ 0 h 2752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72575" h="2752725">
                <a:moveTo>
                  <a:pt x="0" y="2752725"/>
                </a:moveTo>
                <a:cubicBezTo>
                  <a:pt x="283369" y="2384425"/>
                  <a:pt x="566738" y="2016125"/>
                  <a:pt x="962025" y="1790700"/>
                </a:cubicBezTo>
                <a:cubicBezTo>
                  <a:pt x="1357312" y="1565275"/>
                  <a:pt x="1477963" y="1420812"/>
                  <a:pt x="2371725" y="1400175"/>
                </a:cubicBezTo>
                <a:cubicBezTo>
                  <a:pt x="3265487" y="1379538"/>
                  <a:pt x="5348288" y="1831975"/>
                  <a:pt x="6324600" y="1666875"/>
                </a:cubicBezTo>
                <a:cubicBezTo>
                  <a:pt x="7300913" y="1501775"/>
                  <a:pt x="7754937" y="687388"/>
                  <a:pt x="8229600" y="409575"/>
                </a:cubicBezTo>
                <a:cubicBezTo>
                  <a:pt x="8704263" y="131762"/>
                  <a:pt x="8938419" y="65881"/>
                  <a:pt x="9172575" y="0"/>
                </a:cubicBez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05EDECE5-3AF3-4F0C-A03D-BA557302EE7A}"/>
              </a:ext>
            </a:extLst>
          </p:cNvPr>
          <p:cNvSpPr>
            <a:spLocks noChangeAspect="1"/>
          </p:cNvSpPr>
          <p:nvPr/>
        </p:nvSpPr>
        <p:spPr>
          <a:xfrm>
            <a:off x="3116409" y="2877526"/>
            <a:ext cx="93211" cy="93211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B86BF712-5691-4A89-8594-C644FF829499}"/>
              </a:ext>
            </a:extLst>
          </p:cNvPr>
          <p:cNvSpPr>
            <a:spLocks noChangeAspect="1"/>
          </p:cNvSpPr>
          <p:nvPr/>
        </p:nvSpPr>
        <p:spPr>
          <a:xfrm>
            <a:off x="7217001" y="2665947"/>
            <a:ext cx="93211" cy="93211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4" name="Рисунок 33" descr="Круговая диаграмма">
            <a:extLst>
              <a:ext uri="{FF2B5EF4-FFF2-40B4-BE49-F238E27FC236}">
                <a16:creationId xmlns:a16="http://schemas.microsoft.com/office/drawing/2014/main" id="{4840142E-FA7B-4A37-B8BE-4DB2A3D7EFF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289678" y="3816943"/>
            <a:ext cx="720000" cy="720000"/>
          </a:xfrm>
          <a:prstGeom prst="rect">
            <a:avLst/>
          </a:prstGeom>
        </p:spPr>
      </p:pic>
      <p:pic>
        <p:nvPicPr>
          <p:cNvPr id="38" name="Рисунок 37" descr="Часы">
            <a:extLst>
              <a:ext uri="{FF2B5EF4-FFF2-40B4-BE49-F238E27FC236}">
                <a16:creationId xmlns:a16="http://schemas.microsoft.com/office/drawing/2014/main" id="{3C7F18CD-B3AD-47D3-821A-BDF3ABDBEBD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616192" y="1486206"/>
            <a:ext cx="720000" cy="720000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39985692-A217-435D-9520-EB9C776E2559}"/>
              </a:ext>
            </a:extLst>
          </p:cNvPr>
          <p:cNvSpPr txBox="1"/>
          <p:nvPr/>
        </p:nvSpPr>
        <p:spPr>
          <a:xfrm>
            <a:off x="7009678" y="4001264"/>
            <a:ext cx="18541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300"/>
              </a:spcBef>
              <a:buClr>
                <a:srgbClr val="1D601D"/>
              </a:buClr>
            </a:pPr>
            <a:r>
              <a:rPr lang="ru-RU" dirty="0">
                <a:latin typeface="Century Gothic" panose="020B0502020202020204" pitchFamily="34" charset="0"/>
                <a:ea typeface="Inter" pitchFamily="34" charset="0"/>
              </a:rPr>
              <a:t>Входит в ГК ТАИФ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20F83A6-A506-4207-A77C-35B2E0F20C53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29900" b="16224"/>
          <a:stretch/>
        </p:blipFill>
        <p:spPr>
          <a:xfrm>
            <a:off x="28166" y="91367"/>
            <a:ext cx="1624518" cy="8608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B131F52-D9C0-4394-A889-CC66B4AEBF07}"/>
              </a:ext>
            </a:extLst>
          </p:cNvPr>
          <p:cNvSpPr txBox="1"/>
          <p:nvPr/>
        </p:nvSpPr>
        <p:spPr>
          <a:xfrm>
            <a:off x="2318244" y="1691098"/>
            <a:ext cx="26162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300"/>
              </a:spcBef>
              <a:buClr>
                <a:srgbClr val="1D601D"/>
              </a:buClr>
            </a:pPr>
            <a:r>
              <a:rPr lang="ru-RU" dirty="0">
                <a:latin typeface="Century Gothic" panose="020B0502020202020204" pitchFamily="34" charset="0"/>
                <a:ea typeface="Inter" pitchFamily="34" charset="0"/>
              </a:rPr>
              <a:t>Основана </a:t>
            </a:r>
            <a:r>
              <a:rPr lang="en-US" dirty="0">
                <a:latin typeface="Century Gothic" panose="020B0502020202020204" pitchFamily="34" charset="0"/>
                <a:ea typeface="Inter" pitchFamily="34" charset="0"/>
              </a:rPr>
              <a:t>4 </a:t>
            </a:r>
            <a:r>
              <a:rPr lang="ru-RU" dirty="0">
                <a:latin typeface="Century Gothic" panose="020B0502020202020204" pitchFamily="34" charset="0"/>
                <a:ea typeface="Inter" pitchFamily="34" charset="0"/>
              </a:rPr>
              <a:t>декабря 2019 г</a:t>
            </a: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CF001964-1000-416E-9AB4-B70DB5536C2A}"/>
              </a:ext>
            </a:extLst>
          </p:cNvPr>
          <p:cNvSpPr>
            <a:spLocks noChangeAspect="1"/>
          </p:cNvSpPr>
          <p:nvPr/>
        </p:nvSpPr>
        <p:spPr>
          <a:xfrm>
            <a:off x="1022840" y="3148501"/>
            <a:ext cx="93211" cy="93211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6" name="Рисунок 35" descr="Маркер">
            <a:extLst>
              <a:ext uri="{FF2B5EF4-FFF2-40B4-BE49-F238E27FC236}">
                <a16:creationId xmlns:a16="http://schemas.microsoft.com/office/drawing/2014/main" id="{25035FE4-9BE5-465E-8AF9-D48E2B03050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764567" y="3798663"/>
            <a:ext cx="720000" cy="720000"/>
          </a:xfrm>
          <a:prstGeom prst="rect">
            <a:avLst/>
          </a:prstGeom>
        </p:spPr>
      </p:pic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9F915C1B-0A0F-4E59-A1FE-4D0C3D0D95B1}"/>
              </a:ext>
            </a:extLst>
          </p:cNvPr>
          <p:cNvCxnSpPr>
            <a:cxnSpLocks/>
          </p:cNvCxnSpPr>
          <p:nvPr/>
        </p:nvCxnSpPr>
        <p:spPr>
          <a:xfrm>
            <a:off x="1064179" y="3195106"/>
            <a:ext cx="866206" cy="750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F84EE823-FD94-48FE-AE34-FADAFE49E0E7}"/>
              </a:ext>
            </a:extLst>
          </p:cNvPr>
          <p:cNvSpPr txBox="1"/>
          <p:nvPr/>
        </p:nvSpPr>
        <p:spPr>
          <a:xfrm>
            <a:off x="2362358" y="3874307"/>
            <a:ext cx="3437564" cy="5616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300"/>
              </a:spcBef>
              <a:buClr>
                <a:srgbClr val="1D601D"/>
              </a:buClr>
            </a:pPr>
            <a:r>
              <a:rPr lang="ru-RU" dirty="0">
                <a:latin typeface="Century Gothic" panose="020B0502020202020204" pitchFamily="34" charset="0"/>
                <a:ea typeface="Inter" pitchFamily="34" charset="0"/>
              </a:rPr>
              <a:t>г. Казань – центральный офис, </a:t>
            </a:r>
            <a:r>
              <a:rPr lang="en-US" dirty="0">
                <a:latin typeface="Century Gothic" panose="020B0502020202020204" pitchFamily="34" charset="0"/>
                <a:ea typeface="Inter" pitchFamily="34" charset="0"/>
              </a:rPr>
              <a:t>R&amp;D</a:t>
            </a:r>
          </a:p>
          <a:p>
            <a:pPr algn="just">
              <a:spcBef>
                <a:spcPts val="300"/>
              </a:spcBef>
              <a:buClr>
                <a:srgbClr val="1D601D"/>
              </a:buClr>
            </a:pPr>
            <a:r>
              <a:rPr lang="ru-RU" dirty="0">
                <a:latin typeface="Century Gothic" panose="020B0502020202020204" pitchFamily="34" charset="0"/>
                <a:ea typeface="Inter" pitchFamily="34" charset="0"/>
              </a:rPr>
              <a:t>г. Нижнекамск - производство</a:t>
            </a:r>
          </a:p>
        </p:txBody>
      </p:sp>
      <p:pic>
        <p:nvPicPr>
          <p:cNvPr id="5" name="Google Shape;91;p16">
            <a:extLst>
              <a:ext uri="{FF2B5EF4-FFF2-40B4-BE49-F238E27FC236}">
                <a16:creationId xmlns:a16="http://schemas.microsoft.com/office/drawing/2014/main" id="{FE6DBB7B-2201-408D-AEB7-8C67425E43D0}"/>
              </a:ext>
            </a:extLst>
          </p:cNvPr>
          <p:cNvPicPr preferRelativeResize="0"/>
          <p:nvPr/>
        </p:nvPicPr>
        <p:blipFill>
          <a:blip r:embed="rId18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92;p16">
            <a:extLst>
              <a:ext uri="{FF2B5EF4-FFF2-40B4-BE49-F238E27FC236}">
                <a16:creationId xmlns:a16="http://schemas.microsoft.com/office/drawing/2014/main" id="{C39E8D2D-C8D2-4A3C-AAED-A88596648FFB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ru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lang="en-US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	</a:t>
            </a:r>
            <a:endParaRPr sz="600" dirty="0">
              <a:solidFill>
                <a:srgbClr val="999999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pic>
        <p:nvPicPr>
          <p:cNvPr id="9" name="Рисунок 8" descr="Список">
            <a:extLst>
              <a:ext uri="{FF2B5EF4-FFF2-40B4-BE49-F238E27FC236}">
                <a16:creationId xmlns:a16="http://schemas.microsoft.com/office/drawing/2014/main" id="{ED0CE0DF-6317-422D-BB19-2925F8638DC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626539" y="1355245"/>
            <a:ext cx="720000" cy="720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3757836-2828-4BCC-AFF5-5BF0D87FB843}"/>
              </a:ext>
            </a:extLst>
          </p:cNvPr>
          <p:cNvSpPr txBox="1"/>
          <p:nvPr/>
        </p:nvSpPr>
        <p:spPr>
          <a:xfrm>
            <a:off x="6176510" y="1379448"/>
            <a:ext cx="26104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300"/>
              </a:spcBef>
              <a:buClr>
                <a:srgbClr val="1D601D"/>
              </a:buClr>
            </a:pPr>
            <a:r>
              <a:rPr lang="ru-RU" dirty="0">
                <a:latin typeface="Century Gothic" panose="020B0502020202020204" pitchFamily="34" charset="0"/>
                <a:ea typeface="Inter" pitchFamily="34" charset="0"/>
              </a:rPr>
              <a:t>Более 170 наименований продукции</a:t>
            </a:r>
          </a:p>
        </p:txBody>
      </p: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4AE7D464-3540-4FC6-9115-7006D98027B6}"/>
              </a:ext>
            </a:extLst>
          </p:cNvPr>
          <p:cNvCxnSpPr>
            <a:cxnSpLocks/>
          </p:cNvCxnSpPr>
          <p:nvPr/>
        </p:nvCxnSpPr>
        <p:spPr>
          <a:xfrm>
            <a:off x="6224684" y="1845915"/>
            <a:ext cx="1038922" cy="863041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Овал 45">
            <a:extLst>
              <a:ext uri="{FF2B5EF4-FFF2-40B4-BE49-F238E27FC236}">
                <a16:creationId xmlns:a16="http://schemas.microsoft.com/office/drawing/2014/main" id="{92157C6D-2A8F-4DD7-B923-EFFF2C860CA5}"/>
              </a:ext>
            </a:extLst>
          </p:cNvPr>
          <p:cNvSpPr>
            <a:spLocks noChangeAspect="1"/>
          </p:cNvSpPr>
          <p:nvPr/>
        </p:nvSpPr>
        <p:spPr>
          <a:xfrm>
            <a:off x="5497997" y="3122465"/>
            <a:ext cx="93211" cy="93211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798F777B-4205-4327-B064-69D592D254FD}"/>
              </a:ext>
            </a:extLst>
          </p:cNvPr>
          <p:cNvCxnSpPr>
            <a:cxnSpLocks/>
          </p:cNvCxnSpPr>
          <p:nvPr/>
        </p:nvCxnSpPr>
        <p:spPr>
          <a:xfrm>
            <a:off x="5544602" y="3169070"/>
            <a:ext cx="866206" cy="750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C5241AA5-3C3D-402F-B657-1E87CD75C344}"/>
              </a:ext>
            </a:extLst>
          </p:cNvPr>
          <p:cNvCxnSpPr>
            <a:cxnSpLocks/>
          </p:cNvCxnSpPr>
          <p:nvPr/>
        </p:nvCxnSpPr>
        <p:spPr>
          <a:xfrm>
            <a:off x="2305118" y="2180228"/>
            <a:ext cx="866206" cy="75000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83611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CFB2E3D-D435-481D-A1DE-BF786A38D45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451"/>
          <a:stretch/>
        </p:blipFill>
        <p:spPr>
          <a:xfrm>
            <a:off x="235346" y="223038"/>
            <a:ext cx="3725869" cy="4366256"/>
          </a:xfrm>
          <a:prstGeom prst="rect">
            <a:avLst/>
          </a:prstGeom>
        </p:spPr>
      </p:pic>
      <p:pic>
        <p:nvPicPr>
          <p:cNvPr id="23" name="Google Shape;91;p16">
            <a:extLst>
              <a:ext uri="{FF2B5EF4-FFF2-40B4-BE49-F238E27FC236}">
                <a16:creationId xmlns:a16="http://schemas.microsoft.com/office/drawing/2014/main" id="{C155C265-EC0D-4CAE-AF05-5D4273FA993D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92;p16">
            <a:extLst>
              <a:ext uri="{FF2B5EF4-FFF2-40B4-BE49-F238E27FC236}">
                <a16:creationId xmlns:a16="http://schemas.microsoft.com/office/drawing/2014/main" id="{577EF62E-7690-4B8C-BB17-43AFEE141727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	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BC2926E2-E62B-42BC-86BA-51BAB219B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8340" y="308163"/>
            <a:ext cx="3026543" cy="1210934"/>
          </a:xfrm>
          <a:solidFill>
            <a:srgbClr val="FA7800"/>
          </a:solidFill>
        </p:spPr>
        <p:txBody>
          <a:bodyPr>
            <a:normAutofit/>
          </a:bodyPr>
          <a:lstStyle/>
          <a:p>
            <a:pPr marL="0" indent="0" algn="r">
              <a:lnSpc>
                <a:spcPct val="107000"/>
              </a:lnSpc>
              <a:spcAft>
                <a:spcPts val="600"/>
              </a:spcAft>
              <a:buNone/>
            </a:pPr>
            <a:r>
              <a:rPr lang="ru-RU" sz="2100" b="1" u="sng" dirty="0">
                <a:solidFill>
                  <a:schemeClr val="bg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дификаторы вязкост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7A87863-6538-4BE5-80D4-E8FFE9792E0C}"/>
              </a:ext>
            </a:extLst>
          </p:cNvPr>
          <p:cNvSpPr txBox="1"/>
          <p:nvPr/>
        </p:nvSpPr>
        <p:spPr>
          <a:xfrm>
            <a:off x="4185153" y="1988036"/>
            <a:ext cx="4670673" cy="23001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lnSpc>
                <a:spcPct val="107000"/>
              </a:lnSpc>
              <a:spcAft>
                <a:spcPts val="600"/>
              </a:spcAft>
              <a:buClrTx/>
              <a:defRPr/>
            </a:pPr>
            <a:r>
              <a:rPr kumimoji="0" lang="ru-RU" sz="2100" b="1" i="0" u="sng" strike="noStrike" kern="1200" cap="none" spc="0" normalizeH="0" baseline="0" noProof="0" dirty="0">
                <a:ln>
                  <a:noFill/>
                </a:ln>
                <a:solidFill>
                  <a:srgbClr val="EC7E34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Преимущества:</a:t>
            </a:r>
          </a:p>
          <a:p>
            <a:pPr marR="0" lvl="0" algn="just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Использование высоковязких ПАО в качестве модификатора вязкости дает следующие преимущества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:</a:t>
            </a: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Высокая окислительная стабильность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инимальное кол-во высокотемпературных отложений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Отличный загущающий эффект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200" kern="1200" dirty="0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ысокая стойкость к </a:t>
            </a:r>
            <a:r>
              <a:rPr lang="ru-RU" sz="1200" kern="1200" dirty="0" err="1">
                <a:solidFill>
                  <a:prstClr val="black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иструкции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779E9E4-A1F2-465E-A371-849AD7B49FAB}"/>
              </a:ext>
            </a:extLst>
          </p:cNvPr>
          <p:cNvCxnSpPr>
            <a:cxnSpLocks/>
          </p:cNvCxnSpPr>
          <p:nvPr/>
        </p:nvCxnSpPr>
        <p:spPr>
          <a:xfrm>
            <a:off x="4183966" y="1758025"/>
            <a:ext cx="0" cy="2760204"/>
          </a:xfrm>
          <a:prstGeom prst="line">
            <a:avLst/>
          </a:prstGeom>
          <a:ln w="22225">
            <a:solidFill>
              <a:srgbClr val="EC7E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70005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6;p13">
            <a:extLst>
              <a:ext uri="{FF2B5EF4-FFF2-40B4-BE49-F238E27FC236}">
                <a16:creationId xmlns:a16="http://schemas.microsoft.com/office/drawing/2014/main" id="{90C3EA44-EF14-4659-825B-22EFA8064CD3}"/>
              </a:ext>
            </a:extLst>
          </p:cNvPr>
          <p:cNvSpPr txBox="1"/>
          <p:nvPr/>
        </p:nvSpPr>
        <p:spPr>
          <a:xfrm>
            <a:off x="4" y="53741"/>
            <a:ext cx="9143996" cy="72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Inter" panose="020B0604020202020204" charset="0"/>
                <a:cs typeface="Inter"/>
                <a:sym typeface="Inter"/>
              </a:rPr>
              <a:t>ОКИСЛИТЕЛЬНАЯ СТАБИЛЬНОСТЬ ПАО</a:t>
            </a:r>
          </a:p>
        </p:txBody>
      </p:sp>
      <p:pic>
        <p:nvPicPr>
          <p:cNvPr id="3" name="Google Shape;91;p16">
            <a:extLst>
              <a:ext uri="{FF2B5EF4-FFF2-40B4-BE49-F238E27FC236}">
                <a16:creationId xmlns:a16="http://schemas.microsoft.com/office/drawing/2014/main" id="{97FC307B-179B-40BD-84FB-7F48BC8C7180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92;p16">
            <a:extLst>
              <a:ext uri="{FF2B5EF4-FFF2-40B4-BE49-F238E27FC236}">
                <a16:creationId xmlns:a16="http://schemas.microsoft.com/office/drawing/2014/main" id="{0AA5A319-813B-494D-8C76-B47C86FD9742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© Taif Lubricants 202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1</a:t>
            </a: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.	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	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Inter"/>
              <a:ea typeface="Inter"/>
              <a:cs typeface="Inter"/>
              <a:sym typeface="Inter"/>
            </a:endParaRPr>
          </a:p>
        </p:txBody>
      </p:sp>
      <p:graphicFrame>
        <p:nvGraphicFramePr>
          <p:cNvPr id="38" name="Таблица 37">
            <a:extLst>
              <a:ext uri="{FF2B5EF4-FFF2-40B4-BE49-F238E27FC236}">
                <a16:creationId xmlns:a16="http://schemas.microsoft.com/office/drawing/2014/main" id="{ECA85DC2-A711-486D-A147-B8BA222BA21A}"/>
              </a:ext>
            </a:extLst>
          </p:cNvPr>
          <p:cNvGraphicFramePr>
            <a:graphicFrameLocks noGrp="1"/>
          </p:cNvGraphicFramePr>
          <p:nvPr/>
        </p:nvGraphicFramePr>
        <p:xfrm>
          <a:off x="396239" y="744528"/>
          <a:ext cx="8351519" cy="3562828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24210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2915">
                  <a:extLst>
                    <a:ext uri="{9D8B030D-6E8A-4147-A177-3AD203B41FA5}">
                      <a16:colId xmlns:a16="http://schemas.microsoft.com/office/drawing/2014/main" val="1003132014"/>
                    </a:ext>
                  </a:extLst>
                </a:gridCol>
                <a:gridCol w="1432915">
                  <a:extLst>
                    <a:ext uri="{9D8B030D-6E8A-4147-A177-3AD203B41FA5}">
                      <a16:colId xmlns:a16="http://schemas.microsoft.com/office/drawing/2014/main" val="2904336561"/>
                    </a:ext>
                  </a:extLst>
                </a:gridCol>
                <a:gridCol w="1432915">
                  <a:extLst>
                    <a:ext uri="{9D8B030D-6E8A-4147-A177-3AD203B41FA5}">
                      <a16:colId xmlns:a16="http://schemas.microsoft.com/office/drawing/2014/main" val="1099073073"/>
                    </a:ext>
                  </a:extLst>
                </a:gridCol>
                <a:gridCol w="1631691">
                  <a:extLst>
                    <a:ext uri="{9D8B030D-6E8A-4147-A177-3AD203B41FA5}">
                      <a16:colId xmlns:a16="http://schemas.microsoft.com/office/drawing/2014/main" val="3950419723"/>
                    </a:ext>
                  </a:extLst>
                </a:gridCol>
              </a:tblGrid>
              <a:tr h="815023">
                <a:tc>
                  <a:txBody>
                    <a:bodyPr/>
                    <a:lstStyle/>
                    <a:p>
                      <a:endParaRPr lang="ru-RU" sz="1200" dirty="0">
                        <a:latin typeface="Century Gothic" panose="020B0502020202020204" pitchFamily="34" charset="0"/>
                        <a:ea typeface="Inter" panose="020B0604020202020204" charset="0"/>
                      </a:endParaRPr>
                    </a:p>
                  </a:txBody>
                  <a:tcPr marL="30956" marR="30956" marT="28575" marB="28575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SN400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ПАО-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ПАО-4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0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ПАО-1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00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 grid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accent3"/>
                        </a:solidFill>
                        <a:effectLst/>
                        <a:latin typeface="Century Gothic" panose="020B0502020202020204" pitchFamily="34" charset="0"/>
                        <a:ea typeface="Inter" panose="020B0604020202020204" charset="0"/>
                        <a:cs typeface="Tahoma" panose="020B0604030504040204" pitchFamily="34" charset="0"/>
                      </a:endParaRPr>
                    </a:p>
                  </a:txBody>
                  <a:tcPr marL="30956" marR="30956" marT="28575" marB="28575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accent3"/>
                        </a:solidFill>
                        <a:effectLst/>
                        <a:latin typeface="+mj-lt"/>
                        <a:ea typeface="Inter" panose="020B0604020202020204" charset="0"/>
                        <a:cs typeface="Tahoma" panose="020B0604030504040204" pitchFamily="34" charset="0"/>
                      </a:endParaRPr>
                    </a:p>
                  </a:txBody>
                  <a:tcPr marL="30956" marR="30956" marT="28575" marB="28575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9197">
                <a:tc>
                  <a:txBody>
                    <a:bodyPr/>
                    <a:lstStyle/>
                    <a:p>
                      <a:r>
                        <a:rPr lang="ru-RU" sz="1200" b="1" i="0" u="none" strike="noStrike" cap="none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Inter" panose="020B0604020202020204" charset="0"/>
                          <a:cs typeface="+mn-cs"/>
                          <a:sym typeface="Arial"/>
                        </a:rPr>
                        <a:t>Изменение КВ100, %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22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3,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2,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1,6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49197">
                <a:tc>
                  <a:txBody>
                    <a:bodyPr/>
                    <a:lstStyle/>
                    <a:p>
                      <a:r>
                        <a:rPr lang="ru-RU" sz="1200" b="1" dirty="0">
                          <a:latin typeface="Century Gothic" panose="020B0502020202020204" pitchFamily="34" charset="0"/>
                          <a:ea typeface="Inter" panose="020B0604020202020204" charset="0"/>
                        </a:rPr>
                        <a:t>Изменение КЧ, мг</a:t>
                      </a:r>
                      <a:endParaRPr lang="en-US" sz="1200" b="1" dirty="0">
                        <a:latin typeface="Century Gothic" panose="020B0502020202020204" pitchFamily="34" charset="0"/>
                        <a:ea typeface="Inter" panose="020B060402020202020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16</a:t>
                      </a: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0,08</a:t>
                      </a: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0,08</a:t>
                      </a: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1,0</a:t>
                      </a: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09381">
                <a:tc>
                  <a:txBody>
                    <a:bodyPr/>
                    <a:lstStyle/>
                    <a:p>
                      <a:r>
                        <a:rPr lang="ru-RU" sz="1200" b="1" dirty="0">
                          <a:latin typeface="Century Gothic" panose="020B0502020202020204" pitchFamily="34" charset="0"/>
                          <a:ea typeface="Inter" panose="020B0604020202020204" charset="0"/>
                        </a:rPr>
                        <a:t>Шлам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присутствует</a:t>
                      </a: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отсутствие</a:t>
                      </a: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отсутствие</a:t>
                      </a: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отсутствие</a:t>
                      </a:r>
                    </a:p>
                  </a:txBody>
                  <a:tcPr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887AB6B0-9997-42EF-AAEF-5CA9948B8B77}"/>
              </a:ext>
            </a:extLst>
          </p:cNvPr>
          <p:cNvSpPr txBox="1"/>
          <p:nvPr/>
        </p:nvSpPr>
        <p:spPr>
          <a:xfrm>
            <a:off x="396239" y="4398972"/>
            <a:ext cx="46329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Условия: 2% антиоксиданта, 150 </a:t>
            </a: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Inter" panose="020B0604020202020204" charset="0"/>
                <a:cs typeface="Arial"/>
                <a:sym typeface="Arial"/>
              </a:rPr>
              <a:t>°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C, 72 </a:t>
            </a: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ч</a:t>
            </a: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, </a:t>
            </a:r>
            <a:r>
              <a:rPr kumimoji="0" lang="ru-RU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100 мл/мин</a:t>
            </a:r>
          </a:p>
        </p:txBody>
      </p:sp>
    </p:spTree>
    <p:extLst>
      <p:ext uri="{BB962C8B-B14F-4D97-AF65-F5344CB8AC3E}">
        <p14:creationId xmlns:p14="http://schemas.microsoft.com/office/powerpoint/2010/main" val="4102994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56;p13">
            <a:extLst>
              <a:ext uri="{FF2B5EF4-FFF2-40B4-BE49-F238E27FC236}">
                <a16:creationId xmlns:a16="http://schemas.microsoft.com/office/drawing/2014/main" id="{FDDFE417-B0DF-4519-AFFF-98249AAC9CFC}"/>
              </a:ext>
            </a:extLst>
          </p:cNvPr>
          <p:cNvSpPr txBox="1"/>
          <p:nvPr/>
        </p:nvSpPr>
        <p:spPr>
          <a:xfrm>
            <a:off x="0" y="59438"/>
            <a:ext cx="9143996" cy="72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Inter"/>
                <a:cs typeface="Inter"/>
                <a:sym typeface="Inter"/>
              </a:rPr>
              <a:t>ИСПОЛЬЗОВАНИЕ В КАЧЕСТВЕ ЗАГУСТИТЕЛЯ</a:t>
            </a:r>
          </a:p>
        </p:txBody>
      </p:sp>
      <p:pic>
        <p:nvPicPr>
          <p:cNvPr id="3" name="Google Shape;91;p16">
            <a:extLst>
              <a:ext uri="{FF2B5EF4-FFF2-40B4-BE49-F238E27FC236}">
                <a16:creationId xmlns:a16="http://schemas.microsoft.com/office/drawing/2014/main" id="{60BCFF32-B68A-401C-9485-E6F5F7FC5EE2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92;p16">
            <a:extLst>
              <a:ext uri="{FF2B5EF4-FFF2-40B4-BE49-F238E27FC236}">
                <a16:creationId xmlns:a16="http://schemas.microsoft.com/office/drawing/2014/main" id="{485DE553-CB98-46D5-8AAA-587C239027B5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	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Inter"/>
              <a:ea typeface="Inter"/>
              <a:cs typeface="Inter"/>
              <a:sym typeface="Inter"/>
            </a:endParaRPr>
          </a:p>
        </p:txBody>
      </p:sp>
      <p:graphicFrame>
        <p:nvGraphicFramePr>
          <p:cNvPr id="25" name="Диаграмма 24">
            <a:extLst>
              <a:ext uri="{FF2B5EF4-FFF2-40B4-BE49-F238E27FC236}">
                <a16:creationId xmlns:a16="http://schemas.microsoft.com/office/drawing/2014/main" id="{8F5E1629-691C-49A6-B89F-D8ECD1E71CF7}"/>
              </a:ext>
            </a:extLst>
          </p:cNvPr>
          <p:cNvGraphicFramePr>
            <a:graphicFrameLocks/>
          </p:cNvGraphicFramePr>
          <p:nvPr/>
        </p:nvGraphicFramePr>
        <p:xfrm>
          <a:off x="178167" y="628650"/>
          <a:ext cx="45720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0948978B-FF63-4551-8FC5-BB21E2EF59C0}"/>
              </a:ext>
            </a:extLst>
          </p:cNvPr>
          <p:cNvGraphicFramePr>
            <a:graphicFrameLocks/>
          </p:cNvGraphicFramePr>
          <p:nvPr/>
        </p:nvGraphicFramePr>
        <p:xfrm>
          <a:off x="4750167" y="628650"/>
          <a:ext cx="4215666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86019352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A2A3CCD1-1C95-4449-B8DE-FBF0BF579331}"/>
              </a:ext>
            </a:extLst>
          </p:cNvPr>
          <p:cNvSpPr txBox="1"/>
          <p:nvPr/>
        </p:nvSpPr>
        <p:spPr>
          <a:xfrm>
            <a:off x="630223" y="1121887"/>
            <a:ext cx="5328234" cy="3077766"/>
          </a:xfrm>
          <a:prstGeom prst="rect">
            <a:avLst/>
          </a:prstGeom>
          <a:solidFill>
            <a:srgbClr val="FA7800"/>
          </a:solidFill>
        </p:spPr>
        <p:txBody>
          <a:bodyPr wrap="square">
            <a:spAutoFit/>
          </a:bodyPr>
          <a:lstStyle/>
          <a:p>
            <a:pPr marL="323846" indent="-171450">
              <a:spcAft>
                <a:spcPts val="1200"/>
              </a:spcAft>
              <a:buClrTx/>
              <a:buSzPts val="1800"/>
              <a:buFont typeface="Arial" panose="020B0604020202020204" pitchFamily="34" charset="0"/>
              <a:buChar char="•"/>
              <a:defRPr/>
            </a:pPr>
            <a:r>
              <a:rPr lang="ru-RU" sz="1100" kern="1200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  <a:cs typeface="Arial" panose="020B0604020202020204" pitchFamily="34" charset="0"/>
              </a:rPr>
              <a:t>Исключительная </a:t>
            </a:r>
            <a:r>
              <a:rPr lang="ru-RU" sz="1100" b="1" kern="1200" dirty="0" err="1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  <a:cs typeface="Arial" panose="020B0604020202020204" pitchFamily="34" charset="0"/>
              </a:rPr>
              <a:t>термоокислительная</a:t>
            </a:r>
            <a:r>
              <a:rPr lang="ru-RU" sz="11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  <a:cs typeface="Arial" panose="020B0604020202020204" pitchFamily="34" charset="0"/>
              </a:rPr>
              <a:t> стабильность </a:t>
            </a:r>
            <a:r>
              <a:rPr lang="ru-RU" sz="1100" kern="1200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  <a:cs typeface="Arial" panose="020B0604020202020204" pitchFamily="34" charset="0"/>
              </a:rPr>
              <a:t>ПАО позволяет увеличить интервалы замены товарных масел (вплоть до заливки масла на весь жизненный цикл оборудования).</a:t>
            </a:r>
          </a:p>
          <a:p>
            <a:pPr marL="323846" indent="-171450">
              <a:spcAft>
                <a:spcPts val="1200"/>
              </a:spcAft>
              <a:buClrTx/>
              <a:buSzPts val="1800"/>
              <a:buFont typeface="Arial" panose="020B0604020202020204" pitchFamily="34" charset="0"/>
              <a:buChar char="•"/>
              <a:defRPr/>
            </a:pPr>
            <a:r>
              <a:rPr lang="ru-RU" sz="1100" kern="1200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  <a:cs typeface="Arial" panose="020B0604020202020204" pitchFamily="34" charset="0"/>
              </a:rPr>
              <a:t>Отличные </a:t>
            </a:r>
            <a:r>
              <a:rPr lang="ru-RU" sz="11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  <a:cs typeface="Arial" panose="020B0604020202020204" pitchFamily="34" charset="0"/>
              </a:rPr>
              <a:t>вязкостно-температурные характеристики и </a:t>
            </a:r>
            <a:r>
              <a:rPr lang="ru-RU" sz="1100" kern="1200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  <a:cs typeface="Arial" panose="020B0604020202020204" pitchFamily="34" charset="0"/>
              </a:rPr>
              <a:t>низкие</a:t>
            </a:r>
            <a:r>
              <a:rPr lang="ru-RU" sz="11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  <a:cs typeface="Arial" panose="020B0604020202020204" pitchFamily="34" charset="0"/>
              </a:rPr>
              <a:t> температуры застывания </a:t>
            </a:r>
            <a:r>
              <a:rPr lang="ru-RU" sz="1100" kern="1200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  <a:cs typeface="Arial" panose="020B0604020202020204" pitchFamily="34" charset="0"/>
              </a:rPr>
              <a:t>ПАО позволяют вовлекать в товарные масла меньше загущающих и депрессорных присадок, что уменьшает кол-во высокотемпературных отложений и позволяет применять продукты в условиях крайнего Севера.</a:t>
            </a:r>
          </a:p>
          <a:p>
            <a:pPr marL="323846" indent="-171450">
              <a:spcAft>
                <a:spcPts val="1200"/>
              </a:spcAft>
              <a:buClrTx/>
              <a:buSzPts val="1800"/>
              <a:buFont typeface="Arial" panose="020B0604020202020204" pitchFamily="34" charset="0"/>
              <a:buChar char="•"/>
              <a:defRPr/>
            </a:pPr>
            <a:r>
              <a:rPr lang="ru-RU" sz="11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  <a:cs typeface="Arial" panose="020B0604020202020204" pitchFamily="34" charset="0"/>
              </a:rPr>
              <a:t>Противозадирный/противоизносный синергизм </a:t>
            </a:r>
            <a:r>
              <a:rPr lang="ru-RU" sz="1100" kern="1200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  <a:cs typeface="Arial" panose="020B0604020202020204" pitchFamily="34" charset="0"/>
              </a:rPr>
              <a:t>ПАО позволяет производить высокоэффективные трансмиссионные и редукторные смазочные материалы.</a:t>
            </a:r>
            <a:endParaRPr lang="en-US" sz="1100" kern="1200" dirty="0">
              <a:solidFill>
                <a:schemeClr val="bg1"/>
              </a:solidFill>
              <a:latin typeface="Century Gothic" panose="020B0502020202020204" pitchFamily="34" charset="0"/>
              <a:ea typeface="Inter" pitchFamily="34" charset="0"/>
              <a:cs typeface="Arial" panose="020B0604020202020204" pitchFamily="34" charset="0"/>
            </a:endParaRPr>
          </a:p>
          <a:p>
            <a:pPr marL="323846" indent="-171450">
              <a:spcAft>
                <a:spcPts val="1200"/>
              </a:spcAft>
              <a:buClrTx/>
              <a:buSzPts val="1800"/>
              <a:buFont typeface="Arial" panose="020B0604020202020204" pitchFamily="34" charset="0"/>
              <a:buChar char="•"/>
              <a:defRPr/>
            </a:pPr>
            <a:r>
              <a:rPr lang="ru-RU" sz="11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  <a:cs typeface="Arial" panose="020B0604020202020204" pitchFamily="34" charset="0"/>
              </a:rPr>
              <a:t>Низкая испаряемость </a:t>
            </a:r>
            <a:r>
              <a:rPr lang="ru-RU" sz="1100" kern="1200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  <a:cs typeface="Arial" panose="020B0604020202020204" pitchFamily="34" charset="0"/>
              </a:rPr>
              <a:t>ПАО обуславливает небольшой расход моторных масел на угар.</a:t>
            </a:r>
          </a:p>
          <a:p>
            <a:pPr marL="323846" indent="-171450">
              <a:spcAft>
                <a:spcPts val="1200"/>
              </a:spcAft>
              <a:buClrTx/>
              <a:buSzPts val="1800"/>
              <a:buFont typeface="Arial" panose="020B0604020202020204" pitchFamily="34" charset="0"/>
              <a:buChar char="•"/>
              <a:defRPr/>
            </a:pPr>
            <a:r>
              <a:rPr lang="ru-RU" sz="11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  <a:cs typeface="Arial" panose="020B0604020202020204" pitchFamily="34" charset="0"/>
              </a:rPr>
              <a:t>Возможность применения в пищевой промышленности (</a:t>
            </a:r>
            <a:r>
              <a:rPr lang="en-US" sz="1100" b="1" kern="1200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  <a:cs typeface="Arial" panose="020B0604020202020204" pitchFamily="34" charset="0"/>
              </a:rPr>
              <a:t>NSF H1)</a:t>
            </a:r>
            <a:endParaRPr lang="ru-RU" sz="1100" b="1" kern="1200" dirty="0">
              <a:solidFill>
                <a:schemeClr val="bg1"/>
              </a:solidFill>
              <a:latin typeface="Century Gothic" panose="020B0502020202020204" pitchFamily="34" charset="0"/>
              <a:ea typeface="Inter" pitchFamily="34" charset="0"/>
              <a:cs typeface="Arial" panose="020B0604020202020204" pitchFamily="34" charset="0"/>
            </a:endParaRPr>
          </a:p>
        </p:txBody>
      </p:sp>
      <p:pic>
        <p:nvPicPr>
          <p:cNvPr id="9" name="Google Shape;91;p16">
            <a:extLst>
              <a:ext uri="{FF2B5EF4-FFF2-40B4-BE49-F238E27FC236}">
                <a16:creationId xmlns:a16="http://schemas.microsoft.com/office/drawing/2014/main" id="{274861B6-F485-45D5-8C1C-737B24286FAE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92;p16">
            <a:extLst>
              <a:ext uri="{FF2B5EF4-FFF2-40B4-BE49-F238E27FC236}">
                <a16:creationId xmlns:a16="http://schemas.microsoft.com/office/drawing/2014/main" id="{E06DB1F8-5549-4835-8279-C8EF6774595C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ru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lang="en-US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	</a:t>
            </a:r>
            <a:endParaRPr sz="600" dirty="0">
              <a:solidFill>
                <a:srgbClr val="999999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3" name="Google Shape;56;p13">
            <a:extLst>
              <a:ext uri="{FF2B5EF4-FFF2-40B4-BE49-F238E27FC236}">
                <a16:creationId xmlns:a16="http://schemas.microsoft.com/office/drawing/2014/main" id="{80746444-0BD5-42F0-9F0B-8E5B41886BBB}"/>
              </a:ext>
            </a:extLst>
          </p:cNvPr>
          <p:cNvSpPr txBox="1"/>
          <p:nvPr/>
        </p:nvSpPr>
        <p:spPr>
          <a:xfrm>
            <a:off x="4" y="187379"/>
            <a:ext cx="9143996" cy="72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 b="1" dirty="0">
                <a:solidFill>
                  <a:schemeClr val="tx1"/>
                </a:solidFill>
                <a:latin typeface="Century Gothic" panose="020B0502020202020204" pitchFamily="34" charset="0"/>
                <a:ea typeface="Inter"/>
                <a:cs typeface="Inter"/>
                <a:sym typeface="Inter"/>
              </a:rPr>
              <a:t>ПРЕИМУЩЕСТВА МАСЕЛ НА ОСНОВЕ ПАО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FAF5476-B8CA-4D8A-B1E4-233D70582B5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76" t="12740" r="26960" b="14442"/>
          <a:stretch/>
        </p:blipFill>
        <p:spPr>
          <a:xfrm>
            <a:off x="6184493" y="661815"/>
            <a:ext cx="2608987" cy="4106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8624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02EA5F7-7737-471F-AC1A-760D1BCA529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grayscl/>
          </a:blip>
          <a:srcRect r="28216"/>
          <a:stretch/>
        </p:blipFill>
        <p:spPr>
          <a:xfrm>
            <a:off x="4257670" y="961108"/>
            <a:ext cx="4411362" cy="345354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5D49087-6B2E-4C80-ABEF-E4F84E111516}"/>
              </a:ext>
            </a:extLst>
          </p:cNvPr>
          <p:cNvSpPr txBox="1"/>
          <p:nvPr/>
        </p:nvSpPr>
        <p:spPr>
          <a:xfrm>
            <a:off x="-1169133" y="865422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tx1"/>
                </a:solidFill>
                <a:latin typeface="Inter" pitchFamily="34" charset="0"/>
                <a:ea typeface="Inter" pitchFamily="34" charset="0"/>
              </a:rPr>
              <a:t>КОНТАКТЫ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7B3A86B-6A6F-48B5-A6B2-EF5D48BF3800}"/>
              </a:ext>
            </a:extLst>
          </p:cNvPr>
          <p:cNvSpPr/>
          <p:nvPr/>
        </p:nvSpPr>
        <p:spPr>
          <a:xfrm>
            <a:off x="439580" y="1227475"/>
            <a:ext cx="5103223" cy="2913535"/>
          </a:xfrm>
          <a:prstGeom prst="rect">
            <a:avLst/>
          </a:prstGeom>
          <a:solidFill>
            <a:srgbClr val="FA7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2396">
              <a:buClrTx/>
              <a:buSzPts val="1800"/>
              <a:defRPr/>
            </a:pPr>
            <a:endParaRPr lang="ru-RU" sz="1400" kern="1200" dirty="0">
              <a:solidFill>
                <a:schemeClr val="bg1"/>
              </a:solidFill>
              <a:latin typeface="Inter" pitchFamily="34" charset="0"/>
              <a:ea typeface="Inter" pitchFamily="34" charset="0"/>
              <a:cs typeface="Arial" panose="020B0604020202020204" pitchFamily="34" charset="0"/>
            </a:endParaRPr>
          </a:p>
        </p:txBody>
      </p:sp>
      <p:pic>
        <p:nvPicPr>
          <p:cNvPr id="4" name="Google Shape;91;p16">
            <a:extLst>
              <a:ext uri="{FF2B5EF4-FFF2-40B4-BE49-F238E27FC236}">
                <a16:creationId xmlns:a16="http://schemas.microsoft.com/office/drawing/2014/main" id="{30DE60AC-2F59-403B-8C02-C569DD06C876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92;p16">
            <a:extLst>
              <a:ext uri="{FF2B5EF4-FFF2-40B4-BE49-F238E27FC236}">
                <a16:creationId xmlns:a16="http://schemas.microsoft.com/office/drawing/2014/main" id="{7FDCD5D0-C9AB-440E-83D0-38CC937C7320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ru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lang="en-US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	</a:t>
            </a:r>
            <a:endParaRPr sz="600" dirty="0">
              <a:solidFill>
                <a:srgbClr val="999999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22BD5EBD-7601-4703-81CA-D782E0DC9057}"/>
              </a:ext>
            </a:extLst>
          </p:cNvPr>
          <p:cNvGrpSpPr/>
          <p:nvPr/>
        </p:nvGrpSpPr>
        <p:grpSpPr>
          <a:xfrm>
            <a:off x="700379" y="1894241"/>
            <a:ext cx="4270359" cy="2246769"/>
            <a:chOff x="619113" y="2247948"/>
            <a:chExt cx="4270359" cy="2246769"/>
          </a:xfrm>
        </p:grpSpPr>
        <p:sp>
          <p:nvSpPr>
            <p:cNvPr id="12" name="TextBox 11"/>
            <p:cNvSpPr txBox="1"/>
            <p:nvPr/>
          </p:nvSpPr>
          <p:spPr>
            <a:xfrm>
              <a:off x="619113" y="2247948"/>
              <a:ext cx="1076400" cy="22467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Телефон:	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lang="ru-RU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lang="ru-RU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</a:endParaRPr>
            </a:p>
            <a:p>
              <a:r>
                <a:rPr lang="en-US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E-mail</a:t>
              </a:r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:</a:t>
              </a:r>
            </a:p>
            <a:p>
              <a:endParaRPr lang="ru-RU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</a:endParaRPr>
            </a:p>
            <a:p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Сайт:</a:t>
              </a:r>
            </a:p>
            <a:p>
              <a:endParaRPr lang="en-US" u="sng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</a:endParaRPr>
            </a:p>
            <a:p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Адрес:	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341AC63-4143-4B3A-AB99-E8C406D2B3CF}"/>
                </a:ext>
              </a:extLst>
            </p:cNvPr>
            <p:cNvSpPr txBox="1"/>
            <p:nvPr/>
          </p:nvSpPr>
          <p:spPr>
            <a:xfrm>
              <a:off x="1539661" y="2247948"/>
              <a:ext cx="3349811" cy="22467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по всей России:</a:t>
              </a:r>
            </a:p>
            <a:p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г.</a:t>
              </a:r>
              <a:r>
                <a:rPr lang="en-US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 </a:t>
              </a:r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Казань:</a:t>
              </a:r>
            </a:p>
            <a:p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г.</a:t>
              </a:r>
              <a:r>
                <a:rPr lang="en-US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 </a:t>
              </a:r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Москва:</a:t>
              </a:r>
            </a:p>
            <a:p>
              <a:endParaRPr lang="ru-RU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</a:endParaRPr>
            </a:p>
            <a:p>
              <a:r>
                <a:rPr lang="en-US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m@taif-sm.ru</a:t>
              </a:r>
              <a:endParaRPr lang="ru-RU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</a:endParaRPr>
            </a:p>
            <a:p>
              <a:endParaRPr lang="ru-RU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</a:endParaRPr>
            </a:p>
            <a:p>
              <a:r>
                <a:rPr lang="en-US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www.taif-lubricants.ru</a:t>
              </a:r>
              <a:endParaRPr lang="ru-RU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</a:endParaRPr>
            </a:p>
            <a:p>
              <a:endParaRPr lang="ru-RU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</a:endParaRPr>
            </a:p>
            <a:p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420012, г. Казань, ул. Щапова, д</a:t>
              </a:r>
              <a:r>
                <a:rPr lang="en-US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.</a:t>
              </a:r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 27</a:t>
              </a:r>
            </a:p>
            <a:p>
              <a:endParaRPr lang="ru-RU" dirty="0">
                <a:latin typeface="Century Gothic" panose="020B0502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E26DA24-E462-4F70-B0CE-7BE43E76C966}"/>
                </a:ext>
              </a:extLst>
            </p:cNvPr>
            <p:cNvSpPr txBox="1"/>
            <p:nvPr/>
          </p:nvSpPr>
          <p:spPr>
            <a:xfrm>
              <a:off x="3136802" y="2284989"/>
              <a:ext cx="1608133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8 </a:t>
              </a:r>
              <a:r>
                <a:rPr lang="en-US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(</a:t>
              </a:r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800</a:t>
              </a:r>
              <a:r>
                <a:rPr lang="en-US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) </a:t>
              </a:r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551</a:t>
              </a:r>
              <a:r>
                <a:rPr lang="en-US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 </a:t>
              </a:r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88</a:t>
              </a:r>
              <a:r>
                <a:rPr lang="en-US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 </a:t>
              </a:r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43</a:t>
              </a:r>
            </a:p>
            <a:p>
              <a:r>
                <a:rPr lang="en-US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8 (</a:t>
              </a:r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843</a:t>
              </a:r>
              <a:r>
                <a:rPr lang="en-US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) </a:t>
              </a:r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288</a:t>
              </a:r>
              <a:r>
                <a:rPr lang="en-US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 </a:t>
              </a:r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88</a:t>
              </a:r>
              <a:r>
                <a:rPr lang="en-US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 </a:t>
              </a:r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43</a:t>
              </a:r>
            </a:p>
            <a:p>
              <a:r>
                <a:rPr lang="en-US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8 (</a:t>
              </a:r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495</a:t>
              </a:r>
              <a:r>
                <a:rPr lang="en-US" dirty="0">
                  <a:solidFill>
                    <a:schemeClr val="bg1"/>
                  </a:solidFill>
                  <a:latin typeface="Century Gothic" panose="020B0502020202020204" pitchFamily="34" charset="0"/>
                  <a:ea typeface="Inter" pitchFamily="34" charset="0"/>
                </a:rPr>
                <a:t>) 146 88 43</a:t>
              </a:r>
              <a:endParaRPr lang="ru-RU" dirty="0">
                <a:solidFill>
                  <a:schemeClr val="bg1"/>
                </a:solidFill>
                <a:latin typeface="Century Gothic" panose="020B0502020202020204" pitchFamily="34" charset="0"/>
                <a:ea typeface="Inter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3432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вал 1">
            <a:extLst>
              <a:ext uri="{FF2B5EF4-FFF2-40B4-BE49-F238E27FC236}">
                <a16:creationId xmlns:a16="http://schemas.microsoft.com/office/drawing/2014/main" id="{D0DF8E32-85A8-4A3B-A700-82EED9968B7F}"/>
              </a:ext>
            </a:extLst>
          </p:cNvPr>
          <p:cNvSpPr/>
          <p:nvPr/>
        </p:nvSpPr>
        <p:spPr>
          <a:xfrm>
            <a:off x="2762949" y="944514"/>
            <a:ext cx="3581399" cy="3499010"/>
          </a:xfrm>
          <a:prstGeom prst="ellipse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56C0C1D0-4E2D-42C9-B5EA-EA7CFA1078D7}"/>
              </a:ext>
            </a:extLst>
          </p:cNvPr>
          <p:cNvSpPr/>
          <p:nvPr/>
        </p:nvSpPr>
        <p:spPr>
          <a:xfrm>
            <a:off x="4070260" y="672773"/>
            <a:ext cx="1020419" cy="6614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B34D454-62EF-49D1-AE33-407C80AD7DEC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4610" b="1764"/>
          <a:stretch/>
        </p:blipFill>
        <p:spPr>
          <a:xfrm>
            <a:off x="4971468" y="3593627"/>
            <a:ext cx="1938247" cy="638781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6B270E5E-728F-4D11-A96C-EC0610919710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20646" r="22706"/>
          <a:stretch/>
        </p:blipFill>
        <p:spPr>
          <a:xfrm>
            <a:off x="5863324" y="1865600"/>
            <a:ext cx="934411" cy="916845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4DC5AE9-1B8C-46CF-8065-856AECEB6E80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1431" t="14621" r="12032" b="23393"/>
          <a:stretch/>
        </p:blipFill>
        <p:spPr>
          <a:xfrm>
            <a:off x="2624387" y="3524358"/>
            <a:ext cx="1593118" cy="840586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F3D87B9-A4B1-41E5-8A1C-669F0DF3E0FA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26136" t="13671" r="25067" b="11090"/>
          <a:stretch/>
        </p:blipFill>
        <p:spPr>
          <a:xfrm>
            <a:off x="2381476" y="1842955"/>
            <a:ext cx="924612" cy="916845"/>
          </a:xfrm>
          <a:prstGeom prst="rect">
            <a:avLst/>
          </a:prstGeom>
        </p:spPr>
      </p:pic>
      <p:pic>
        <p:nvPicPr>
          <p:cNvPr id="91" name="Google Shape;91;p16"/>
          <p:cNvPicPr preferRelativeResize="0"/>
          <p:nvPr/>
        </p:nvPicPr>
        <p:blipFill>
          <a:blip r:embed="rId15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92" name="Google Shape;92;p16"/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ru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lang="en-US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	</a:t>
            </a:r>
            <a:endParaRPr sz="600" dirty="0">
              <a:solidFill>
                <a:srgbClr val="999999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B583E9BA-A9A7-42B8-9BEA-1DA7C74E51F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aturation sat="2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070260" y="1978088"/>
            <a:ext cx="1043845" cy="1309925"/>
          </a:xfrm>
          <a:prstGeom prst="rect">
            <a:avLst/>
          </a:prstGeom>
        </p:spPr>
      </p:pic>
      <p:sp>
        <p:nvSpPr>
          <p:cNvPr id="28" name="Google Shape;56;p13">
            <a:extLst>
              <a:ext uri="{FF2B5EF4-FFF2-40B4-BE49-F238E27FC236}">
                <a16:creationId xmlns:a16="http://schemas.microsoft.com/office/drawing/2014/main" id="{7F4FD95A-3C23-4D5D-8E47-DB215B8E9C73}"/>
              </a:ext>
            </a:extLst>
          </p:cNvPr>
          <p:cNvSpPr txBox="1"/>
          <p:nvPr/>
        </p:nvSpPr>
        <p:spPr>
          <a:xfrm>
            <a:off x="0" y="182913"/>
            <a:ext cx="9143996" cy="72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 b="1" dirty="0">
                <a:solidFill>
                  <a:schemeClr val="tx1"/>
                </a:solidFill>
                <a:latin typeface="Century Gothic" panose="020B0502020202020204" pitchFamily="34" charset="0"/>
                <a:ea typeface="Inter"/>
                <a:cs typeface="Inter"/>
                <a:sym typeface="Inter"/>
              </a:rPr>
              <a:t>СТРУКТУРА ГРУППЫ КОМПАНИЙ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2CC7A38D-0052-4811-A98C-42D8847F317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006670" y="390707"/>
            <a:ext cx="1130655" cy="1112089"/>
          </a:xfrm>
          <a:prstGeom prst="rect">
            <a:avLst/>
          </a:prstGeom>
        </p:spPr>
      </p:pic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35556341-CF61-4DC8-93F7-77C20FA70098}"/>
              </a:ext>
            </a:extLst>
          </p:cNvPr>
          <p:cNvGrpSpPr>
            <a:grpSpLocks noChangeAspect="1"/>
          </p:cNvGrpSpPr>
          <p:nvPr/>
        </p:nvGrpSpPr>
        <p:grpSpPr>
          <a:xfrm>
            <a:off x="501202" y="342355"/>
            <a:ext cx="8219616" cy="4396291"/>
            <a:chOff x="4971987" y="2762971"/>
            <a:chExt cx="15138464" cy="7844200"/>
          </a:xfrm>
        </p:grpSpPr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E3E19995-C757-478B-B172-C34FFB96DA66}"/>
                </a:ext>
              </a:extLst>
            </p:cNvPr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 rot="389746">
              <a:off x="6556979" y="6437636"/>
              <a:ext cx="2750610" cy="2494164"/>
            </a:xfrm>
            <a:custGeom>
              <a:avLst/>
              <a:gdLst>
                <a:gd name="T0" fmla="*/ 2147483647 w 1000"/>
                <a:gd name="T1" fmla="*/ 2147483647 h 989"/>
                <a:gd name="T2" fmla="*/ 2147483647 w 1000"/>
                <a:gd name="T3" fmla="*/ 2147483647 h 989"/>
                <a:gd name="T4" fmla="*/ 2147483647 w 1000"/>
                <a:gd name="T5" fmla="*/ 2147483647 h 989"/>
                <a:gd name="T6" fmla="*/ 2147483647 w 1000"/>
                <a:gd name="T7" fmla="*/ 2147483647 h 989"/>
                <a:gd name="T8" fmla="*/ 2147483647 w 1000"/>
                <a:gd name="T9" fmla="*/ 2147483647 h 989"/>
                <a:gd name="T10" fmla="*/ 2147483647 w 1000"/>
                <a:gd name="T11" fmla="*/ 2147483647 h 989"/>
                <a:gd name="T12" fmla="*/ 2147483647 w 1000"/>
                <a:gd name="T13" fmla="*/ 2147483647 h 989"/>
                <a:gd name="T14" fmla="*/ 2147483647 w 1000"/>
                <a:gd name="T15" fmla="*/ 2147483647 h 989"/>
                <a:gd name="T16" fmla="*/ 2147483647 w 1000"/>
                <a:gd name="T17" fmla="*/ 2147483647 h 989"/>
                <a:gd name="T18" fmla="*/ 2147483647 w 1000"/>
                <a:gd name="T19" fmla="*/ 2147483647 h 989"/>
                <a:gd name="T20" fmla="*/ 2147483647 w 1000"/>
                <a:gd name="T21" fmla="*/ 2147483647 h 989"/>
                <a:gd name="T22" fmla="*/ 2147483647 w 1000"/>
                <a:gd name="T23" fmla="*/ 2147483647 h 989"/>
                <a:gd name="T24" fmla="*/ 2147483647 w 1000"/>
                <a:gd name="T25" fmla="*/ 2147483647 h 989"/>
                <a:gd name="T26" fmla="*/ 2147483647 w 1000"/>
                <a:gd name="T27" fmla="*/ 2147483647 h 989"/>
                <a:gd name="T28" fmla="*/ 2147483647 w 1000"/>
                <a:gd name="T29" fmla="*/ 2147483647 h 989"/>
                <a:gd name="T30" fmla="*/ 2147483647 w 1000"/>
                <a:gd name="T31" fmla="*/ 2147483647 h 989"/>
                <a:gd name="T32" fmla="*/ 2147483647 w 1000"/>
                <a:gd name="T33" fmla="*/ 2147483647 h 989"/>
                <a:gd name="T34" fmla="*/ 2147483647 w 1000"/>
                <a:gd name="T35" fmla="*/ 2147483647 h 989"/>
                <a:gd name="T36" fmla="*/ 2147483647 w 1000"/>
                <a:gd name="T37" fmla="*/ 2147483647 h 989"/>
                <a:gd name="T38" fmla="*/ 2147483647 w 1000"/>
                <a:gd name="T39" fmla="*/ 2147483647 h 989"/>
                <a:gd name="T40" fmla="*/ 2147483647 w 1000"/>
                <a:gd name="T41" fmla="*/ 2147483647 h 989"/>
                <a:gd name="T42" fmla="*/ 2147483647 w 1000"/>
                <a:gd name="T43" fmla="*/ 2147483647 h 989"/>
                <a:gd name="T44" fmla="*/ 2147483647 w 1000"/>
                <a:gd name="T45" fmla="*/ 2147483647 h 989"/>
                <a:gd name="T46" fmla="*/ 2147483647 w 1000"/>
                <a:gd name="T47" fmla="*/ 2147483647 h 989"/>
                <a:gd name="T48" fmla="*/ 2147483647 w 1000"/>
                <a:gd name="T49" fmla="*/ 2147483647 h 989"/>
                <a:gd name="T50" fmla="*/ 2147483647 w 1000"/>
                <a:gd name="T51" fmla="*/ 2147483647 h 989"/>
                <a:gd name="T52" fmla="*/ 2147483647 w 1000"/>
                <a:gd name="T53" fmla="*/ 2147483647 h 989"/>
                <a:gd name="T54" fmla="*/ 2147483647 w 1000"/>
                <a:gd name="T55" fmla="*/ 2147483647 h 989"/>
                <a:gd name="T56" fmla="*/ 2147483647 w 1000"/>
                <a:gd name="T57" fmla="*/ 2147483647 h 989"/>
                <a:gd name="T58" fmla="*/ 2147483647 w 1000"/>
                <a:gd name="T59" fmla="*/ 2147483647 h 989"/>
                <a:gd name="T60" fmla="*/ 2147483647 w 1000"/>
                <a:gd name="T61" fmla="*/ 2147483647 h 989"/>
                <a:gd name="T62" fmla="*/ 2147483647 w 1000"/>
                <a:gd name="T63" fmla="*/ 2147483647 h 989"/>
                <a:gd name="T64" fmla="*/ 2147483647 w 1000"/>
                <a:gd name="T65" fmla="*/ 2147483647 h 989"/>
                <a:gd name="T66" fmla="*/ 2147483647 w 1000"/>
                <a:gd name="T67" fmla="*/ 2147483647 h 989"/>
                <a:gd name="T68" fmla="*/ 2147483647 w 1000"/>
                <a:gd name="T69" fmla="*/ 2147483647 h 989"/>
                <a:gd name="T70" fmla="*/ 2147483647 w 1000"/>
                <a:gd name="T71" fmla="*/ 2147483647 h 989"/>
                <a:gd name="T72" fmla="*/ 2147483647 w 1000"/>
                <a:gd name="T73" fmla="*/ 2147483647 h 989"/>
                <a:gd name="T74" fmla="*/ 2147483647 w 1000"/>
                <a:gd name="T75" fmla="*/ 2147483647 h 989"/>
                <a:gd name="T76" fmla="*/ 2147483647 w 1000"/>
                <a:gd name="T77" fmla="*/ 2147483647 h 989"/>
                <a:gd name="T78" fmla="*/ 2147483647 w 1000"/>
                <a:gd name="T79" fmla="*/ 2147483647 h 989"/>
                <a:gd name="T80" fmla="*/ 2147483647 w 1000"/>
                <a:gd name="T81" fmla="*/ 2147483647 h 989"/>
                <a:gd name="T82" fmla="*/ 2147483647 w 1000"/>
                <a:gd name="T83" fmla="*/ 2147483647 h 989"/>
                <a:gd name="T84" fmla="*/ 2147483647 w 1000"/>
                <a:gd name="T85" fmla="*/ 2147483647 h 989"/>
                <a:gd name="T86" fmla="*/ 2147483647 w 1000"/>
                <a:gd name="T87" fmla="*/ 2147483647 h 989"/>
                <a:gd name="T88" fmla="*/ 2147483647 w 1000"/>
                <a:gd name="T89" fmla="*/ 2147483647 h 989"/>
                <a:gd name="T90" fmla="*/ 2147483647 w 1000"/>
                <a:gd name="T91" fmla="*/ 2147483647 h 989"/>
                <a:gd name="T92" fmla="*/ 2147483647 w 1000"/>
                <a:gd name="T93" fmla="*/ 2147483647 h 989"/>
                <a:gd name="T94" fmla="*/ 2147483647 w 1000"/>
                <a:gd name="T95" fmla="*/ 2147483647 h 989"/>
                <a:gd name="T96" fmla="*/ 2147483647 w 1000"/>
                <a:gd name="T97" fmla="*/ 2147483647 h 989"/>
                <a:gd name="T98" fmla="*/ 2147483647 w 1000"/>
                <a:gd name="T99" fmla="*/ 2147483647 h 989"/>
                <a:gd name="T100" fmla="*/ 2147483647 w 1000"/>
                <a:gd name="T101" fmla="*/ 2147483647 h 989"/>
                <a:gd name="T102" fmla="*/ 2147483647 w 1000"/>
                <a:gd name="T103" fmla="*/ 2147483647 h 989"/>
                <a:gd name="T104" fmla="*/ 2147483647 w 1000"/>
                <a:gd name="T105" fmla="*/ 2147483647 h 989"/>
                <a:gd name="T106" fmla="*/ 2147483647 w 1000"/>
                <a:gd name="T107" fmla="*/ 2147483647 h 989"/>
                <a:gd name="T108" fmla="*/ 2147483647 w 1000"/>
                <a:gd name="T109" fmla="*/ 2147483647 h 989"/>
                <a:gd name="T110" fmla="*/ 2147483647 w 1000"/>
                <a:gd name="T111" fmla="*/ 2147483647 h 989"/>
                <a:gd name="T112" fmla="*/ 2147483647 w 1000"/>
                <a:gd name="T113" fmla="*/ 2147483647 h 989"/>
                <a:gd name="T114" fmla="*/ 2147483647 w 1000"/>
                <a:gd name="T115" fmla="*/ 2147483647 h 989"/>
                <a:gd name="T116" fmla="*/ 2147483647 w 1000"/>
                <a:gd name="T117" fmla="*/ 2147483647 h 989"/>
                <a:gd name="T118" fmla="*/ 2147483647 w 1000"/>
                <a:gd name="T119" fmla="*/ 2147483647 h 989"/>
                <a:gd name="T120" fmla="*/ 2147483647 w 1000"/>
                <a:gd name="T121" fmla="*/ 2147483647 h 989"/>
                <a:gd name="T122" fmla="*/ 2147483647 w 1000"/>
                <a:gd name="T123" fmla="*/ 2147483647 h 98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00"/>
                <a:gd name="T187" fmla="*/ 0 h 989"/>
                <a:gd name="T188" fmla="*/ 1000 w 1000"/>
                <a:gd name="T189" fmla="*/ 989 h 98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00" h="989">
                  <a:moveTo>
                    <a:pt x="324" y="692"/>
                  </a:moveTo>
                  <a:lnTo>
                    <a:pt x="327" y="694"/>
                  </a:lnTo>
                  <a:lnTo>
                    <a:pt x="330" y="694"/>
                  </a:lnTo>
                  <a:lnTo>
                    <a:pt x="333" y="697"/>
                  </a:lnTo>
                  <a:lnTo>
                    <a:pt x="335" y="698"/>
                  </a:lnTo>
                  <a:lnTo>
                    <a:pt x="338" y="703"/>
                  </a:lnTo>
                  <a:lnTo>
                    <a:pt x="341" y="709"/>
                  </a:lnTo>
                  <a:lnTo>
                    <a:pt x="343" y="713"/>
                  </a:lnTo>
                  <a:lnTo>
                    <a:pt x="344" y="714"/>
                  </a:lnTo>
                  <a:lnTo>
                    <a:pt x="346" y="716"/>
                  </a:lnTo>
                  <a:lnTo>
                    <a:pt x="347" y="717"/>
                  </a:lnTo>
                  <a:lnTo>
                    <a:pt x="350" y="719"/>
                  </a:lnTo>
                  <a:lnTo>
                    <a:pt x="354" y="722"/>
                  </a:lnTo>
                  <a:lnTo>
                    <a:pt x="357" y="722"/>
                  </a:lnTo>
                  <a:lnTo>
                    <a:pt x="361" y="722"/>
                  </a:lnTo>
                  <a:lnTo>
                    <a:pt x="368" y="722"/>
                  </a:lnTo>
                  <a:lnTo>
                    <a:pt x="374" y="720"/>
                  </a:lnTo>
                  <a:lnTo>
                    <a:pt x="376" y="720"/>
                  </a:lnTo>
                  <a:lnTo>
                    <a:pt x="379" y="720"/>
                  </a:lnTo>
                  <a:lnTo>
                    <a:pt x="380" y="722"/>
                  </a:lnTo>
                  <a:lnTo>
                    <a:pt x="384" y="722"/>
                  </a:lnTo>
                  <a:lnTo>
                    <a:pt x="385" y="724"/>
                  </a:lnTo>
                  <a:lnTo>
                    <a:pt x="387" y="725"/>
                  </a:lnTo>
                  <a:lnTo>
                    <a:pt x="387" y="727"/>
                  </a:lnTo>
                  <a:lnTo>
                    <a:pt x="388" y="727"/>
                  </a:lnTo>
                  <a:lnTo>
                    <a:pt x="388" y="731"/>
                  </a:lnTo>
                  <a:lnTo>
                    <a:pt x="388" y="735"/>
                  </a:lnTo>
                  <a:lnTo>
                    <a:pt x="388" y="739"/>
                  </a:lnTo>
                  <a:lnTo>
                    <a:pt x="388" y="744"/>
                  </a:lnTo>
                  <a:lnTo>
                    <a:pt x="388" y="747"/>
                  </a:lnTo>
                  <a:lnTo>
                    <a:pt x="388" y="750"/>
                  </a:lnTo>
                  <a:lnTo>
                    <a:pt x="388" y="752"/>
                  </a:lnTo>
                  <a:lnTo>
                    <a:pt x="390" y="754"/>
                  </a:lnTo>
                  <a:lnTo>
                    <a:pt x="393" y="755"/>
                  </a:lnTo>
                  <a:lnTo>
                    <a:pt x="395" y="755"/>
                  </a:lnTo>
                  <a:lnTo>
                    <a:pt x="401" y="758"/>
                  </a:lnTo>
                  <a:lnTo>
                    <a:pt x="406" y="760"/>
                  </a:lnTo>
                  <a:lnTo>
                    <a:pt x="409" y="760"/>
                  </a:lnTo>
                  <a:lnTo>
                    <a:pt x="412" y="761"/>
                  </a:lnTo>
                  <a:lnTo>
                    <a:pt x="415" y="763"/>
                  </a:lnTo>
                  <a:lnTo>
                    <a:pt x="417" y="765"/>
                  </a:lnTo>
                  <a:lnTo>
                    <a:pt x="418" y="766"/>
                  </a:lnTo>
                  <a:lnTo>
                    <a:pt x="420" y="768"/>
                  </a:lnTo>
                  <a:lnTo>
                    <a:pt x="422" y="771"/>
                  </a:lnTo>
                  <a:lnTo>
                    <a:pt x="422" y="774"/>
                  </a:lnTo>
                  <a:lnTo>
                    <a:pt x="422" y="780"/>
                  </a:lnTo>
                  <a:lnTo>
                    <a:pt x="423" y="790"/>
                  </a:lnTo>
                  <a:lnTo>
                    <a:pt x="426" y="799"/>
                  </a:lnTo>
                  <a:lnTo>
                    <a:pt x="428" y="809"/>
                  </a:lnTo>
                  <a:lnTo>
                    <a:pt x="429" y="812"/>
                  </a:lnTo>
                  <a:lnTo>
                    <a:pt x="431" y="817"/>
                  </a:lnTo>
                  <a:lnTo>
                    <a:pt x="434" y="821"/>
                  </a:lnTo>
                  <a:lnTo>
                    <a:pt x="436" y="825"/>
                  </a:lnTo>
                  <a:lnTo>
                    <a:pt x="437" y="829"/>
                  </a:lnTo>
                  <a:lnTo>
                    <a:pt x="440" y="832"/>
                  </a:lnTo>
                  <a:lnTo>
                    <a:pt x="444" y="834"/>
                  </a:lnTo>
                  <a:lnTo>
                    <a:pt x="445" y="837"/>
                  </a:lnTo>
                  <a:lnTo>
                    <a:pt x="450" y="837"/>
                  </a:lnTo>
                  <a:lnTo>
                    <a:pt x="455" y="839"/>
                  </a:lnTo>
                  <a:lnTo>
                    <a:pt x="456" y="840"/>
                  </a:lnTo>
                  <a:lnTo>
                    <a:pt x="458" y="840"/>
                  </a:lnTo>
                  <a:lnTo>
                    <a:pt x="458" y="842"/>
                  </a:lnTo>
                  <a:lnTo>
                    <a:pt x="459" y="842"/>
                  </a:lnTo>
                  <a:lnTo>
                    <a:pt x="461" y="845"/>
                  </a:lnTo>
                  <a:lnTo>
                    <a:pt x="463" y="848"/>
                  </a:lnTo>
                  <a:lnTo>
                    <a:pt x="463" y="851"/>
                  </a:lnTo>
                  <a:lnTo>
                    <a:pt x="463" y="855"/>
                  </a:lnTo>
                  <a:lnTo>
                    <a:pt x="463" y="858"/>
                  </a:lnTo>
                  <a:lnTo>
                    <a:pt x="464" y="859"/>
                  </a:lnTo>
                  <a:lnTo>
                    <a:pt x="466" y="862"/>
                  </a:lnTo>
                  <a:lnTo>
                    <a:pt x="466" y="866"/>
                  </a:lnTo>
                  <a:lnTo>
                    <a:pt x="467" y="867"/>
                  </a:lnTo>
                  <a:lnTo>
                    <a:pt x="469" y="870"/>
                  </a:lnTo>
                  <a:lnTo>
                    <a:pt x="470" y="872"/>
                  </a:lnTo>
                  <a:lnTo>
                    <a:pt x="472" y="873"/>
                  </a:lnTo>
                  <a:lnTo>
                    <a:pt x="475" y="875"/>
                  </a:lnTo>
                  <a:lnTo>
                    <a:pt x="477" y="877"/>
                  </a:lnTo>
                  <a:lnTo>
                    <a:pt x="480" y="878"/>
                  </a:lnTo>
                  <a:lnTo>
                    <a:pt x="482" y="880"/>
                  </a:lnTo>
                  <a:lnTo>
                    <a:pt x="485" y="880"/>
                  </a:lnTo>
                  <a:lnTo>
                    <a:pt x="488" y="880"/>
                  </a:lnTo>
                  <a:lnTo>
                    <a:pt x="491" y="880"/>
                  </a:lnTo>
                  <a:lnTo>
                    <a:pt x="493" y="880"/>
                  </a:lnTo>
                  <a:lnTo>
                    <a:pt x="499" y="880"/>
                  </a:lnTo>
                  <a:lnTo>
                    <a:pt x="504" y="880"/>
                  </a:lnTo>
                  <a:lnTo>
                    <a:pt x="508" y="878"/>
                  </a:lnTo>
                  <a:lnTo>
                    <a:pt x="513" y="875"/>
                  </a:lnTo>
                  <a:lnTo>
                    <a:pt x="519" y="873"/>
                  </a:lnTo>
                  <a:lnTo>
                    <a:pt x="524" y="872"/>
                  </a:lnTo>
                  <a:lnTo>
                    <a:pt x="526" y="870"/>
                  </a:lnTo>
                  <a:lnTo>
                    <a:pt x="529" y="870"/>
                  </a:lnTo>
                  <a:lnTo>
                    <a:pt x="532" y="870"/>
                  </a:lnTo>
                  <a:lnTo>
                    <a:pt x="535" y="870"/>
                  </a:lnTo>
                  <a:lnTo>
                    <a:pt x="540" y="870"/>
                  </a:lnTo>
                  <a:lnTo>
                    <a:pt x="545" y="870"/>
                  </a:lnTo>
                  <a:lnTo>
                    <a:pt x="548" y="872"/>
                  </a:lnTo>
                  <a:lnTo>
                    <a:pt x="549" y="873"/>
                  </a:lnTo>
                  <a:lnTo>
                    <a:pt x="553" y="875"/>
                  </a:lnTo>
                  <a:lnTo>
                    <a:pt x="554" y="878"/>
                  </a:lnTo>
                  <a:lnTo>
                    <a:pt x="556" y="880"/>
                  </a:lnTo>
                  <a:lnTo>
                    <a:pt x="557" y="883"/>
                  </a:lnTo>
                  <a:lnTo>
                    <a:pt x="561" y="888"/>
                  </a:lnTo>
                  <a:lnTo>
                    <a:pt x="564" y="894"/>
                  </a:lnTo>
                  <a:lnTo>
                    <a:pt x="565" y="896"/>
                  </a:lnTo>
                  <a:lnTo>
                    <a:pt x="567" y="899"/>
                  </a:lnTo>
                  <a:lnTo>
                    <a:pt x="570" y="900"/>
                  </a:lnTo>
                  <a:lnTo>
                    <a:pt x="573" y="902"/>
                  </a:lnTo>
                  <a:lnTo>
                    <a:pt x="605" y="902"/>
                  </a:lnTo>
                  <a:lnTo>
                    <a:pt x="606" y="903"/>
                  </a:lnTo>
                  <a:lnTo>
                    <a:pt x="608" y="907"/>
                  </a:lnTo>
                  <a:lnTo>
                    <a:pt x="610" y="907"/>
                  </a:lnTo>
                  <a:lnTo>
                    <a:pt x="611" y="910"/>
                  </a:lnTo>
                  <a:lnTo>
                    <a:pt x="614" y="914"/>
                  </a:lnTo>
                  <a:lnTo>
                    <a:pt x="616" y="919"/>
                  </a:lnTo>
                  <a:lnTo>
                    <a:pt x="621" y="930"/>
                  </a:lnTo>
                  <a:lnTo>
                    <a:pt x="624" y="941"/>
                  </a:lnTo>
                  <a:lnTo>
                    <a:pt x="625" y="948"/>
                  </a:lnTo>
                  <a:lnTo>
                    <a:pt x="628" y="952"/>
                  </a:lnTo>
                  <a:lnTo>
                    <a:pt x="632" y="957"/>
                  </a:lnTo>
                  <a:lnTo>
                    <a:pt x="633" y="960"/>
                  </a:lnTo>
                  <a:lnTo>
                    <a:pt x="636" y="962"/>
                  </a:lnTo>
                  <a:lnTo>
                    <a:pt x="636" y="965"/>
                  </a:lnTo>
                  <a:lnTo>
                    <a:pt x="640" y="965"/>
                  </a:lnTo>
                  <a:lnTo>
                    <a:pt x="641" y="967"/>
                  </a:lnTo>
                  <a:lnTo>
                    <a:pt x="644" y="968"/>
                  </a:lnTo>
                  <a:lnTo>
                    <a:pt x="647" y="968"/>
                  </a:lnTo>
                  <a:lnTo>
                    <a:pt x="649" y="968"/>
                  </a:lnTo>
                  <a:lnTo>
                    <a:pt x="654" y="970"/>
                  </a:lnTo>
                  <a:lnTo>
                    <a:pt x="657" y="968"/>
                  </a:lnTo>
                  <a:lnTo>
                    <a:pt x="658" y="968"/>
                  </a:lnTo>
                  <a:lnTo>
                    <a:pt x="662" y="967"/>
                  </a:lnTo>
                  <a:lnTo>
                    <a:pt x="663" y="965"/>
                  </a:lnTo>
                  <a:lnTo>
                    <a:pt x="665" y="963"/>
                  </a:lnTo>
                  <a:lnTo>
                    <a:pt x="668" y="962"/>
                  </a:lnTo>
                  <a:lnTo>
                    <a:pt x="671" y="962"/>
                  </a:lnTo>
                  <a:lnTo>
                    <a:pt x="674" y="962"/>
                  </a:lnTo>
                  <a:lnTo>
                    <a:pt x="677" y="962"/>
                  </a:lnTo>
                  <a:lnTo>
                    <a:pt x="681" y="962"/>
                  </a:lnTo>
                  <a:lnTo>
                    <a:pt x="682" y="965"/>
                  </a:lnTo>
                  <a:lnTo>
                    <a:pt x="684" y="965"/>
                  </a:lnTo>
                  <a:lnTo>
                    <a:pt x="689" y="970"/>
                  </a:lnTo>
                  <a:lnTo>
                    <a:pt x="690" y="974"/>
                  </a:lnTo>
                  <a:lnTo>
                    <a:pt x="695" y="981"/>
                  </a:lnTo>
                  <a:lnTo>
                    <a:pt x="698" y="985"/>
                  </a:lnTo>
                  <a:lnTo>
                    <a:pt x="701" y="987"/>
                  </a:lnTo>
                  <a:lnTo>
                    <a:pt x="703" y="987"/>
                  </a:lnTo>
                  <a:lnTo>
                    <a:pt x="706" y="989"/>
                  </a:lnTo>
                  <a:lnTo>
                    <a:pt x="709" y="989"/>
                  </a:lnTo>
                  <a:lnTo>
                    <a:pt x="715" y="989"/>
                  </a:lnTo>
                  <a:lnTo>
                    <a:pt x="722" y="989"/>
                  </a:lnTo>
                  <a:lnTo>
                    <a:pt x="726" y="987"/>
                  </a:lnTo>
                  <a:lnTo>
                    <a:pt x="730" y="987"/>
                  </a:lnTo>
                  <a:lnTo>
                    <a:pt x="734" y="985"/>
                  </a:lnTo>
                  <a:lnTo>
                    <a:pt x="737" y="985"/>
                  </a:lnTo>
                  <a:lnTo>
                    <a:pt x="742" y="982"/>
                  </a:lnTo>
                  <a:lnTo>
                    <a:pt x="744" y="981"/>
                  </a:lnTo>
                  <a:lnTo>
                    <a:pt x="749" y="979"/>
                  </a:lnTo>
                  <a:lnTo>
                    <a:pt x="750" y="976"/>
                  </a:lnTo>
                  <a:lnTo>
                    <a:pt x="753" y="973"/>
                  </a:lnTo>
                  <a:lnTo>
                    <a:pt x="755" y="970"/>
                  </a:lnTo>
                  <a:lnTo>
                    <a:pt x="756" y="968"/>
                  </a:lnTo>
                  <a:lnTo>
                    <a:pt x="758" y="963"/>
                  </a:lnTo>
                  <a:lnTo>
                    <a:pt x="760" y="960"/>
                  </a:lnTo>
                  <a:lnTo>
                    <a:pt x="763" y="955"/>
                  </a:lnTo>
                  <a:lnTo>
                    <a:pt x="763" y="952"/>
                  </a:lnTo>
                  <a:lnTo>
                    <a:pt x="761" y="949"/>
                  </a:lnTo>
                  <a:lnTo>
                    <a:pt x="760" y="948"/>
                  </a:lnTo>
                  <a:lnTo>
                    <a:pt x="760" y="944"/>
                  </a:lnTo>
                  <a:lnTo>
                    <a:pt x="758" y="943"/>
                  </a:lnTo>
                  <a:lnTo>
                    <a:pt x="756" y="941"/>
                  </a:lnTo>
                  <a:lnTo>
                    <a:pt x="755" y="940"/>
                  </a:lnTo>
                  <a:lnTo>
                    <a:pt x="753" y="940"/>
                  </a:lnTo>
                  <a:lnTo>
                    <a:pt x="749" y="938"/>
                  </a:lnTo>
                  <a:lnTo>
                    <a:pt x="745" y="937"/>
                  </a:lnTo>
                  <a:lnTo>
                    <a:pt x="744" y="935"/>
                  </a:lnTo>
                  <a:lnTo>
                    <a:pt x="742" y="933"/>
                  </a:lnTo>
                  <a:lnTo>
                    <a:pt x="741" y="933"/>
                  </a:lnTo>
                  <a:lnTo>
                    <a:pt x="739" y="932"/>
                  </a:lnTo>
                  <a:lnTo>
                    <a:pt x="739" y="930"/>
                  </a:lnTo>
                  <a:lnTo>
                    <a:pt x="739" y="929"/>
                  </a:lnTo>
                  <a:lnTo>
                    <a:pt x="739" y="927"/>
                  </a:lnTo>
                  <a:lnTo>
                    <a:pt x="739" y="924"/>
                  </a:lnTo>
                  <a:lnTo>
                    <a:pt x="739" y="921"/>
                  </a:lnTo>
                  <a:lnTo>
                    <a:pt x="739" y="919"/>
                  </a:lnTo>
                  <a:lnTo>
                    <a:pt x="737" y="919"/>
                  </a:lnTo>
                  <a:lnTo>
                    <a:pt x="736" y="918"/>
                  </a:lnTo>
                  <a:lnTo>
                    <a:pt x="736" y="916"/>
                  </a:lnTo>
                  <a:lnTo>
                    <a:pt x="734" y="916"/>
                  </a:lnTo>
                  <a:lnTo>
                    <a:pt x="731" y="914"/>
                  </a:lnTo>
                  <a:lnTo>
                    <a:pt x="728" y="913"/>
                  </a:lnTo>
                  <a:lnTo>
                    <a:pt x="726" y="911"/>
                  </a:lnTo>
                  <a:lnTo>
                    <a:pt x="723" y="911"/>
                  </a:lnTo>
                  <a:lnTo>
                    <a:pt x="722" y="910"/>
                  </a:lnTo>
                  <a:lnTo>
                    <a:pt x="722" y="908"/>
                  </a:lnTo>
                  <a:lnTo>
                    <a:pt x="722" y="907"/>
                  </a:lnTo>
                  <a:lnTo>
                    <a:pt x="723" y="902"/>
                  </a:lnTo>
                  <a:lnTo>
                    <a:pt x="726" y="896"/>
                  </a:lnTo>
                  <a:lnTo>
                    <a:pt x="726" y="894"/>
                  </a:lnTo>
                  <a:lnTo>
                    <a:pt x="726" y="892"/>
                  </a:lnTo>
                  <a:lnTo>
                    <a:pt x="726" y="891"/>
                  </a:lnTo>
                  <a:lnTo>
                    <a:pt x="725" y="889"/>
                  </a:lnTo>
                  <a:lnTo>
                    <a:pt x="723" y="888"/>
                  </a:lnTo>
                  <a:lnTo>
                    <a:pt x="722" y="886"/>
                  </a:lnTo>
                  <a:lnTo>
                    <a:pt x="719" y="884"/>
                  </a:lnTo>
                  <a:lnTo>
                    <a:pt x="717" y="883"/>
                  </a:lnTo>
                  <a:lnTo>
                    <a:pt x="715" y="881"/>
                  </a:lnTo>
                  <a:lnTo>
                    <a:pt x="715" y="880"/>
                  </a:lnTo>
                  <a:lnTo>
                    <a:pt x="715" y="878"/>
                  </a:lnTo>
                  <a:lnTo>
                    <a:pt x="717" y="866"/>
                  </a:lnTo>
                  <a:lnTo>
                    <a:pt x="722" y="859"/>
                  </a:lnTo>
                  <a:lnTo>
                    <a:pt x="726" y="855"/>
                  </a:lnTo>
                  <a:lnTo>
                    <a:pt x="731" y="850"/>
                  </a:lnTo>
                  <a:lnTo>
                    <a:pt x="734" y="847"/>
                  </a:lnTo>
                  <a:lnTo>
                    <a:pt x="734" y="845"/>
                  </a:lnTo>
                  <a:lnTo>
                    <a:pt x="733" y="842"/>
                  </a:lnTo>
                  <a:lnTo>
                    <a:pt x="731" y="840"/>
                  </a:lnTo>
                  <a:lnTo>
                    <a:pt x="730" y="839"/>
                  </a:lnTo>
                  <a:lnTo>
                    <a:pt x="728" y="837"/>
                  </a:lnTo>
                  <a:lnTo>
                    <a:pt x="726" y="834"/>
                  </a:lnTo>
                  <a:lnTo>
                    <a:pt x="723" y="834"/>
                  </a:lnTo>
                  <a:lnTo>
                    <a:pt x="722" y="832"/>
                  </a:lnTo>
                  <a:lnTo>
                    <a:pt x="717" y="829"/>
                  </a:lnTo>
                  <a:lnTo>
                    <a:pt x="714" y="829"/>
                  </a:lnTo>
                  <a:lnTo>
                    <a:pt x="707" y="826"/>
                  </a:lnTo>
                  <a:lnTo>
                    <a:pt x="706" y="826"/>
                  </a:lnTo>
                  <a:lnTo>
                    <a:pt x="703" y="826"/>
                  </a:lnTo>
                  <a:lnTo>
                    <a:pt x="698" y="826"/>
                  </a:lnTo>
                  <a:lnTo>
                    <a:pt x="695" y="826"/>
                  </a:lnTo>
                  <a:lnTo>
                    <a:pt x="693" y="826"/>
                  </a:lnTo>
                  <a:lnTo>
                    <a:pt x="689" y="826"/>
                  </a:lnTo>
                  <a:lnTo>
                    <a:pt x="685" y="826"/>
                  </a:lnTo>
                  <a:lnTo>
                    <a:pt x="682" y="821"/>
                  </a:lnTo>
                  <a:lnTo>
                    <a:pt x="682" y="815"/>
                  </a:lnTo>
                  <a:lnTo>
                    <a:pt x="682" y="812"/>
                  </a:lnTo>
                  <a:lnTo>
                    <a:pt x="682" y="809"/>
                  </a:lnTo>
                  <a:lnTo>
                    <a:pt x="682" y="806"/>
                  </a:lnTo>
                  <a:lnTo>
                    <a:pt x="682" y="804"/>
                  </a:lnTo>
                  <a:lnTo>
                    <a:pt x="685" y="799"/>
                  </a:lnTo>
                  <a:lnTo>
                    <a:pt x="689" y="796"/>
                  </a:lnTo>
                  <a:lnTo>
                    <a:pt x="696" y="788"/>
                  </a:lnTo>
                  <a:lnTo>
                    <a:pt x="704" y="779"/>
                  </a:lnTo>
                  <a:lnTo>
                    <a:pt x="706" y="776"/>
                  </a:lnTo>
                  <a:lnTo>
                    <a:pt x="707" y="772"/>
                  </a:lnTo>
                  <a:lnTo>
                    <a:pt x="709" y="769"/>
                  </a:lnTo>
                  <a:lnTo>
                    <a:pt x="711" y="766"/>
                  </a:lnTo>
                  <a:lnTo>
                    <a:pt x="712" y="761"/>
                  </a:lnTo>
                  <a:lnTo>
                    <a:pt x="714" y="755"/>
                  </a:lnTo>
                  <a:lnTo>
                    <a:pt x="714" y="752"/>
                  </a:lnTo>
                  <a:lnTo>
                    <a:pt x="714" y="747"/>
                  </a:lnTo>
                  <a:lnTo>
                    <a:pt x="715" y="744"/>
                  </a:lnTo>
                  <a:lnTo>
                    <a:pt x="717" y="741"/>
                  </a:lnTo>
                  <a:lnTo>
                    <a:pt x="719" y="738"/>
                  </a:lnTo>
                  <a:lnTo>
                    <a:pt x="720" y="735"/>
                  </a:lnTo>
                  <a:lnTo>
                    <a:pt x="726" y="730"/>
                  </a:lnTo>
                  <a:lnTo>
                    <a:pt x="736" y="722"/>
                  </a:lnTo>
                  <a:lnTo>
                    <a:pt x="742" y="719"/>
                  </a:lnTo>
                  <a:lnTo>
                    <a:pt x="749" y="716"/>
                  </a:lnTo>
                  <a:lnTo>
                    <a:pt x="750" y="714"/>
                  </a:lnTo>
                  <a:lnTo>
                    <a:pt x="753" y="714"/>
                  </a:lnTo>
                  <a:lnTo>
                    <a:pt x="755" y="713"/>
                  </a:lnTo>
                  <a:lnTo>
                    <a:pt x="756" y="713"/>
                  </a:lnTo>
                  <a:lnTo>
                    <a:pt x="758" y="713"/>
                  </a:lnTo>
                  <a:lnTo>
                    <a:pt x="760" y="714"/>
                  </a:lnTo>
                  <a:lnTo>
                    <a:pt x="763" y="714"/>
                  </a:lnTo>
                  <a:lnTo>
                    <a:pt x="766" y="716"/>
                  </a:lnTo>
                  <a:lnTo>
                    <a:pt x="768" y="717"/>
                  </a:lnTo>
                  <a:lnTo>
                    <a:pt x="769" y="717"/>
                  </a:lnTo>
                  <a:lnTo>
                    <a:pt x="771" y="717"/>
                  </a:lnTo>
                  <a:lnTo>
                    <a:pt x="772" y="717"/>
                  </a:lnTo>
                  <a:lnTo>
                    <a:pt x="774" y="716"/>
                  </a:lnTo>
                  <a:lnTo>
                    <a:pt x="775" y="714"/>
                  </a:lnTo>
                  <a:lnTo>
                    <a:pt x="777" y="709"/>
                  </a:lnTo>
                  <a:lnTo>
                    <a:pt x="782" y="703"/>
                  </a:lnTo>
                  <a:lnTo>
                    <a:pt x="786" y="694"/>
                  </a:lnTo>
                  <a:lnTo>
                    <a:pt x="790" y="684"/>
                  </a:lnTo>
                  <a:lnTo>
                    <a:pt x="794" y="676"/>
                  </a:lnTo>
                  <a:lnTo>
                    <a:pt x="798" y="668"/>
                  </a:lnTo>
                  <a:lnTo>
                    <a:pt x="798" y="665"/>
                  </a:lnTo>
                  <a:lnTo>
                    <a:pt x="788" y="665"/>
                  </a:lnTo>
                  <a:lnTo>
                    <a:pt x="785" y="667"/>
                  </a:lnTo>
                  <a:lnTo>
                    <a:pt x="782" y="668"/>
                  </a:lnTo>
                  <a:lnTo>
                    <a:pt x="779" y="668"/>
                  </a:lnTo>
                  <a:lnTo>
                    <a:pt x="775" y="672"/>
                  </a:lnTo>
                  <a:lnTo>
                    <a:pt x="769" y="672"/>
                  </a:lnTo>
                  <a:lnTo>
                    <a:pt x="764" y="673"/>
                  </a:lnTo>
                  <a:lnTo>
                    <a:pt x="760" y="673"/>
                  </a:lnTo>
                  <a:lnTo>
                    <a:pt x="755" y="673"/>
                  </a:lnTo>
                  <a:lnTo>
                    <a:pt x="749" y="673"/>
                  </a:lnTo>
                  <a:lnTo>
                    <a:pt x="747" y="672"/>
                  </a:lnTo>
                  <a:lnTo>
                    <a:pt x="742" y="672"/>
                  </a:lnTo>
                  <a:lnTo>
                    <a:pt x="739" y="668"/>
                  </a:lnTo>
                  <a:lnTo>
                    <a:pt x="736" y="668"/>
                  </a:lnTo>
                  <a:lnTo>
                    <a:pt x="734" y="667"/>
                  </a:lnTo>
                  <a:lnTo>
                    <a:pt x="730" y="665"/>
                  </a:lnTo>
                  <a:lnTo>
                    <a:pt x="726" y="665"/>
                  </a:lnTo>
                  <a:lnTo>
                    <a:pt x="722" y="665"/>
                  </a:lnTo>
                  <a:lnTo>
                    <a:pt x="719" y="665"/>
                  </a:lnTo>
                  <a:lnTo>
                    <a:pt x="715" y="664"/>
                  </a:lnTo>
                  <a:lnTo>
                    <a:pt x="712" y="664"/>
                  </a:lnTo>
                  <a:lnTo>
                    <a:pt x="709" y="661"/>
                  </a:lnTo>
                  <a:lnTo>
                    <a:pt x="706" y="659"/>
                  </a:lnTo>
                  <a:lnTo>
                    <a:pt x="704" y="657"/>
                  </a:lnTo>
                  <a:lnTo>
                    <a:pt x="703" y="654"/>
                  </a:lnTo>
                  <a:lnTo>
                    <a:pt x="701" y="651"/>
                  </a:lnTo>
                  <a:lnTo>
                    <a:pt x="700" y="648"/>
                  </a:lnTo>
                  <a:lnTo>
                    <a:pt x="698" y="645"/>
                  </a:lnTo>
                  <a:lnTo>
                    <a:pt x="698" y="640"/>
                  </a:lnTo>
                  <a:lnTo>
                    <a:pt x="696" y="635"/>
                  </a:lnTo>
                  <a:lnTo>
                    <a:pt x="696" y="632"/>
                  </a:lnTo>
                  <a:lnTo>
                    <a:pt x="696" y="626"/>
                  </a:lnTo>
                  <a:lnTo>
                    <a:pt x="696" y="621"/>
                  </a:lnTo>
                  <a:lnTo>
                    <a:pt x="696" y="618"/>
                  </a:lnTo>
                  <a:lnTo>
                    <a:pt x="696" y="615"/>
                  </a:lnTo>
                  <a:lnTo>
                    <a:pt x="696" y="612"/>
                  </a:lnTo>
                  <a:lnTo>
                    <a:pt x="698" y="610"/>
                  </a:lnTo>
                  <a:lnTo>
                    <a:pt x="698" y="608"/>
                  </a:lnTo>
                  <a:lnTo>
                    <a:pt x="700" y="605"/>
                  </a:lnTo>
                  <a:lnTo>
                    <a:pt x="701" y="605"/>
                  </a:lnTo>
                  <a:lnTo>
                    <a:pt x="703" y="602"/>
                  </a:lnTo>
                  <a:lnTo>
                    <a:pt x="704" y="601"/>
                  </a:lnTo>
                  <a:lnTo>
                    <a:pt x="706" y="599"/>
                  </a:lnTo>
                  <a:lnTo>
                    <a:pt x="707" y="599"/>
                  </a:lnTo>
                  <a:lnTo>
                    <a:pt x="709" y="597"/>
                  </a:lnTo>
                  <a:lnTo>
                    <a:pt x="714" y="597"/>
                  </a:lnTo>
                  <a:lnTo>
                    <a:pt x="720" y="597"/>
                  </a:lnTo>
                  <a:lnTo>
                    <a:pt x="723" y="597"/>
                  </a:lnTo>
                  <a:lnTo>
                    <a:pt x="726" y="597"/>
                  </a:lnTo>
                  <a:lnTo>
                    <a:pt x="730" y="597"/>
                  </a:lnTo>
                  <a:lnTo>
                    <a:pt x="733" y="597"/>
                  </a:lnTo>
                  <a:lnTo>
                    <a:pt x="736" y="599"/>
                  </a:lnTo>
                  <a:lnTo>
                    <a:pt x="737" y="601"/>
                  </a:lnTo>
                  <a:lnTo>
                    <a:pt x="739" y="602"/>
                  </a:lnTo>
                  <a:lnTo>
                    <a:pt x="739" y="605"/>
                  </a:lnTo>
                  <a:lnTo>
                    <a:pt x="739" y="610"/>
                  </a:lnTo>
                  <a:lnTo>
                    <a:pt x="739" y="612"/>
                  </a:lnTo>
                  <a:lnTo>
                    <a:pt x="736" y="613"/>
                  </a:lnTo>
                  <a:lnTo>
                    <a:pt x="734" y="615"/>
                  </a:lnTo>
                  <a:lnTo>
                    <a:pt x="733" y="618"/>
                  </a:lnTo>
                  <a:lnTo>
                    <a:pt x="731" y="619"/>
                  </a:lnTo>
                  <a:lnTo>
                    <a:pt x="730" y="623"/>
                  </a:lnTo>
                  <a:lnTo>
                    <a:pt x="728" y="624"/>
                  </a:lnTo>
                  <a:lnTo>
                    <a:pt x="731" y="626"/>
                  </a:lnTo>
                  <a:lnTo>
                    <a:pt x="733" y="626"/>
                  </a:lnTo>
                  <a:lnTo>
                    <a:pt x="734" y="626"/>
                  </a:lnTo>
                  <a:lnTo>
                    <a:pt x="736" y="626"/>
                  </a:lnTo>
                  <a:lnTo>
                    <a:pt x="741" y="626"/>
                  </a:lnTo>
                  <a:lnTo>
                    <a:pt x="744" y="624"/>
                  </a:lnTo>
                  <a:lnTo>
                    <a:pt x="747" y="629"/>
                  </a:lnTo>
                  <a:lnTo>
                    <a:pt x="749" y="634"/>
                  </a:lnTo>
                  <a:lnTo>
                    <a:pt x="750" y="635"/>
                  </a:lnTo>
                  <a:lnTo>
                    <a:pt x="752" y="638"/>
                  </a:lnTo>
                  <a:lnTo>
                    <a:pt x="753" y="638"/>
                  </a:lnTo>
                  <a:lnTo>
                    <a:pt x="755" y="638"/>
                  </a:lnTo>
                  <a:lnTo>
                    <a:pt x="756" y="640"/>
                  </a:lnTo>
                  <a:lnTo>
                    <a:pt x="758" y="640"/>
                  </a:lnTo>
                  <a:lnTo>
                    <a:pt x="761" y="640"/>
                  </a:lnTo>
                  <a:lnTo>
                    <a:pt x="763" y="638"/>
                  </a:lnTo>
                  <a:lnTo>
                    <a:pt x="764" y="637"/>
                  </a:lnTo>
                  <a:lnTo>
                    <a:pt x="766" y="635"/>
                  </a:lnTo>
                  <a:lnTo>
                    <a:pt x="768" y="634"/>
                  </a:lnTo>
                  <a:lnTo>
                    <a:pt x="768" y="631"/>
                  </a:lnTo>
                  <a:lnTo>
                    <a:pt x="769" y="627"/>
                  </a:lnTo>
                  <a:lnTo>
                    <a:pt x="769" y="624"/>
                  </a:lnTo>
                  <a:lnTo>
                    <a:pt x="779" y="626"/>
                  </a:lnTo>
                  <a:lnTo>
                    <a:pt x="790" y="626"/>
                  </a:lnTo>
                  <a:lnTo>
                    <a:pt x="798" y="626"/>
                  </a:lnTo>
                  <a:lnTo>
                    <a:pt x="802" y="623"/>
                  </a:lnTo>
                  <a:lnTo>
                    <a:pt x="804" y="623"/>
                  </a:lnTo>
                  <a:lnTo>
                    <a:pt x="807" y="623"/>
                  </a:lnTo>
                  <a:lnTo>
                    <a:pt x="809" y="621"/>
                  </a:lnTo>
                  <a:lnTo>
                    <a:pt x="810" y="619"/>
                  </a:lnTo>
                  <a:lnTo>
                    <a:pt x="809" y="615"/>
                  </a:lnTo>
                  <a:lnTo>
                    <a:pt x="805" y="610"/>
                  </a:lnTo>
                  <a:lnTo>
                    <a:pt x="805" y="608"/>
                  </a:lnTo>
                  <a:lnTo>
                    <a:pt x="805" y="605"/>
                  </a:lnTo>
                  <a:lnTo>
                    <a:pt x="805" y="602"/>
                  </a:lnTo>
                  <a:lnTo>
                    <a:pt x="805" y="599"/>
                  </a:lnTo>
                  <a:lnTo>
                    <a:pt x="805" y="593"/>
                  </a:lnTo>
                  <a:lnTo>
                    <a:pt x="805" y="588"/>
                  </a:lnTo>
                  <a:lnTo>
                    <a:pt x="809" y="583"/>
                  </a:lnTo>
                  <a:lnTo>
                    <a:pt x="810" y="580"/>
                  </a:lnTo>
                  <a:lnTo>
                    <a:pt x="812" y="575"/>
                  </a:lnTo>
                  <a:lnTo>
                    <a:pt x="813" y="572"/>
                  </a:lnTo>
                  <a:lnTo>
                    <a:pt x="813" y="567"/>
                  </a:lnTo>
                  <a:lnTo>
                    <a:pt x="813" y="561"/>
                  </a:lnTo>
                  <a:lnTo>
                    <a:pt x="816" y="560"/>
                  </a:lnTo>
                  <a:lnTo>
                    <a:pt x="818" y="560"/>
                  </a:lnTo>
                  <a:lnTo>
                    <a:pt x="816" y="560"/>
                  </a:lnTo>
                  <a:lnTo>
                    <a:pt x="813" y="560"/>
                  </a:lnTo>
                  <a:lnTo>
                    <a:pt x="810" y="561"/>
                  </a:lnTo>
                  <a:lnTo>
                    <a:pt x="809" y="561"/>
                  </a:lnTo>
                  <a:lnTo>
                    <a:pt x="805" y="564"/>
                  </a:lnTo>
                  <a:lnTo>
                    <a:pt x="802" y="564"/>
                  </a:lnTo>
                  <a:lnTo>
                    <a:pt x="799" y="564"/>
                  </a:lnTo>
                  <a:lnTo>
                    <a:pt x="796" y="564"/>
                  </a:lnTo>
                  <a:lnTo>
                    <a:pt x="791" y="563"/>
                  </a:lnTo>
                  <a:lnTo>
                    <a:pt x="788" y="561"/>
                  </a:lnTo>
                  <a:lnTo>
                    <a:pt x="782" y="558"/>
                  </a:lnTo>
                  <a:lnTo>
                    <a:pt x="779" y="556"/>
                  </a:lnTo>
                  <a:lnTo>
                    <a:pt x="774" y="553"/>
                  </a:lnTo>
                  <a:lnTo>
                    <a:pt x="769" y="550"/>
                  </a:lnTo>
                  <a:lnTo>
                    <a:pt x="764" y="547"/>
                  </a:lnTo>
                  <a:lnTo>
                    <a:pt x="761" y="544"/>
                  </a:lnTo>
                  <a:lnTo>
                    <a:pt x="758" y="541"/>
                  </a:lnTo>
                  <a:lnTo>
                    <a:pt x="755" y="536"/>
                  </a:lnTo>
                  <a:lnTo>
                    <a:pt x="752" y="533"/>
                  </a:lnTo>
                  <a:lnTo>
                    <a:pt x="750" y="530"/>
                  </a:lnTo>
                  <a:lnTo>
                    <a:pt x="749" y="526"/>
                  </a:lnTo>
                  <a:lnTo>
                    <a:pt x="749" y="523"/>
                  </a:lnTo>
                  <a:lnTo>
                    <a:pt x="747" y="525"/>
                  </a:lnTo>
                  <a:lnTo>
                    <a:pt x="747" y="526"/>
                  </a:lnTo>
                  <a:lnTo>
                    <a:pt x="747" y="523"/>
                  </a:lnTo>
                  <a:lnTo>
                    <a:pt x="747" y="520"/>
                  </a:lnTo>
                  <a:lnTo>
                    <a:pt x="749" y="519"/>
                  </a:lnTo>
                  <a:lnTo>
                    <a:pt x="749" y="515"/>
                  </a:lnTo>
                  <a:lnTo>
                    <a:pt x="749" y="512"/>
                  </a:lnTo>
                  <a:lnTo>
                    <a:pt x="752" y="504"/>
                  </a:lnTo>
                  <a:lnTo>
                    <a:pt x="755" y="498"/>
                  </a:lnTo>
                  <a:lnTo>
                    <a:pt x="758" y="495"/>
                  </a:lnTo>
                  <a:lnTo>
                    <a:pt x="760" y="492"/>
                  </a:lnTo>
                  <a:lnTo>
                    <a:pt x="763" y="490"/>
                  </a:lnTo>
                  <a:lnTo>
                    <a:pt x="764" y="487"/>
                  </a:lnTo>
                  <a:lnTo>
                    <a:pt x="768" y="484"/>
                  </a:lnTo>
                  <a:lnTo>
                    <a:pt x="769" y="482"/>
                  </a:lnTo>
                  <a:lnTo>
                    <a:pt x="772" y="482"/>
                  </a:lnTo>
                  <a:lnTo>
                    <a:pt x="774" y="481"/>
                  </a:lnTo>
                  <a:lnTo>
                    <a:pt x="777" y="479"/>
                  </a:lnTo>
                  <a:lnTo>
                    <a:pt x="780" y="481"/>
                  </a:lnTo>
                  <a:lnTo>
                    <a:pt x="782" y="481"/>
                  </a:lnTo>
                  <a:lnTo>
                    <a:pt x="785" y="482"/>
                  </a:lnTo>
                  <a:lnTo>
                    <a:pt x="788" y="482"/>
                  </a:lnTo>
                  <a:lnTo>
                    <a:pt x="790" y="482"/>
                  </a:lnTo>
                  <a:lnTo>
                    <a:pt x="793" y="481"/>
                  </a:lnTo>
                  <a:lnTo>
                    <a:pt x="794" y="479"/>
                  </a:lnTo>
                  <a:lnTo>
                    <a:pt x="799" y="470"/>
                  </a:lnTo>
                  <a:lnTo>
                    <a:pt x="805" y="460"/>
                  </a:lnTo>
                  <a:lnTo>
                    <a:pt x="805" y="459"/>
                  </a:lnTo>
                  <a:lnTo>
                    <a:pt x="809" y="457"/>
                  </a:lnTo>
                  <a:lnTo>
                    <a:pt x="810" y="454"/>
                  </a:lnTo>
                  <a:lnTo>
                    <a:pt x="812" y="452"/>
                  </a:lnTo>
                  <a:lnTo>
                    <a:pt x="813" y="451"/>
                  </a:lnTo>
                  <a:lnTo>
                    <a:pt x="816" y="449"/>
                  </a:lnTo>
                  <a:lnTo>
                    <a:pt x="820" y="449"/>
                  </a:lnTo>
                  <a:lnTo>
                    <a:pt x="823" y="449"/>
                  </a:lnTo>
                  <a:lnTo>
                    <a:pt x="828" y="449"/>
                  </a:lnTo>
                  <a:lnTo>
                    <a:pt x="832" y="451"/>
                  </a:lnTo>
                  <a:lnTo>
                    <a:pt x="837" y="451"/>
                  </a:lnTo>
                  <a:lnTo>
                    <a:pt x="839" y="452"/>
                  </a:lnTo>
                  <a:lnTo>
                    <a:pt x="842" y="452"/>
                  </a:lnTo>
                  <a:lnTo>
                    <a:pt x="843" y="451"/>
                  </a:lnTo>
                  <a:lnTo>
                    <a:pt x="847" y="449"/>
                  </a:lnTo>
                  <a:lnTo>
                    <a:pt x="847" y="448"/>
                  </a:lnTo>
                  <a:lnTo>
                    <a:pt x="850" y="443"/>
                  </a:lnTo>
                  <a:lnTo>
                    <a:pt x="850" y="438"/>
                  </a:lnTo>
                  <a:lnTo>
                    <a:pt x="850" y="435"/>
                  </a:lnTo>
                  <a:lnTo>
                    <a:pt x="851" y="432"/>
                  </a:lnTo>
                  <a:lnTo>
                    <a:pt x="851" y="429"/>
                  </a:lnTo>
                  <a:lnTo>
                    <a:pt x="853" y="429"/>
                  </a:lnTo>
                  <a:lnTo>
                    <a:pt x="854" y="425"/>
                  </a:lnTo>
                  <a:lnTo>
                    <a:pt x="856" y="424"/>
                  </a:lnTo>
                  <a:lnTo>
                    <a:pt x="859" y="424"/>
                  </a:lnTo>
                  <a:lnTo>
                    <a:pt x="864" y="422"/>
                  </a:lnTo>
                  <a:lnTo>
                    <a:pt x="870" y="422"/>
                  </a:lnTo>
                  <a:lnTo>
                    <a:pt x="875" y="421"/>
                  </a:lnTo>
                  <a:lnTo>
                    <a:pt x="878" y="421"/>
                  </a:lnTo>
                  <a:lnTo>
                    <a:pt x="881" y="419"/>
                  </a:lnTo>
                  <a:lnTo>
                    <a:pt x="884" y="418"/>
                  </a:lnTo>
                  <a:lnTo>
                    <a:pt x="888" y="416"/>
                  </a:lnTo>
                  <a:lnTo>
                    <a:pt x="891" y="414"/>
                  </a:lnTo>
                  <a:lnTo>
                    <a:pt x="892" y="413"/>
                  </a:lnTo>
                  <a:lnTo>
                    <a:pt x="894" y="410"/>
                  </a:lnTo>
                  <a:lnTo>
                    <a:pt x="895" y="408"/>
                  </a:lnTo>
                  <a:lnTo>
                    <a:pt x="897" y="405"/>
                  </a:lnTo>
                  <a:lnTo>
                    <a:pt x="899" y="403"/>
                  </a:lnTo>
                  <a:lnTo>
                    <a:pt x="899" y="400"/>
                  </a:lnTo>
                  <a:lnTo>
                    <a:pt x="899" y="397"/>
                  </a:lnTo>
                  <a:lnTo>
                    <a:pt x="899" y="394"/>
                  </a:lnTo>
                  <a:lnTo>
                    <a:pt x="897" y="392"/>
                  </a:lnTo>
                  <a:lnTo>
                    <a:pt x="897" y="389"/>
                  </a:lnTo>
                  <a:lnTo>
                    <a:pt x="895" y="388"/>
                  </a:lnTo>
                  <a:lnTo>
                    <a:pt x="894" y="386"/>
                  </a:lnTo>
                  <a:lnTo>
                    <a:pt x="892" y="384"/>
                  </a:lnTo>
                  <a:lnTo>
                    <a:pt x="892" y="381"/>
                  </a:lnTo>
                  <a:lnTo>
                    <a:pt x="892" y="380"/>
                  </a:lnTo>
                  <a:lnTo>
                    <a:pt x="892" y="378"/>
                  </a:lnTo>
                  <a:lnTo>
                    <a:pt x="892" y="377"/>
                  </a:lnTo>
                  <a:lnTo>
                    <a:pt x="892" y="375"/>
                  </a:lnTo>
                  <a:lnTo>
                    <a:pt x="894" y="373"/>
                  </a:lnTo>
                  <a:lnTo>
                    <a:pt x="895" y="370"/>
                  </a:lnTo>
                  <a:lnTo>
                    <a:pt x="897" y="369"/>
                  </a:lnTo>
                  <a:lnTo>
                    <a:pt x="900" y="366"/>
                  </a:lnTo>
                  <a:lnTo>
                    <a:pt x="902" y="364"/>
                  </a:lnTo>
                  <a:lnTo>
                    <a:pt x="903" y="362"/>
                  </a:lnTo>
                  <a:lnTo>
                    <a:pt x="903" y="361"/>
                  </a:lnTo>
                  <a:lnTo>
                    <a:pt x="903" y="359"/>
                  </a:lnTo>
                  <a:lnTo>
                    <a:pt x="903" y="356"/>
                  </a:lnTo>
                  <a:lnTo>
                    <a:pt x="903" y="355"/>
                  </a:lnTo>
                  <a:lnTo>
                    <a:pt x="903" y="353"/>
                  </a:lnTo>
                  <a:lnTo>
                    <a:pt x="903" y="351"/>
                  </a:lnTo>
                  <a:lnTo>
                    <a:pt x="902" y="350"/>
                  </a:lnTo>
                  <a:lnTo>
                    <a:pt x="900" y="347"/>
                  </a:lnTo>
                  <a:lnTo>
                    <a:pt x="897" y="343"/>
                  </a:lnTo>
                  <a:lnTo>
                    <a:pt x="895" y="339"/>
                  </a:lnTo>
                  <a:lnTo>
                    <a:pt x="894" y="334"/>
                  </a:lnTo>
                  <a:lnTo>
                    <a:pt x="892" y="332"/>
                  </a:lnTo>
                  <a:lnTo>
                    <a:pt x="892" y="329"/>
                  </a:lnTo>
                  <a:lnTo>
                    <a:pt x="892" y="326"/>
                  </a:lnTo>
                  <a:lnTo>
                    <a:pt x="892" y="323"/>
                  </a:lnTo>
                  <a:lnTo>
                    <a:pt x="892" y="321"/>
                  </a:lnTo>
                  <a:lnTo>
                    <a:pt x="892" y="317"/>
                  </a:lnTo>
                  <a:lnTo>
                    <a:pt x="895" y="315"/>
                  </a:lnTo>
                  <a:lnTo>
                    <a:pt x="897" y="313"/>
                  </a:lnTo>
                  <a:lnTo>
                    <a:pt x="899" y="310"/>
                  </a:lnTo>
                  <a:lnTo>
                    <a:pt x="902" y="310"/>
                  </a:lnTo>
                  <a:lnTo>
                    <a:pt x="905" y="309"/>
                  </a:lnTo>
                  <a:lnTo>
                    <a:pt x="908" y="307"/>
                  </a:lnTo>
                  <a:lnTo>
                    <a:pt x="913" y="306"/>
                  </a:lnTo>
                  <a:lnTo>
                    <a:pt x="921" y="302"/>
                  </a:lnTo>
                  <a:lnTo>
                    <a:pt x="924" y="302"/>
                  </a:lnTo>
                  <a:lnTo>
                    <a:pt x="926" y="302"/>
                  </a:lnTo>
                  <a:lnTo>
                    <a:pt x="929" y="301"/>
                  </a:lnTo>
                  <a:lnTo>
                    <a:pt x="930" y="299"/>
                  </a:lnTo>
                  <a:lnTo>
                    <a:pt x="937" y="296"/>
                  </a:lnTo>
                  <a:lnTo>
                    <a:pt x="941" y="290"/>
                  </a:lnTo>
                  <a:lnTo>
                    <a:pt x="944" y="285"/>
                  </a:lnTo>
                  <a:lnTo>
                    <a:pt x="949" y="280"/>
                  </a:lnTo>
                  <a:lnTo>
                    <a:pt x="956" y="268"/>
                  </a:lnTo>
                  <a:lnTo>
                    <a:pt x="962" y="255"/>
                  </a:lnTo>
                  <a:lnTo>
                    <a:pt x="967" y="247"/>
                  </a:lnTo>
                  <a:lnTo>
                    <a:pt x="971" y="239"/>
                  </a:lnTo>
                  <a:lnTo>
                    <a:pt x="974" y="230"/>
                  </a:lnTo>
                  <a:lnTo>
                    <a:pt x="979" y="222"/>
                  </a:lnTo>
                  <a:lnTo>
                    <a:pt x="984" y="213"/>
                  </a:lnTo>
                  <a:lnTo>
                    <a:pt x="989" y="203"/>
                  </a:lnTo>
                  <a:lnTo>
                    <a:pt x="992" y="195"/>
                  </a:lnTo>
                  <a:lnTo>
                    <a:pt x="997" y="186"/>
                  </a:lnTo>
                  <a:lnTo>
                    <a:pt x="1000" y="181"/>
                  </a:lnTo>
                  <a:lnTo>
                    <a:pt x="995" y="183"/>
                  </a:lnTo>
                  <a:lnTo>
                    <a:pt x="990" y="183"/>
                  </a:lnTo>
                  <a:lnTo>
                    <a:pt x="986" y="184"/>
                  </a:lnTo>
                  <a:lnTo>
                    <a:pt x="981" y="184"/>
                  </a:lnTo>
                  <a:lnTo>
                    <a:pt x="978" y="184"/>
                  </a:lnTo>
                  <a:lnTo>
                    <a:pt x="973" y="184"/>
                  </a:lnTo>
                  <a:lnTo>
                    <a:pt x="970" y="183"/>
                  </a:lnTo>
                  <a:lnTo>
                    <a:pt x="965" y="183"/>
                  </a:lnTo>
                  <a:lnTo>
                    <a:pt x="959" y="181"/>
                  </a:lnTo>
                  <a:lnTo>
                    <a:pt x="952" y="178"/>
                  </a:lnTo>
                  <a:lnTo>
                    <a:pt x="948" y="176"/>
                  </a:lnTo>
                  <a:lnTo>
                    <a:pt x="941" y="173"/>
                  </a:lnTo>
                  <a:lnTo>
                    <a:pt x="930" y="165"/>
                  </a:lnTo>
                  <a:lnTo>
                    <a:pt x="921" y="160"/>
                  </a:lnTo>
                  <a:lnTo>
                    <a:pt x="914" y="157"/>
                  </a:lnTo>
                  <a:lnTo>
                    <a:pt x="908" y="156"/>
                  </a:lnTo>
                  <a:lnTo>
                    <a:pt x="905" y="154"/>
                  </a:lnTo>
                  <a:lnTo>
                    <a:pt x="903" y="154"/>
                  </a:lnTo>
                  <a:lnTo>
                    <a:pt x="899" y="154"/>
                  </a:lnTo>
                  <a:lnTo>
                    <a:pt x="895" y="154"/>
                  </a:lnTo>
                  <a:lnTo>
                    <a:pt x="892" y="154"/>
                  </a:lnTo>
                  <a:lnTo>
                    <a:pt x="891" y="156"/>
                  </a:lnTo>
                  <a:lnTo>
                    <a:pt x="888" y="156"/>
                  </a:lnTo>
                  <a:lnTo>
                    <a:pt x="884" y="157"/>
                  </a:lnTo>
                  <a:lnTo>
                    <a:pt x="883" y="159"/>
                  </a:lnTo>
                  <a:lnTo>
                    <a:pt x="880" y="160"/>
                  </a:lnTo>
                  <a:lnTo>
                    <a:pt x="877" y="160"/>
                  </a:lnTo>
                  <a:lnTo>
                    <a:pt x="873" y="160"/>
                  </a:lnTo>
                  <a:lnTo>
                    <a:pt x="859" y="160"/>
                  </a:lnTo>
                  <a:lnTo>
                    <a:pt x="847" y="160"/>
                  </a:lnTo>
                  <a:lnTo>
                    <a:pt x="834" y="159"/>
                  </a:lnTo>
                  <a:lnTo>
                    <a:pt x="821" y="159"/>
                  </a:lnTo>
                  <a:lnTo>
                    <a:pt x="821" y="160"/>
                  </a:lnTo>
                  <a:lnTo>
                    <a:pt x="818" y="160"/>
                  </a:lnTo>
                  <a:lnTo>
                    <a:pt x="815" y="160"/>
                  </a:lnTo>
                  <a:lnTo>
                    <a:pt x="812" y="159"/>
                  </a:lnTo>
                  <a:lnTo>
                    <a:pt x="810" y="157"/>
                  </a:lnTo>
                  <a:lnTo>
                    <a:pt x="805" y="154"/>
                  </a:lnTo>
                  <a:lnTo>
                    <a:pt x="802" y="149"/>
                  </a:lnTo>
                  <a:lnTo>
                    <a:pt x="801" y="149"/>
                  </a:lnTo>
                  <a:lnTo>
                    <a:pt x="801" y="148"/>
                  </a:lnTo>
                  <a:lnTo>
                    <a:pt x="798" y="145"/>
                  </a:lnTo>
                  <a:lnTo>
                    <a:pt x="798" y="143"/>
                  </a:lnTo>
                  <a:lnTo>
                    <a:pt x="796" y="143"/>
                  </a:lnTo>
                  <a:lnTo>
                    <a:pt x="796" y="142"/>
                  </a:lnTo>
                  <a:lnTo>
                    <a:pt x="793" y="142"/>
                  </a:lnTo>
                  <a:lnTo>
                    <a:pt x="791" y="140"/>
                  </a:lnTo>
                  <a:lnTo>
                    <a:pt x="790" y="140"/>
                  </a:lnTo>
                  <a:lnTo>
                    <a:pt x="788" y="140"/>
                  </a:lnTo>
                  <a:lnTo>
                    <a:pt x="786" y="140"/>
                  </a:lnTo>
                  <a:lnTo>
                    <a:pt x="785" y="140"/>
                  </a:lnTo>
                  <a:lnTo>
                    <a:pt x="782" y="140"/>
                  </a:lnTo>
                  <a:lnTo>
                    <a:pt x="780" y="140"/>
                  </a:lnTo>
                  <a:lnTo>
                    <a:pt x="780" y="138"/>
                  </a:lnTo>
                  <a:lnTo>
                    <a:pt x="779" y="137"/>
                  </a:lnTo>
                  <a:lnTo>
                    <a:pt x="779" y="135"/>
                  </a:lnTo>
                  <a:lnTo>
                    <a:pt x="779" y="131"/>
                  </a:lnTo>
                  <a:lnTo>
                    <a:pt x="779" y="127"/>
                  </a:lnTo>
                  <a:lnTo>
                    <a:pt x="777" y="124"/>
                  </a:lnTo>
                  <a:lnTo>
                    <a:pt x="777" y="119"/>
                  </a:lnTo>
                  <a:lnTo>
                    <a:pt x="775" y="118"/>
                  </a:lnTo>
                  <a:lnTo>
                    <a:pt x="775" y="116"/>
                  </a:lnTo>
                  <a:lnTo>
                    <a:pt x="772" y="115"/>
                  </a:lnTo>
                  <a:lnTo>
                    <a:pt x="769" y="113"/>
                  </a:lnTo>
                  <a:lnTo>
                    <a:pt x="768" y="112"/>
                  </a:lnTo>
                  <a:lnTo>
                    <a:pt x="764" y="112"/>
                  </a:lnTo>
                  <a:lnTo>
                    <a:pt x="753" y="112"/>
                  </a:lnTo>
                  <a:lnTo>
                    <a:pt x="752" y="112"/>
                  </a:lnTo>
                  <a:lnTo>
                    <a:pt x="739" y="112"/>
                  </a:lnTo>
                  <a:lnTo>
                    <a:pt x="737" y="112"/>
                  </a:lnTo>
                  <a:lnTo>
                    <a:pt x="736" y="112"/>
                  </a:lnTo>
                  <a:lnTo>
                    <a:pt x="734" y="112"/>
                  </a:lnTo>
                  <a:lnTo>
                    <a:pt x="731" y="112"/>
                  </a:lnTo>
                  <a:lnTo>
                    <a:pt x="728" y="112"/>
                  </a:lnTo>
                  <a:lnTo>
                    <a:pt x="723" y="112"/>
                  </a:lnTo>
                  <a:lnTo>
                    <a:pt x="722" y="110"/>
                  </a:lnTo>
                  <a:lnTo>
                    <a:pt x="719" y="112"/>
                  </a:lnTo>
                  <a:lnTo>
                    <a:pt x="717" y="112"/>
                  </a:lnTo>
                  <a:lnTo>
                    <a:pt x="717" y="116"/>
                  </a:lnTo>
                  <a:lnTo>
                    <a:pt x="719" y="119"/>
                  </a:lnTo>
                  <a:lnTo>
                    <a:pt x="719" y="123"/>
                  </a:lnTo>
                  <a:lnTo>
                    <a:pt x="719" y="126"/>
                  </a:lnTo>
                  <a:lnTo>
                    <a:pt x="720" y="129"/>
                  </a:lnTo>
                  <a:lnTo>
                    <a:pt x="722" y="132"/>
                  </a:lnTo>
                  <a:lnTo>
                    <a:pt x="722" y="135"/>
                  </a:lnTo>
                  <a:lnTo>
                    <a:pt x="722" y="140"/>
                  </a:lnTo>
                  <a:lnTo>
                    <a:pt x="722" y="143"/>
                  </a:lnTo>
                  <a:lnTo>
                    <a:pt x="720" y="145"/>
                  </a:lnTo>
                  <a:lnTo>
                    <a:pt x="719" y="146"/>
                  </a:lnTo>
                  <a:lnTo>
                    <a:pt x="717" y="148"/>
                  </a:lnTo>
                  <a:lnTo>
                    <a:pt x="715" y="149"/>
                  </a:lnTo>
                  <a:lnTo>
                    <a:pt x="714" y="149"/>
                  </a:lnTo>
                  <a:lnTo>
                    <a:pt x="712" y="149"/>
                  </a:lnTo>
                  <a:lnTo>
                    <a:pt x="711" y="149"/>
                  </a:lnTo>
                  <a:lnTo>
                    <a:pt x="706" y="149"/>
                  </a:lnTo>
                  <a:lnTo>
                    <a:pt x="703" y="149"/>
                  </a:lnTo>
                  <a:lnTo>
                    <a:pt x="701" y="149"/>
                  </a:lnTo>
                  <a:lnTo>
                    <a:pt x="700" y="151"/>
                  </a:lnTo>
                  <a:lnTo>
                    <a:pt x="698" y="153"/>
                  </a:lnTo>
                  <a:lnTo>
                    <a:pt x="695" y="153"/>
                  </a:lnTo>
                  <a:lnTo>
                    <a:pt x="693" y="156"/>
                  </a:lnTo>
                  <a:lnTo>
                    <a:pt x="690" y="157"/>
                  </a:lnTo>
                  <a:lnTo>
                    <a:pt x="687" y="160"/>
                  </a:lnTo>
                  <a:lnTo>
                    <a:pt x="685" y="160"/>
                  </a:lnTo>
                  <a:lnTo>
                    <a:pt x="684" y="160"/>
                  </a:lnTo>
                  <a:lnTo>
                    <a:pt x="682" y="162"/>
                  </a:lnTo>
                  <a:lnTo>
                    <a:pt x="681" y="162"/>
                  </a:lnTo>
                  <a:lnTo>
                    <a:pt x="679" y="162"/>
                  </a:lnTo>
                  <a:lnTo>
                    <a:pt x="677" y="160"/>
                  </a:lnTo>
                  <a:lnTo>
                    <a:pt x="676" y="160"/>
                  </a:lnTo>
                  <a:lnTo>
                    <a:pt x="674" y="157"/>
                  </a:lnTo>
                  <a:lnTo>
                    <a:pt x="673" y="156"/>
                  </a:lnTo>
                  <a:lnTo>
                    <a:pt x="673" y="153"/>
                  </a:lnTo>
                  <a:lnTo>
                    <a:pt x="673" y="149"/>
                  </a:lnTo>
                  <a:lnTo>
                    <a:pt x="671" y="148"/>
                  </a:lnTo>
                  <a:lnTo>
                    <a:pt x="671" y="145"/>
                  </a:lnTo>
                  <a:lnTo>
                    <a:pt x="666" y="146"/>
                  </a:lnTo>
                  <a:lnTo>
                    <a:pt x="662" y="148"/>
                  </a:lnTo>
                  <a:lnTo>
                    <a:pt x="660" y="149"/>
                  </a:lnTo>
                  <a:lnTo>
                    <a:pt x="658" y="149"/>
                  </a:lnTo>
                  <a:lnTo>
                    <a:pt x="657" y="149"/>
                  </a:lnTo>
                  <a:lnTo>
                    <a:pt x="652" y="149"/>
                  </a:lnTo>
                  <a:lnTo>
                    <a:pt x="649" y="149"/>
                  </a:lnTo>
                  <a:lnTo>
                    <a:pt x="646" y="149"/>
                  </a:lnTo>
                  <a:lnTo>
                    <a:pt x="644" y="149"/>
                  </a:lnTo>
                  <a:lnTo>
                    <a:pt x="641" y="148"/>
                  </a:lnTo>
                  <a:lnTo>
                    <a:pt x="636" y="148"/>
                  </a:lnTo>
                  <a:lnTo>
                    <a:pt x="630" y="146"/>
                  </a:lnTo>
                  <a:lnTo>
                    <a:pt x="627" y="146"/>
                  </a:lnTo>
                  <a:lnTo>
                    <a:pt x="624" y="148"/>
                  </a:lnTo>
                  <a:lnTo>
                    <a:pt x="621" y="148"/>
                  </a:lnTo>
                  <a:lnTo>
                    <a:pt x="619" y="149"/>
                  </a:lnTo>
                  <a:lnTo>
                    <a:pt x="614" y="153"/>
                  </a:lnTo>
                  <a:lnTo>
                    <a:pt x="611" y="157"/>
                  </a:lnTo>
                  <a:lnTo>
                    <a:pt x="606" y="162"/>
                  </a:lnTo>
                  <a:lnTo>
                    <a:pt x="603" y="165"/>
                  </a:lnTo>
                  <a:lnTo>
                    <a:pt x="602" y="167"/>
                  </a:lnTo>
                  <a:lnTo>
                    <a:pt x="600" y="168"/>
                  </a:lnTo>
                  <a:lnTo>
                    <a:pt x="598" y="168"/>
                  </a:lnTo>
                  <a:lnTo>
                    <a:pt x="595" y="168"/>
                  </a:lnTo>
                  <a:lnTo>
                    <a:pt x="594" y="168"/>
                  </a:lnTo>
                  <a:lnTo>
                    <a:pt x="592" y="168"/>
                  </a:lnTo>
                  <a:lnTo>
                    <a:pt x="591" y="167"/>
                  </a:lnTo>
                  <a:lnTo>
                    <a:pt x="589" y="165"/>
                  </a:lnTo>
                  <a:lnTo>
                    <a:pt x="587" y="162"/>
                  </a:lnTo>
                  <a:lnTo>
                    <a:pt x="586" y="157"/>
                  </a:lnTo>
                  <a:lnTo>
                    <a:pt x="584" y="153"/>
                  </a:lnTo>
                  <a:lnTo>
                    <a:pt x="583" y="149"/>
                  </a:lnTo>
                  <a:lnTo>
                    <a:pt x="581" y="148"/>
                  </a:lnTo>
                  <a:lnTo>
                    <a:pt x="580" y="145"/>
                  </a:lnTo>
                  <a:lnTo>
                    <a:pt x="578" y="142"/>
                  </a:lnTo>
                  <a:lnTo>
                    <a:pt x="587" y="119"/>
                  </a:lnTo>
                  <a:lnTo>
                    <a:pt x="583" y="119"/>
                  </a:lnTo>
                  <a:lnTo>
                    <a:pt x="580" y="116"/>
                  </a:lnTo>
                  <a:lnTo>
                    <a:pt x="578" y="115"/>
                  </a:lnTo>
                  <a:lnTo>
                    <a:pt x="575" y="115"/>
                  </a:lnTo>
                  <a:lnTo>
                    <a:pt x="575" y="112"/>
                  </a:lnTo>
                  <a:lnTo>
                    <a:pt x="573" y="108"/>
                  </a:lnTo>
                  <a:lnTo>
                    <a:pt x="573" y="107"/>
                  </a:lnTo>
                  <a:lnTo>
                    <a:pt x="575" y="105"/>
                  </a:lnTo>
                  <a:lnTo>
                    <a:pt x="575" y="104"/>
                  </a:lnTo>
                  <a:lnTo>
                    <a:pt x="575" y="102"/>
                  </a:lnTo>
                  <a:lnTo>
                    <a:pt x="578" y="101"/>
                  </a:lnTo>
                  <a:lnTo>
                    <a:pt x="580" y="99"/>
                  </a:lnTo>
                  <a:lnTo>
                    <a:pt x="581" y="96"/>
                  </a:lnTo>
                  <a:lnTo>
                    <a:pt x="583" y="94"/>
                  </a:lnTo>
                  <a:lnTo>
                    <a:pt x="586" y="93"/>
                  </a:lnTo>
                  <a:lnTo>
                    <a:pt x="587" y="90"/>
                  </a:lnTo>
                  <a:lnTo>
                    <a:pt x="589" y="85"/>
                  </a:lnTo>
                  <a:lnTo>
                    <a:pt x="592" y="78"/>
                  </a:lnTo>
                  <a:lnTo>
                    <a:pt x="594" y="71"/>
                  </a:lnTo>
                  <a:lnTo>
                    <a:pt x="595" y="63"/>
                  </a:lnTo>
                  <a:lnTo>
                    <a:pt x="598" y="56"/>
                  </a:lnTo>
                  <a:lnTo>
                    <a:pt x="602" y="49"/>
                  </a:lnTo>
                  <a:lnTo>
                    <a:pt x="603" y="45"/>
                  </a:lnTo>
                  <a:lnTo>
                    <a:pt x="605" y="42"/>
                  </a:lnTo>
                  <a:lnTo>
                    <a:pt x="606" y="39"/>
                  </a:lnTo>
                  <a:lnTo>
                    <a:pt x="610" y="36"/>
                  </a:lnTo>
                  <a:lnTo>
                    <a:pt x="608" y="34"/>
                  </a:lnTo>
                  <a:lnTo>
                    <a:pt x="608" y="33"/>
                  </a:lnTo>
                  <a:lnTo>
                    <a:pt x="608" y="31"/>
                  </a:lnTo>
                  <a:lnTo>
                    <a:pt x="608" y="30"/>
                  </a:lnTo>
                  <a:lnTo>
                    <a:pt x="606" y="26"/>
                  </a:lnTo>
                  <a:lnTo>
                    <a:pt x="606" y="22"/>
                  </a:lnTo>
                  <a:lnTo>
                    <a:pt x="606" y="17"/>
                  </a:lnTo>
                  <a:lnTo>
                    <a:pt x="606" y="12"/>
                  </a:lnTo>
                  <a:lnTo>
                    <a:pt x="606" y="11"/>
                  </a:lnTo>
                  <a:lnTo>
                    <a:pt x="605" y="9"/>
                  </a:lnTo>
                  <a:lnTo>
                    <a:pt x="603" y="6"/>
                  </a:lnTo>
                  <a:lnTo>
                    <a:pt x="602" y="4"/>
                  </a:lnTo>
                  <a:lnTo>
                    <a:pt x="600" y="3"/>
                  </a:lnTo>
                  <a:lnTo>
                    <a:pt x="598" y="1"/>
                  </a:lnTo>
                  <a:lnTo>
                    <a:pt x="595" y="1"/>
                  </a:lnTo>
                  <a:lnTo>
                    <a:pt x="592" y="1"/>
                  </a:lnTo>
                  <a:lnTo>
                    <a:pt x="587" y="1"/>
                  </a:lnTo>
                  <a:lnTo>
                    <a:pt x="583" y="3"/>
                  </a:lnTo>
                  <a:lnTo>
                    <a:pt x="580" y="3"/>
                  </a:lnTo>
                  <a:lnTo>
                    <a:pt x="578" y="3"/>
                  </a:lnTo>
                  <a:lnTo>
                    <a:pt x="575" y="1"/>
                  </a:lnTo>
                  <a:lnTo>
                    <a:pt x="575" y="0"/>
                  </a:lnTo>
                  <a:lnTo>
                    <a:pt x="573" y="0"/>
                  </a:lnTo>
                  <a:lnTo>
                    <a:pt x="568" y="4"/>
                  </a:lnTo>
                  <a:lnTo>
                    <a:pt x="562" y="9"/>
                  </a:lnTo>
                  <a:lnTo>
                    <a:pt x="557" y="14"/>
                  </a:lnTo>
                  <a:lnTo>
                    <a:pt x="553" y="20"/>
                  </a:lnTo>
                  <a:lnTo>
                    <a:pt x="542" y="33"/>
                  </a:lnTo>
                  <a:lnTo>
                    <a:pt x="531" y="47"/>
                  </a:lnTo>
                  <a:lnTo>
                    <a:pt x="529" y="53"/>
                  </a:lnTo>
                  <a:lnTo>
                    <a:pt x="529" y="60"/>
                  </a:lnTo>
                  <a:lnTo>
                    <a:pt x="527" y="64"/>
                  </a:lnTo>
                  <a:lnTo>
                    <a:pt x="526" y="69"/>
                  </a:lnTo>
                  <a:lnTo>
                    <a:pt x="524" y="78"/>
                  </a:lnTo>
                  <a:lnTo>
                    <a:pt x="521" y="88"/>
                  </a:lnTo>
                  <a:lnTo>
                    <a:pt x="518" y="97"/>
                  </a:lnTo>
                  <a:lnTo>
                    <a:pt x="516" y="107"/>
                  </a:lnTo>
                  <a:lnTo>
                    <a:pt x="515" y="112"/>
                  </a:lnTo>
                  <a:lnTo>
                    <a:pt x="513" y="116"/>
                  </a:lnTo>
                  <a:lnTo>
                    <a:pt x="513" y="123"/>
                  </a:lnTo>
                  <a:lnTo>
                    <a:pt x="513" y="129"/>
                  </a:lnTo>
                  <a:lnTo>
                    <a:pt x="513" y="132"/>
                  </a:lnTo>
                  <a:lnTo>
                    <a:pt x="513" y="134"/>
                  </a:lnTo>
                  <a:lnTo>
                    <a:pt x="513" y="135"/>
                  </a:lnTo>
                  <a:lnTo>
                    <a:pt x="512" y="137"/>
                  </a:lnTo>
                  <a:lnTo>
                    <a:pt x="508" y="138"/>
                  </a:lnTo>
                  <a:lnTo>
                    <a:pt x="508" y="140"/>
                  </a:lnTo>
                  <a:lnTo>
                    <a:pt x="505" y="140"/>
                  </a:lnTo>
                  <a:lnTo>
                    <a:pt x="502" y="142"/>
                  </a:lnTo>
                  <a:lnTo>
                    <a:pt x="499" y="142"/>
                  </a:lnTo>
                  <a:lnTo>
                    <a:pt x="493" y="142"/>
                  </a:lnTo>
                  <a:lnTo>
                    <a:pt x="489" y="142"/>
                  </a:lnTo>
                  <a:lnTo>
                    <a:pt x="470" y="142"/>
                  </a:lnTo>
                  <a:lnTo>
                    <a:pt x="455" y="140"/>
                  </a:lnTo>
                  <a:lnTo>
                    <a:pt x="453" y="142"/>
                  </a:lnTo>
                  <a:lnTo>
                    <a:pt x="452" y="143"/>
                  </a:lnTo>
                  <a:lnTo>
                    <a:pt x="450" y="145"/>
                  </a:lnTo>
                  <a:lnTo>
                    <a:pt x="448" y="148"/>
                  </a:lnTo>
                  <a:lnTo>
                    <a:pt x="447" y="149"/>
                  </a:lnTo>
                  <a:lnTo>
                    <a:pt x="445" y="153"/>
                  </a:lnTo>
                  <a:lnTo>
                    <a:pt x="445" y="154"/>
                  </a:lnTo>
                  <a:lnTo>
                    <a:pt x="442" y="156"/>
                  </a:lnTo>
                  <a:lnTo>
                    <a:pt x="439" y="157"/>
                  </a:lnTo>
                  <a:lnTo>
                    <a:pt x="437" y="159"/>
                  </a:lnTo>
                  <a:lnTo>
                    <a:pt x="434" y="162"/>
                  </a:lnTo>
                  <a:lnTo>
                    <a:pt x="433" y="162"/>
                  </a:lnTo>
                  <a:lnTo>
                    <a:pt x="426" y="162"/>
                  </a:lnTo>
                  <a:lnTo>
                    <a:pt x="418" y="160"/>
                  </a:lnTo>
                  <a:lnTo>
                    <a:pt x="414" y="160"/>
                  </a:lnTo>
                  <a:lnTo>
                    <a:pt x="409" y="159"/>
                  </a:lnTo>
                  <a:lnTo>
                    <a:pt x="406" y="157"/>
                  </a:lnTo>
                  <a:lnTo>
                    <a:pt x="404" y="156"/>
                  </a:lnTo>
                  <a:lnTo>
                    <a:pt x="403" y="156"/>
                  </a:lnTo>
                  <a:lnTo>
                    <a:pt x="401" y="154"/>
                  </a:lnTo>
                  <a:lnTo>
                    <a:pt x="401" y="153"/>
                  </a:lnTo>
                  <a:lnTo>
                    <a:pt x="401" y="149"/>
                  </a:lnTo>
                  <a:lnTo>
                    <a:pt x="399" y="148"/>
                  </a:lnTo>
                  <a:lnTo>
                    <a:pt x="398" y="142"/>
                  </a:lnTo>
                  <a:lnTo>
                    <a:pt x="398" y="140"/>
                  </a:lnTo>
                  <a:lnTo>
                    <a:pt x="396" y="138"/>
                  </a:lnTo>
                  <a:lnTo>
                    <a:pt x="396" y="137"/>
                  </a:lnTo>
                  <a:lnTo>
                    <a:pt x="395" y="135"/>
                  </a:lnTo>
                  <a:lnTo>
                    <a:pt x="393" y="134"/>
                  </a:lnTo>
                  <a:lnTo>
                    <a:pt x="391" y="132"/>
                  </a:lnTo>
                  <a:lnTo>
                    <a:pt x="388" y="132"/>
                  </a:lnTo>
                  <a:lnTo>
                    <a:pt x="387" y="132"/>
                  </a:lnTo>
                  <a:lnTo>
                    <a:pt x="385" y="132"/>
                  </a:lnTo>
                  <a:lnTo>
                    <a:pt x="384" y="132"/>
                  </a:lnTo>
                  <a:lnTo>
                    <a:pt x="380" y="134"/>
                  </a:lnTo>
                  <a:lnTo>
                    <a:pt x="379" y="135"/>
                  </a:lnTo>
                  <a:lnTo>
                    <a:pt x="376" y="137"/>
                  </a:lnTo>
                  <a:lnTo>
                    <a:pt x="373" y="140"/>
                  </a:lnTo>
                  <a:lnTo>
                    <a:pt x="368" y="145"/>
                  </a:lnTo>
                  <a:lnTo>
                    <a:pt x="365" y="148"/>
                  </a:lnTo>
                  <a:lnTo>
                    <a:pt x="361" y="148"/>
                  </a:lnTo>
                  <a:lnTo>
                    <a:pt x="360" y="149"/>
                  </a:lnTo>
                  <a:lnTo>
                    <a:pt x="357" y="149"/>
                  </a:lnTo>
                  <a:lnTo>
                    <a:pt x="354" y="149"/>
                  </a:lnTo>
                  <a:lnTo>
                    <a:pt x="346" y="149"/>
                  </a:lnTo>
                  <a:lnTo>
                    <a:pt x="336" y="149"/>
                  </a:lnTo>
                  <a:lnTo>
                    <a:pt x="328" y="148"/>
                  </a:lnTo>
                  <a:lnTo>
                    <a:pt x="322" y="148"/>
                  </a:lnTo>
                  <a:lnTo>
                    <a:pt x="301" y="148"/>
                  </a:lnTo>
                  <a:lnTo>
                    <a:pt x="301" y="153"/>
                  </a:lnTo>
                  <a:lnTo>
                    <a:pt x="298" y="157"/>
                  </a:lnTo>
                  <a:lnTo>
                    <a:pt x="298" y="160"/>
                  </a:lnTo>
                  <a:lnTo>
                    <a:pt x="298" y="162"/>
                  </a:lnTo>
                  <a:lnTo>
                    <a:pt x="297" y="162"/>
                  </a:lnTo>
                  <a:lnTo>
                    <a:pt x="295" y="165"/>
                  </a:lnTo>
                  <a:lnTo>
                    <a:pt x="294" y="167"/>
                  </a:lnTo>
                  <a:lnTo>
                    <a:pt x="292" y="168"/>
                  </a:lnTo>
                  <a:lnTo>
                    <a:pt x="290" y="168"/>
                  </a:lnTo>
                  <a:lnTo>
                    <a:pt x="289" y="170"/>
                  </a:lnTo>
                  <a:lnTo>
                    <a:pt x="282" y="170"/>
                  </a:lnTo>
                  <a:lnTo>
                    <a:pt x="278" y="170"/>
                  </a:lnTo>
                  <a:lnTo>
                    <a:pt x="276" y="170"/>
                  </a:lnTo>
                  <a:lnTo>
                    <a:pt x="275" y="170"/>
                  </a:lnTo>
                  <a:lnTo>
                    <a:pt x="273" y="168"/>
                  </a:lnTo>
                  <a:lnTo>
                    <a:pt x="271" y="167"/>
                  </a:lnTo>
                  <a:lnTo>
                    <a:pt x="270" y="165"/>
                  </a:lnTo>
                  <a:lnTo>
                    <a:pt x="268" y="162"/>
                  </a:lnTo>
                  <a:lnTo>
                    <a:pt x="265" y="160"/>
                  </a:lnTo>
                  <a:lnTo>
                    <a:pt x="265" y="159"/>
                  </a:lnTo>
                  <a:lnTo>
                    <a:pt x="264" y="157"/>
                  </a:lnTo>
                  <a:lnTo>
                    <a:pt x="262" y="157"/>
                  </a:lnTo>
                  <a:lnTo>
                    <a:pt x="260" y="157"/>
                  </a:lnTo>
                  <a:lnTo>
                    <a:pt x="259" y="157"/>
                  </a:lnTo>
                  <a:lnTo>
                    <a:pt x="257" y="159"/>
                  </a:lnTo>
                  <a:lnTo>
                    <a:pt x="256" y="160"/>
                  </a:lnTo>
                  <a:lnTo>
                    <a:pt x="254" y="162"/>
                  </a:lnTo>
                  <a:lnTo>
                    <a:pt x="252" y="165"/>
                  </a:lnTo>
                  <a:lnTo>
                    <a:pt x="249" y="168"/>
                  </a:lnTo>
                  <a:lnTo>
                    <a:pt x="246" y="170"/>
                  </a:lnTo>
                  <a:lnTo>
                    <a:pt x="245" y="172"/>
                  </a:lnTo>
                  <a:lnTo>
                    <a:pt x="243" y="172"/>
                  </a:lnTo>
                  <a:lnTo>
                    <a:pt x="241" y="173"/>
                  </a:lnTo>
                  <a:lnTo>
                    <a:pt x="240" y="173"/>
                  </a:lnTo>
                  <a:lnTo>
                    <a:pt x="238" y="176"/>
                  </a:lnTo>
                  <a:lnTo>
                    <a:pt x="237" y="181"/>
                  </a:lnTo>
                  <a:lnTo>
                    <a:pt x="235" y="184"/>
                  </a:lnTo>
                  <a:lnTo>
                    <a:pt x="233" y="187"/>
                  </a:lnTo>
                  <a:lnTo>
                    <a:pt x="230" y="190"/>
                  </a:lnTo>
                  <a:lnTo>
                    <a:pt x="229" y="194"/>
                  </a:lnTo>
                  <a:lnTo>
                    <a:pt x="226" y="195"/>
                  </a:lnTo>
                  <a:lnTo>
                    <a:pt x="222" y="197"/>
                  </a:lnTo>
                  <a:lnTo>
                    <a:pt x="219" y="198"/>
                  </a:lnTo>
                  <a:lnTo>
                    <a:pt x="215" y="200"/>
                  </a:lnTo>
                  <a:lnTo>
                    <a:pt x="211" y="202"/>
                  </a:lnTo>
                  <a:lnTo>
                    <a:pt x="207" y="203"/>
                  </a:lnTo>
                  <a:lnTo>
                    <a:pt x="199" y="205"/>
                  </a:lnTo>
                  <a:lnTo>
                    <a:pt x="191" y="206"/>
                  </a:lnTo>
                  <a:lnTo>
                    <a:pt x="183" y="208"/>
                  </a:lnTo>
                  <a:lnTo>
                    <a:pt x="175" y="209"/>
                  </a:lnTo>
                  <a:lnTo>
                    <a:pt x="167" y="211"/>
                  </a:lnTo>
                  <a:lnTo>
                    <a:pt x="161" y="214"/>
                  </a:lnTo>
                  <a:lnTo>
                    <a:pt x="158" y="216"/>
                  </a:lnTo>
                  <a:lnTo>
                    <a:pt x="154" y="217"/>
                  </a:lnTo>
                  <a:lnTo>
                    <a:pt x="153" y="219"/>
                  </a:lnTo>
                  <a:lnTo>
                    <a:pt x="151" y="222"/>
                  </a:lnTo>
                  <a:lnTo>
                    <a:pt x="150" y="224"/>
                  </a:lnTo>
                  <a:lnTo>
                    <a:pt x="148" y="227"/>
                  </a:lnTo>
                  <a:lnTo>
                    <a:pt x="148" y="230"/>
                  </a:lnTo>
                  <a:lnTo>
                    <a:pt x="148" y="235"/>
                  </a:lnTo>
                  <a:lnTo>
                    <a:pt x="148" y="239"/>
                  </a:lnTo>
                  <a:lnTo>
                    <a:pt x="148" y="243"/>
                  </a:lnTo>
                  <a:lnTo>
                    <a:pt x="150" y="244"/>
                  </a:lnTo>
                  <a:lnTo>
                    <a:pt x="151" y="247"/>
                  </a:lnTo>
                  <a:lnTo>
                    <a:pt x="153" y="247"/>
                  </a:lnTo>
                  <a:lnTo>
                    <a:pt x="156" y="249"/>
                  </a:lnTo>
                  <a:lnTo>
                    <a:pt x="159" y="250"/>
                  </a:lnTo>
                  <a:lnTo>
                    <a:pt x="162" y="250"/>
                  </a:lnTo>
                  <a:lnTo>
                    <a:pt x="162" y="258"/>
                  </a:lnTo>
                  <a:lnTo>
                    <a:pt x="161" y="261"/>
                  </a:lnTo>
                  <a:lnTo>
                    <a:pt x="159" y="263"/>
                  </a:lnTo>
                  <a:lnTo>
                    <a:pt x="158" y="265"/>
                  </a:lnTo>
                  <a:lnTo>
                    <a:pt x="158" y="266"/>
                  </a:lnTo>
                  <a:lnTo>
                    <a:pt x="158" y="268"/>
                  </a:lnTo>
                  <a:lnTo>
                    <a:pt x="158" y="269"/>
                  </a:lnTo>
                  <a:lnTo>
                    <a:pt x="154" y="276"/>
                  </a:lnTo>
                  <a:lnTo>
                    <a:pt x="153" y="279"/>
                  </a:lnTo>
                  <a:lnTo>
                    <a:pt x="151" y="284"/>
                  </a:lnTo>
                  <a:lnTo>
                    <a:pt x="148" y="287"/>
                  </a:lnTo>
                  <a:lnTo>
                    <a:pt x="145" y="290"/>
                  </a:lnTo>
                  <a:lnTo>
                    <a:pt x="142" y="293"/>
                  </a:lnTo>
                  <a:lnTo>
                    <a:pt x="137" y="296"/>
                  </a:lnTo>
                  <a:lnTo>
                    <a:pt x="134" y="299"/>
                  </a:lnTo>
                  <a:lnTo>
                    <a:pt x="124" y="306"/>
                  </a:lnTo>
                  <a:lnTo>
                    <a:pt x="117" y="310"/>
                  </a:lnTo>
                  <a:lnTo>
                    <a:pt x="107" y="313"/>
                  </a:lnTo>
                  <a:lnTo>
                    <a:pt x="101" y="317"/>
                  </a:lnTo>
                  <a:lnTo>
                    <a:pt x="101" y="318"/>
                  </a:lnTo>
                  <a:lnTo>
                    <a:pt x="99" y="317"/>
                  </a:lnTo>
                  <a:lnTo>
                    <a:pt x="96" y="318"/>
                  </a:lnTo>
                  <a:lnTo>
                    <a:pt x="93" y="320"/>
                  </a:lnTo>
                  <a:lnTo>
                    <a:pt x="91" y="323"/>
                  </a:lnTo>
                  <a:lnTo>
                    <a:pt x="88" y="325"/>
                  </a:lnTo>
                  <a:lnTo>
                    <a:pt x="87" y="328"/>
                  </a:lnTo>
                  <a:lnTo>
                    <a:pt x="87" y="331"/>
                  </a:lnTo>
                  <a:lnTo>
                    <a:pt x="85" y="334"/>
                  </a:lnTo>
                  <a:lnTo>
                    <a:pt x="85" y="337"/>
                  </a:lnTo>
                  <a:lnTo>
                    <a:pt x="85" y="351"/>
                  </a:lnTo>
                  <a:lnTo>
                    <a:pt x="85" y="366"/>
                  </a:lnTo>
                  <a:lnTo>
                    <a:pt x="85" y="380"/>
                  </a:lnTo>
                  <a:lnTo>
                    <a:pt x="85" y="397"/>
                  </a:lnTo>
                  <a:lnTo>
                    <a:pt x="85" y="400"/>
                  </a:lnTo>
                  <a:lnTo>
                    <a:pt x="83" y="403"/>
                  </a:lnTo>
                  <a:lnTo>
                    <a:pt x="83" y="405"/>
                  </a:lnTo>
                  <a:lnTo>
                    <a:pt x="82" y="408"/>
                  </a:lnTo>
                  <a:lnTo>
                    <a:pt x="80" y="410"/>
                  </a:lnTo>
                  <a:lnTo>
                    <a:pt x="79" y="413"/>
                  </a:lnTo>
                  <a:lnTo>
                    <a:pt x="75" y="414"/>
                  </a:lnTo>
                  <a:lnTo>
                    <a:pt x="74" y="416"/>
                  </a:lnTo>
                  <a:lnTo>
                    <a:pt x="69" y="419"/>
                  </a:lnTo>
                  <a:lnTo>
                    <a:pt x="66" y="422"/>
                  </a:lnTo>
                  <a:lnTo>
                    <a:pt x="63" y="424"/>
                  </a:lnTo>
                  <a:lnTo>
                    <a:pt x="61" y="425"/>
                  </a:lnTo>
                  <a:lnTo>
                    <a:pt x="60" y="427"/>
                  </a:lnTo>
                  <a:lnTo>
                    <a:pt x="60" y="429"/>
                  </a:lnTo>
                  <a:lnTo>
                    <a:pt x="57" y="429"/>
                  </a:lnTo>
                  <a:lnTo>
                    <a:pt x="55" y="429"/>
                  </a:lnTo>
                  <a:lnTo>
                    <a:pt x="52" y="430"/>
                  </a:lnTo>
                  <a:lnTo>
                    <a:pt x="50" y="430"/>
                  </a:lnTo>
                  <a:lnTo>
                    <a:pt x="45" y="432"/>
                  </a:lnTo>
                  <a:lnTo>
                    <a:pt x="41" y="433"/>
                  </a:lnTo>
                  <a:lnTo>
                    <a:pt x="6" y="459"/>
                  </a:lnTo>
                  <a:lnTo>
                    <a:pt x="6" y="465"/>
                  </a:lnTo>
                  <a:lnTo>
                    <a:pt x="6" y="470"/>
                  </a:lnTo>
                  <a:lnTo>
                    <a:pt x="6" y="471"/>
                  </a:lnTo>
                  <a:lnTo>
                    <a:pt x="6" y="473"/>
                  </a:lnTo>
                  <a:lnTo>
                    <a:pt x="4" y="476"/>
                  </a:lnTo>
                  <a:lnTo>
                    <a:pt x="4" y="479"/>
                  </a:lnTo>
                  <a:lnTo>
                    <a:pt x="4" y="482"/>
                  </a:lnTo>
                  <a:lnTo>
                    <a:pt x="3" y="485"/>
                  </a:lnTo>
                  <a:lnTo>
                    <a:pt x="1" y="489"/>
                  </a:lnTo>
                  <a:lnTo>
                    <a:pt x="1" y="492"/>
                  </a:lnTo>
                  <a:lnTo>
                    <a:pt x="0" y="495"/>
                  </a:lnTo>
                  <a:lnTo>
                    <a:pt x="0" y="500"/>
                  </a:lnTo>
                  <a:lnTo>
                    <a:pt x="0" y="504"/>
                  </a:lnTo>
                  <a:lnTo>
                    <a:pt x="1" y="508"/>
                  </a:lnTo>
                  <a:lnTo>
                    <a:pt x="1" y="511"/>
                  </a:lnTo>
                  <a:lnTo>
                    <a:pt x="4" y="514"/>
                  </a:lnTo>
                  <a:lnTo>
                    <a:pt x="6" y="515"/>
                  </a:lnTo>
                  <a:lnTo>
                    <a:pt x="9" y="517"/>
                  </a:lnTo>
                  <a:lnTo>
                    <a:pt x="12" y="519"/>
                  </a:lnTo>
                  <a:lnTo>
                    <a:pt x="14" y="519"/>
                  </a:lnTo>
                  <a:lnTo>
                    <a:pt x="20" y="520"/>
                  </a:lnTo>
                  <a:lnTo>
                    <a:pt x="27" y="523"/>
                  </a:lnTo>
                  <a:lnTo>
                    <a:pt x="30" y="523"/>
                  </a:lnTo>
                  <a:lnTo>
                    <a:pt x="31" y="525"/>
                  </a:lnTo>
                  <a:lnTo>
                    <a:pt x="33" y="528"/>
                  </a:lnTo>
                  <a:lnTo>
                    <a:pt x="34" y="530"/>
                  </a:lnTo>
                  <a:lnTo>
                    <a:pt x="38" y="533"/>
                  </a:lnTo>
                  <a:lnTo>
                    <a:pt x="39" y="536"/>
                  </a:lnTo>
                  <a:lnTo>
                    <a:pt x="44" y="537"/>
                  </a:lnTo>
                  <a:lnTo>
                    <a:pt x="47" y="541"/>
                  </a:lnTo>
                  <a:lnTo>
                    <a:pt x="55" y="545"/>
                  </a:lnTo>
                  <a:lnTo>
                    <a:pt x="61" y="550"/>
                  </a:lnTo>
                  <a:lnTo>
                    <a:pt x="66" y="552"/>
                  </a:lnTo>
                  <a:lnTo>
                    <a:pt x="69" y="555"/>
                  </a:lnTo>
                  <a:lnTo>
                    <a:pt x="72" y="558"/>
                  </a:lnTo>
                  <a:lnTo>
                    <a:pt x="74" y="561"/>
                  </a:lnTo>
                  <a:lnTo>
                    <a:pt x="77" y="564"/>
                  </a:lnTo>
                  <a:lnTo>
                    <a:pt x="79" y="569"/>
                  </a:lnTo>
                  <a:lnTo>
                    <a:pt x="79" y="574"/>
                  </a:lnTo>
                  <a:lnTo>
                    <a:pt x="80" y="578"/>
                  </a:lnTo>
                  <a:lnTo>
                    <a:pt x="80" y="580"/>
                  </a:lnTo>
                  <a:lnTo>
                    <a:pt x="79" y="582"/>
                  </a:lnTo>
                  <a:lnTo>
                    <a:pt x="79" y="585"/>
                  </a:lnTo>
                  <a:lnTo>
                    <a:pt x="75" y="588"/>
                  </a:lnTo>
                  <a:lnTo>
                    <a:pt x="72" y="590"/>
                  </a:lnTo>
                  <a:lnTo>
                    <a:pt x="71" y="593"/>
                  </a:lnTo>
                  <a:lnTo>
                    <a:pt x="68" y="594"/>
                  </a:lnTo>
                  <a:lnTo>
                    <a:pt x="66" y="597"/>
                  </a:lnTo>
                  <a:lnTo>
                    <a:pt x="66" y="599"/>
                  </a:lnTo>
                  <a:lnTo>
                    <a:pt x="66" y="601"/>
                  </a:lnTo>
                  <a:lnTo>
                    <a:pt x="66" y="602"/>
                  </a:lnTo>
                  <a:lnTo>
                    <a:pt x="66" y="605"/>
                  </a:lnTo>
                  <a:lnTo>
                    <a:pt x="66" y="607"/>
                  </a:lnTo>
                  <a:lnTo>
                    <a:pt x="68" y="610"/>
                  </a:lnTo>
                  <a:lnTo>
                    <a:pt x="69" y="610"/>
                  </a:lnTo>
                  <a:lnTo>
                    <a:pt x="71" y="612"/>
                  </a:lnTo>
                  <a:lnTo>
                    <a:pt x="74" y="613"/>
                  </a:lnTo>
                  <a:lnTo>
                    <a:pt x="75" y="613"/>
                  </a:lnTo>
                  <a:lnTo>
                    <a:pt x="79" y="613"/>
                  </a:lnTo>
                  <a:lnTo>
                    <a:pt x="83" y="613"/>
                  </a:lnTo>
                  <a:lnTo>
                    <a:pt x="87" y="613"/>
                  </a:lnTo>
                  <a:lnTo>
                    <a:pt x="90" y="613"/>
                  </a:lnTo>
                  <a:lnTo>
                    <a:pt x="91" y="613"/>
                  </a:lnTo>
                  <a:lnTo>
                    <a:pt x="93" y="615"/>
                  </a:lnTo>
                  <a:lnTo>
                    <a:pt x="93" y="616"/>
                  </a:lnTo>
                  <a:lnTo>
                    <a:pt x="94" y="618"/>
                  </a:lnTo>
                  <a:lnTo>
                    <a:pt x="96" y="623"/>
                  </a:lnTo>
                  <a:lnTo>
                    <a:pt x="96" y="627"/>
                  </a:lnTo>
                  <a:lnTo>
                    <a:pt x="96" y="631"/>
                  </a:lnTo>
                  <a:lnTo>
                    <a:pt x="96" y="632"/>
                  </a:lnTo>
                  <a:lnTo>
                    <a:pt x="98" y="635"/>
                  </a:lnTo>
                  <a:lnTo>
                    <a:pt x="99" y="637"/>
                  </a:lnTo>
                  <a:lnTo>
                    <a:pt x="99" y="640"/>
                  </a:lnTo>
                  <a:lnTo>
                    <a:pt x="101" y="640"/>
                  </a:lnTo>
                  <a:lnTo>
                    <a:pt x="104" y="642"/>
                  </a:lnTo>
                  <a:lnTo>
                    <a:pt x="107" y="642"/>
                  </a:lnTo>
                  <a:lnTo>
                    <a:pt x="113" y="642"/>
                  </a:lnTo>
                  <a:lnTo>
                    <a:pt x="118" y="642"/>
                  </a:lnTo>
                  <a:lnTo>
                    <a:pt x="121" y="648"/>
                  </a:lnTo>
                  <a:lnTo>
                    <a:pt x="129" y="661"/>
                  </a:lnTo>
                  <a:lnTo>
                    <a:pt x="137" y="676"/>
                  </a:lnTo>
                  <a:lnTo>
                    <a:pt x="142" y="684"/>
                  </a:lnTo>
                  <a:lnTo>
                    <a:pt x="142" y="686"/>
                  </a:lnTo>
                  <a:lnTo>
                    <a:pt x="143" y="686"/>
                  </a:lnTo>
                  <a:lnTo>
                    <a:pt x="145" y="686"/>
                  </a:lnTo>
                  <a:lnTo>
                    <a:pt x="148" y="686"/>
                  </a:lnTo>
                  <a:lnTo>
                    <a:pt x="147" y="689"/>
                  </a:lnTo>
                  <a:lnTo>
                    <a:pt x="147" y="692"/>
                  </a:lnTo>
                  <a:lnTo>
                    <a:pt x="145" y="694"/>
                  </a:lnTo>
                  <a:lnTo>
                    <a:pt x="145" y="695"/>
                  </a:lnTo>
                  <a:lnTo>
                    <a:pt x="145" y="698"/>
                  </a:lnTo>
                  <a:lnTo>
                    <a:pt x="145" y="705"/>
                  </a:lnTo>
                  <a:lnTo>
                    <a:pt x="147" y="713"/>
                  </a:lnTo>
                  <a:lnTo>
                    <a:pt x="147" y="719"/>
                  </a:lnTo>
                  <a:lnTo>
                    <a:pt x="148" y="728"/>
                  </a:lnTo>
                  <a:lnTo>
                    <a:pt x="148" y="739"/>
                  </a:lnTo>
                  <a:lnTo>
                    <a:pt x="151" y="741"/>
                  </a:lnTo>
                  <a:lnTo>
                    <a:pt x="156" y="744"/>
                  </a:lnTo>
                  <a:lnTo>
                    <a:pt x="159" y="744"/>
                  </a:lnTo>
                  <a:lnTo>
                    <a:pt x="162" y="746"/>
                  </a:lnTo>
                  <a:lnTo>
                    <a:pt x="166" y="746"/>
                  </a:lnTo>
                  <a:lnTo>
                    <a:pt x="169" y="746"/>
                  </a:lnTo>
                  <a:lnTo>
                    <a:pt x="170" y="746"/>
                  </a:lnTo>
                  <a:lnTo>
                    <a:pt x="173" y="746"/>
                  </a:lnTo>
                  <a:lnTo>
                    <a:pt x="175" y="746"/>
                  </a:lnTo>
                  <a:lnTo>
                    <a:pt x="177" y="746"/>
                  </a:lnTo>
                  <a:lnTo>
                    <a:pt x="178" y="744"/>
                  </a:lnTo>
                  <a:lnTo>
                    <a:pt x="180" y="743"/>
                  </a:lnTo>
                  <a:lnTo>
                    <a:pt x="181" y="741"/>
                  </a:lnTo>
                  <a:lnTo>
                    <a:pt x="183" y="739"/>
                  </a:lnTo>
                  <a:lnTo>
                    <a:pt x="185" y="736"/>
                  </a:lnTo>
                  <a:lnTo>
                    <a:pt x="186" y="733"/>
                  </a:lnTo>
                  <a:lnTo>
                    <a:pt x="188" y="730"/>
                  </a:lnTo>
                  <a:lnTo>
                    <a:pt x="189" y="725"/>
                  </a:lnTo>
                  <a:lnTo>
                    <a:pt x="191" y="720"/>
                  </a:lnTo>
                  <a:lnTo>
                    <a:pt x="192" y="717"/>
                  </a:lnTo>
                  <a:lnTo>
                    <a:pt x="194" y="713"/>
                  </a:lnTo>
                  <a:lnTo>
                    <a:pt x="197" y="709"/>
                  </a:lnTo>
                  <a:lnTo>
                    <a:pt x="199" y="709"/>
                  </a:lnTo>
                  <a:lnTo>
                    <a:pt x="200" y="708"/>
                  </a:lnTo>
                  <a:lnTo>
                    <a:pt x="202" y="706"/>
                  </a:lnTo>
                  <a:lnTo>
                    <a:pt x="203" y="705"/>
                  </a:lnTo>
                  <a:lnTo>
                    <a:pt x="207" y="705"/>
                  </a:lnTo>
                  <a:lnTo>
                    <a:pt x="208" y="705"/>
                  </a:lnTo>
                  <a:lnTo>
                    <a:pt x="211" y="703"/>
                  </a:lnTo>
                  <a:lnTo>
                    <a:pt x="215" y="703"/>
                  </a:lnTo>
                  <a:lnTo>
                    <a:pt x="219" y="703"/>
                  </a:lnTo>
                  <a:lnTo>
                    <a:pt x="224" y="702"/>
                  </a:lnTo>
                  <a:lnTo>
                    <a:pt x="229" y="700"/>
                  </a:lnTo>
                  <a:lnTo>
                    <a:pt x="233" y="698"/>
                  </a:lnTo>
                  <a:lnTo>
                    <a:pt x="237" y="697"/>
                  </a:lnTo>
                  <a:lnTo>
                    <a:pt x="241" y="695"/>
                  </a:lnTo>
                  <a:lnTo>
                    <a:pt x="246" y="694"/>
                  </a:lnTo>
                  <a:lnTo>
                    <a:pt x="249" y="694"/>
                  </a:lnTo>
                  <a:lnTo>
                    <a:pt x="252" y="694"/>
                  </a:lnTo>
                  <a:lnTo>
                    <a:pt x="256" y="695"/>
                  </a:lnTo>
                  <a:lnTo>
                    <a:pt x="257" y="697"/>
                  </a:lnTo>
                  <a:lnTo>
                    <a:pt x="259" y="697"/>
                  </a:lnTo>
                  <a:lnTo>
                    <a:pt x="262" y="698"/>
                  </a:lnTo>
                  <a:lnTo>
                    <a:pt x="264" y="698"/>
                  </a:lnTo>
                  <a:lnTo>
                    <a:pt x="267" y="698"/>
                  </a:lnTo>
                  <a:lnTo>
                    <a:pt x="270" y="698"/>
                  </a:lnTo>
                  <a:lnTo>
                    <a:pt x="276" y="698"/>
                  </a:lnTo>
                  <a:lnTo>
                    <a:pt x="282" y="698"/>
                  </a:lnTo>
                  <a:lnTo>
                    <a:pt x="287" y="697"/>
                  </a:lnTo>
                  <a:lnTo>
                    <a:pt x="294" y="695"/>
                  </a:lnTo>
                  <a:lnTo>
                    <a:pt x="298" y="694"/>
                  </a:lnTo>
                  <a:lnTo>
                    <a:pt x="303" y="692"/>
                  </a:lnTo>
                  <a:lnTo>
                    <a:pt x="311" y="690"/>
                  </a:lnTo>
                  <a:lnTo>
                    <a:pt x="317" y="690"/>
                  </a:lnTo>
                  <a:lnTo>
                    <a:pt x="322" y="689"/>
                  </a:lnTo>
                  <a:lnTo>
                    <a:pt x="327" y="689"/>
                  </a:lnTo>
                  <a:lnTo>
                    <a:pt x="327" y="687"/>
                  </a:lnTo>
                  <a:lnTo>
                    <a:pt x="328" y="689"/>
                  </a:lnTo>
                  <a:lnTo>
                    <a:pt x="324" y="692"/>
                  </a:lnTo>
                  <a:close/>
                  <a:moveTo>
                    <a:pt x="327" y="687"/>
                  </a:moveTo>
                  <a:lnTo>
                    <a:pt x="328" y="686"/>
                  </a:lnTo>
                  <a:lnTo>
                    <a:pt x="328" y="687"/>
                  </a:lnTo>
                  <a:lnTo>
                    <a:pt x="328" y="689"/>
                  </a:lnTo>
                  <a:lnTo>
                    <a:pt x="327" y="687"/>
                  </a:lnTo>
                  <a:close/>
                </a:path>
              </a:pathLst>
            </a:custGeom>
            <a:solidFill>
              <a:srgbClr val="0070C0">
                <a:alpha val="10000"/>
              </a:srgbClr>
            </a:solidFill>
            <a:ln w="9525">
              <a:solidFill>
                <a:srgbClr val="FFFFFF">
                  <a:alpha val="0"/>
                </a:srgbClr>
              </a:solidFill>
              <a:round/>
              <a:headEnd/>
              <a:tailEnd/>
            </a:ln>
          </p:spPr>
          <p:txBody>
            <a:bodyPr lIns="91413" tIns="45707" rIns="91413" bIns="45707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372">
                <a:defRPr/>
              </a:pPr>
              <a:endParaRPr lang="ru-RU" sz="1700" dirty="0">
                <a:solidFill>
                  <a:srgbClr val="C7E0FB"/>
                </a:solidFill>
                <a:latin typeface="Arial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55" name="Freeform 5">
              <a:extLst>
                <a:ext uri="{FF2B5EF4-FFF2-40B4-BE49-F238E27FC236}">
                  <a16:creationId xmlns:a16="http://schemas.microsoft.com/office/drawing/2014/main" id="{23EDCF4C-259A-49DB-BDD9-A70DFF4A2717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 rot="389746">
              <a:off x="5397161" y="4237696"/>
              <a:ext cx="5984238" cy="2702011"/>
            </a:xfrm>
            <a:custGeom>
              <a:avLst/>
              <a:gdLst>
                <a:gd name="T0" fmla="*/ 2147483647 w 2174"/>
                <a:gd name="T1" fmla="*/ 2147483647 h 1070"/>
                <a:gd name="T2" fmla="*/ 2147483647 w 2174"/>
                <a:gd name="T3" fmla="*/ 2147483647 h 1070"/>
                <a:gd name="T4" fmla="*/ 2147483647 w 2174"/>
                <a:gd name="T5" fmla="*/ 2147483647 h 1070"/>
                <a:gd name="T6" fmla="*/ 2147483647 w 2174"/>
                <a:gd name="T7" fmla="*/ 2147483647 h 1070"/>
                <a:gd name="T8" fmla="*/ 2147483647 w 2174"/>
                <a:gd name="T9" fmla="*/ 2147483647 h 1070"/>
                <a:gd name="T10" fmla="*/ 2147483647 w 2174"/>
                <a:gd name="T11" fmla="*/ 2147483647 h 1070"/>
                <a:gd name="T12" fmla="*/ 2147483647 w 2174"/>
                <a:gd name="T13" fmla="*/ 2147483647 h 1070"/>
                <a:gd name="T14" fmla="*/ 2147483647 w 2174"/>
                <a:gd name="T15" fmla="*/ 2147483647 h 1070"/>
                <a:gd name="T16" fmla="*/ 2147483647 w 2174"/>
                <a:gd name="T17" fmla="*/ 2147483647 h 1070"/>
                <a:gd name="T18" fmla="*/ 2147483647 w 2174"/>
                <a:gd name="T19" fmla="*/ 2147483647 h 1070"/>
                <a:gd name="T20" fmla="*/ 2147483647 w 2174"/>
                <a:gd name="T21" fmla="*/ 2147483647 h 1070"/>
                <a:gd name="T22" fmla="*/ 2147483647 w 2174"/>
                <a:gd name="T23" fmla="*/ 2147483647 h 1070"/>
                <a:gd name="T24" fmla="*/ 2147483647 w 2174"/>
                <a:gd name="T25" fmla="*/ 2147483647 h 1070"/>
                <a:gd name="T26" fmla="*/ 2147483647 w 2174"/>
                <a:gd name="T27" fmla="*/ 2147483647 h 1070"/>
                <a:gd name="T28" fmla="*/ 2147483647 w 2174"/>
                <a:gd name="T29" fmla="*/ 2147483647 h 1070"/>
                <a:gd name="T30" fmla="*/ 2147483647 w 2174"/>
                <a:gd name="T31" fmla="*/ 2147483647 h 1070"/>
                <a:gd name="T32" fmla="*/ 2147483647 w 2174"/>
                <a:gd name="T33" fmla="*/ 2147483647 h 1070"/>
                <a:gd name="T34" fmla="*/ 2147483647 w 2174"/>
                <a:gd name="T35" fmla="*/ 2147483647 h 1070"/>
                <a:gd name="T36" fmla="*/ 2147483647 w 2174"/>
                <a:gd name="T37" fmla="*/ 2147483647 h 1070"/>
                <a:gd name="T38" fmla="*/ 2147483647 w 2174"/>
                <a:gd name="T39" fmla="*/ 2147483647 h 1070"/>
                <a:gd name="T40" fmla="*/ 2147483647 w 2174"/>
                <a:gd name="T41" fmla="*/ 2147483647 h 1070"/>
                <a:gd name="T42" fmla="*/ 2147483647 w 2174"/>
                <a:gd name="T43" fmla="*/ 2147483647 h 1070"/>
                <a:gd name="T44" fmla="*/ 2147483647 w 2174"/>
                <a:gd name="T45" fmla="*/ 2147483647 h 1070"/>
                <a:gd name="T46" fmla="*/ 2147483647 w 2174"/>
                <a:gd name="T47" fmla="*/ 2147483647 h 1070"/>
                <a:gd name="T48" fmla="*/ 2147483647 w 2174"/>
                <a:gd name="T49" fmla="*/ 2147483647 h 1070"/>
                <a:gd name="T50" fmla="*/ 2147483647 w 2174"/>
                <a:gd name="T51" fmla="*/ 2147483647 h 1070"/>
                <a:gd name="T52" fmla="*/ 2147483647 w 2174"/>
                <a:gd name="T53" fmla="*/ 2147483647 h 1070"/>
                <a:gd name="T54" fmla="*/ 2147483647 w 2174"/>
                <a:gd name="T55" fmla="*/ 2147483647 h 1070"/>
                <a:gd name="T56" fmla="*/ 2147483647 w 2174"/>
                <a:gd name="T57" fmla="*/ 2147483647 h 1070"/>
                <a:gd name="T58" fmla="*/ 2147483647 w 2174"/>
                <a:gd name="T59" fmla="*/ 2147483647 h 1070"/>
                <a:gd name="T60" fmla="*/ 2147483647 w 2174"/>
                <a:gd name="T61" fmla="*/ 2147483647 h 1070"/>
                <a:gd name="T62" fmla="*/ 2147483647 w 2174"/>
                <a:gd name="T63" fmla="*/ 2147483647 h 1070"/>
                <a:gd name="T64" fmla="*/ 2147483647 w 2174"/>
                <a:gd name="T65" fmla="*/ 2147483647 h 1070"/>
                <a:gd name="T66" fmla="*/ 2147483647 w 2174"/>
                <a:gd name="T67" fmla="*/ 2147483647 h 1070"/>
                <a:gd name="T68" fmla="*/ 2147483647 w 2174"/>
                <a:gd name="T69" fmla="*/ 2147483647 h 1070"/>
                <a:gd name="T70" fmla="*/ 2147483647 w 2174"/>
                <a:gd name="T71" fmla="*/ 2147483647 h 1070"/>
                <a:gd name="T72" fmla="*/ 2147483647 w 2174"/>
                <a:gd name="T73" fmla="*/ 2147483647 h 1070"/>
                <a:gd name="T74" fmla="*/ 2147483647 w 2174"/>
                <a:gd name="T75" fmla="*/ 2147483647 h 1070"/>
                <a:gd name="T76" fmla="*/ 2147483647 w 2174"/>
                <a:gd name="T77" fmla="*/ 2147483647 h 1070"/>
                <a:gd name="T78" fmla="*/ 2147483647 w 2174"/>
                <a:gd name="T79" fmla="*/ 2147483647 h 1070"/>
                <a:gd name="T80" fmla="*/ 2147483647 w 2174"/>
                <a:gd name="T81" fmla="*/ 2147483647 h 1070"/>
                <a:gd name="T82" fmla="*/ 2147483647 w 2174"/>
                <a:gd name="T83" fmla="*/ 2147483647 h 1070"/>
                <a:gd name="T84" fmla="*/ 2147483647 w 2174"/>
                <a:gd name="T85" fmla="*/ 2147483647 h 1070"/>
                <a:gd name="T86" fmla="*/ 2147483647 w 2174"/>
                <a:gd name="T87" fmla="*/ 2147483647 h 1070"/>
                <a:gd name="T88" fmla="*/ 2147483647 w 2174"/>
                <a:gd name="T89" fmla="*/ 2147483647 h 1070"/>
                <a:gd name="T90" fmla="*/ 2147483647 w 2174"/>
                <a:gd name="T91" fmla="*/ 2147483647 h 1070"/>
                <a:gd name="T92" fmla="*/ 2147483647 w 2174"/>
                <a:gd name="T93" fmla="*/ 2147483647 h 1070"/>
                <a:gd name="T94" fmla="*/ 2147483647 w 2174"/>
                <a:gd name="T95" fmla="*/ 2147483647 h 1070"/>
                <a:gd name="T96" fmla="*/ 2147483647 w 2174"/>
                <a:gd name="T97" fmla="*/ 2147483647 h 1070"/>
                <a:gd name="T98" fmla="*/ 2147483647 w 2174"/>
                <a:gd name="T99" fmla="*/ 2147483647 h 1070"/>
                <a:gd name="T100" fmla="*/ 2147483647 w 2174"/>
                <a:gd name="T101" fmla="*/ 2147483647 h 1070"/>
                <a:gd name="T102" fmla="*/ 2147483647 w 2174"/>
                <a:gd name="T103" fmla="*/ 2147483647 h 1070"/>
                <a:gd name="T104" fmla="*/ 2147483647 w 2174"/>
                <a:gd name="T105" fmla="*/ 2147483647 h 1070"/>
                <a:gd name="T106" fmla="*/ 2147483647 w 2174"/>
                <a:gd name="T107" fmla="*/ 2147483647 h 1070"/>
                <a:gd name="T108" fmla="*/ 2147483647 w 2174"/>
                <a:gd name="T109" fmla="*/ 2147483647 h 1070"/>
                <a:gd name="T110" fmla="*/ 2147483647 w 2174"/>
                <a:gd name="T111" fmla="*/ 2147483647 h 1070"/>
                <a:gd name="T112" fmla="*/ 2147483647 w 2174"/>
                <a:gd name="T113" fmla="*/ 2147483647 h 1070"/>
                <a:gd name="T114" fmla="*/ 2147483647 w 2174"/>
                <a:gd name="T115" fmla="*/ 2147483647 h 1070"/>
                <a:gd name="T116" fmla="*/ 2147483647 w 2174"/>
                <a:gd name="T117" fmla="*/ 2147483647 h 1070"/>
                <a:gd name="T118" fmla="*/ 2147483647 w 2174"/>
                <a:gd name="T119" fmla="*/ 2147483647 h 1070"/>
                <a:gd name="T120" fmla="*/ 2147483647 w 2174"/>
                <a:gd name="T121" fmla="*/ 2147483647 h 1070"/>
                <a:gd name="T122" fmla="*/ 2147483647 w 2174"/>
                <a:gd name="T123" fmla="*/ 2147483647 h 1070"/>
                <a:gd name="T124" fmla="*/ 2147483647 w 2174"/>
                <a:gd name="T125" fmla="*/ 2147483647 h 10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174"/>
                <a:gd name="T190" fmla="*/ 0 h 1070"/>
                <a:gd name="T191" fmla="*/ 2174 w 2174"/>
                <a:gd name="T192" fmla="*/ 1070 h 107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174" h="1070">
                  <a:moveTo>
                    <a:pt x="1768" y="168"/>
                  </a:moveTo>
                  <a:lnTo>
                    <a:pt x="1769" y="169"/>
                  </a:lnTo>
                  <a:lnTo>
                    <a:pt x="1771" y="171"/>
                  </a:lnTo>
                  <a:lnTo>
                    <a:pt x="1774" y="171"/>
                  </a:lnTo>
                  <a:lnTo>
                    <a:pt x="1777" y="172"/>
                  </a:lnTo>
                  <a:lnTo>
                    <a:pt x="1780" y="174"/>
                  </a:lnTo>
                  <a:lnTo>
                    <a:pt x="1783" y="175"/>
                  </a:lnTo>
                  <a:lnTo>
                    <a:pt x="1788" y="175"/>
                  </a:lnTo>
                  <a:lnTo>
                    <a:pt x="1791" y="175"/>
                  </a:lnTo>
                  <a:lnTo>
                    <a:pt x="1794" y="180"/>
                  </a:lnTo>
                  <a:lnTo>
                    <a:pt x="1796" y="186"/>
                  </a:lnTo>
                  <a:lnTo>
                    <a:pt x="1798" y="191"/>
                  </a:lnTo>
                  <a:lnTo>
                    <a:pt x="1801" y="194"/>
                  </a:lnTo>
                  <a:lnTo>
                    <a:pt x="1807" y="201"/>
                  </a:lnTo>
                  <a:lnTo>
                    <a:pt x="1815" y="209"/>
                  </a:lnTo>
                  <a:lnTo>
                    <a:pt x="1812" y="212"/>
                  </a:lnTo>
                  <a:lnTo>
                    <a:pt x="1805" y="213"/>
                  </a:lnTo>
                  <a:lnTo>
                    <a:pt x="1799" y="215"/>
                  </a:lnTo>
                  <a:lnTo>
                    <a:pt x="1794" y="216"/>
                  </a:lnTo>
                  <a:lnTo>
                    <a:pt x="1794" y="218"/>
                  </a:lnTo>
                  <a:lnTo>
                    <a:pt x="1796" y="220"/>
                  </a:lnTo>
                  <a:lnTo>
                    <a:pt x="1798" y="221"/>
                  </a:lnTo>
                  <a:lnTo>
                    <a:pt x="1799" y="221"/>
                  </a:lnTo>
                  <a:lnTo>
                    <a:pt x="1788" y="232"/>
                  </a:lnTo>
                  <a:lnTo>
                    <a:pt x="1779" y="242"/>
                  </a:lnTo>
                  <a:lnTo>
                    <a:pt x="1772" y="246"/>
                  </a:lnTo>
                  <a:lnTo>
                    <a:pt x="1769" y="251"/>
                  </a:lnTo>
                  <a:lnTo>
                    <a:pt x="1763" y="256"/>
                  </a:lnTo>
                  <a:lnTo>
                    <a:pt x="1760" y="261"/>
                  </a:lnTo>
                  <a:lnTo>
                    <a:pt x="1755" y="265"/>
                  </a:lnTo>
                  <a:lnTo>
                    <a:pt x="1752" y="273"/>
                  </a:lnTo>
                  <a:lnTo>
                    <a:pt x="1749" y="278"/>
                  </a:lnTo>
                  <a:lnTo>
                    <a:pt x="1747" y="286"/>
                  </a:lnTo>
                  <a:lnTo>
                    <a:pt x="1745" y="295"/>
                  </a:lnTo>
                  <a:lnTo>
                    <a:pt x="1742" y="305"/>
                  </a:lnTo>
                  <a:lnTo>
                    <a:pt x="1742" y="316"/>
                  </a:lnTo>
                  <a:lnTo>
                    <a:pt x="1742" y="327"/>
                  </a:lnTo>
                  <a:lnTo>
                    <a:pt x="1742" y="338"/>
                  </a:lnTo>
                  <a:lnTo>
                    <a:pt x="1742" y="347"/>
                  </a:lnTo>
                  <a:lnTo>
                    <a:pt x="1744" y="355"/>
                  </a:lnTo>
                  <a:lnTo>
                    <a:pt x="1745" y="363"/>
                  </a:lnTo>
                  <a:lnTo>
                    <a:pt x="1745" y="369"/>
                  </a:lnTo>
                  <a:lnTo>
                    <a:pt x="1749" y="377"/>
                  </a:lnTo>
                  <a:lnTo>
                    <a:pt x="1750" y="385"/>
                  </a:lnTo>
                  <a:lnTo>
                    <a:pt x="1750" y="395"/>
                  </a:lnTo>
                  <a:lnTo>
                    <a:pt x="1741" y="395"/>
                  </a:lnTo>
                  <a:lnTo>
                    <a:pt x="1731" y="390"/>
                  </a:lnTo>
                  <a:lnTo>
                    <a:pt x="1722" y="384"/>
                  </a:lnTo>
                  <a:lnTo>
                    <a:pt x="1709" y="377"/>
                  </a:lnTo>
                  <a:lnTo>
                    <a:pt x="1700" y="373"/>
                  </a:lnTo>
                  <a:lnTo>
                    <a:pt x="1695" y="368"/>
                  </a:lnTo>
                  <a:lnTo>
                    <a:pt x="1690" y="365"/>
                  </a:lnTo>
                  <a:lnTo>
                    <a:pt x="1685" y="360"/>
                  </a:lnTo>
                  <a:lnTo>
                    <a:pt x="1682" y="355"/>
                  </a:lnTo>
                  <a:lnTo>
                    <a:pt x="1679" y="350"/>
                  </a:lnTo>
                  <a:lnTo>
                    <a:pt x="1676" y="346"/>
                  </a:lnTo>
                  <a:lnTo>
                    <a:pt x="1676" y="343"/>
                  </a:lnTo>
                  <a:lnTo>
                    <a:pt x="1676" y="339"/>
                  </a:lnTo>
                  <a:lnTo>
                    <a:pt x="1676" y="338"/>
                  </a:lnTo>
                  <a:lnTo>
                    <a:pt x="1674" y="335"/>
                  </a:lnTo>
                  <a:lnTo>
                    <a:pt x="1676" y="333"/>
                  </a:lnTo>
                  <a:lnTo>
                    <a:pt x="1676" y="332"/>
                  </a:lnTo>
                  <a:lnTo>
                    <a:pt x="1676" y="328"/>
                  </a:lnTo>
                  <a:lnTo>
                    <a:pt x="1679" y="325"/>
                  </a:lnTo>
                  <a:lnTo>
                    <a:pt x="1682" y="324"/>
                  </a:lnTo>
                  <a:lnTo>
                    <a:pt x="1685" y="322"/>
                  </a:lnTo>
                  <a:lnTo>
                    <a:pt x="1687" y="319"/>
                  </a:lnTo>
                  <a:lnTo>
                    <a:pt x="1689" y="317"/>
                  </a:lnTo>
                  <a:lnTo>
                    <a:pt x="1689" y="316"/>
                  </a:lnTo>
                  <a:lnTo>
                    <a:pt x="1689" y="314"/>
                  </a:lnTo>
                  <a:lnTo>
                    <a:pt x="1689" y="311"/>
                  </a:lnTo>
                  <a:lnTo>
                    <a:pt x="1689" y="308"/>
                  </a:lnTo>
                  <a:lnTo>
                    <a:pt x="1689" y="305"/>
                  </a:lnTo>
                  <a:lnTo>
                    <a:pt x="1689" y="303"/>
                  </a:lnTo>
                  <a:lnTo>
                    <a:pt x="1689" y="302"/>
                  </a:lnTo>
                  <a:lnTo>
                    <a:pt x="1689" y="300"/>
                  </a:lnTo>
                  <a:lnTo>
                    <a:pt x="1689" y="298"/>
                  </a:lnTo>
                  <a:lnTo>
                    <a:pt x="1689" y="295"/>
                  </a:lnTo>
                  <a:lnTo>
                    <a:pt x="1689" y="289"/>
                  </a:lnTo>
                  <a:lnTo>
                    <a:pt x="1685" y="287"/>
                  </a:lnTo>
                  <a:lnTo>
                    <a:pt x="1681" y="286"/>
                  </a:lnTo>
                  <a:lnTo>
                    <a:pt x="1674" y="283"/>
                  </a:lnTo>
                  <a:lnTo>
                    <a:pt x="1668" y="279"/>
                  </a:lnTo>
                  <a:lnTo>
                    <a:pt x="1666" y="278"/>
                  </a:lnTo>
                  <a:lnTo>
                    <a:pt x="1663" y="275"/>
                  </a:lnTo>
                  <a:lnTo>
                    <a:pt x="1662" y="273"/>
                  </a:lnTo>
                  <a:lnTo>
                    <a:pt x="1659" y="270"/>
                  </a:lnTo>
                  <a:lnTo>
                    <a:pt x="1657" y="267"/>
                  </a:lnTo>
                  <a:lnTo>
                    <a:pt x="1655" y="262"/>
                  </a:lnTo>
                  <a:lnTo>
                    <a:pt x="1654" y="261"/>
                  </a:lnTo>
                  <a:lnTo>
                    <a:pt x="1654" y="256"/>
                  </a:lnTo>
                  <a:lnTo>
                    <a:pt x="1654" y="250"/>
                  </a:lnTo>
                  <a:lnTo>
                    <a:pt x="1655" y="245"/>
                  </a:lnTo>
                  <a:lnTo>
                    <a:pt x="1657" y="238"/>
                  </a:lnTo>
                  <a:lnTo>
                    <a:pt x="1660" y="234"/>
                  </a:lnTo>
                  <a:lnTo>
                    <a:pt x="1662" y="232"/>
                  </a:lnTo>
                  <a:lnTo>
                    <a:pt x="1663" y="229"/>
                  </a:lnTo>
                  <a:lnTo>
                    <a:pt x="1665" y="227"/>
                  </a:lnTo>
                  <a:lnTo>
                    <a:pt x="1666" y="226"/>
                  </a:lnTo>
                  <a:lnTo>
                    <a:pt x="1668" y="224"/>
                  </a:lnTo>
                  <a:lnTo>
                    <a:pt x="1671" y="223"/>
                  </a:lnTo>
                  <a:lnTo>
                    <a:pt x="1674" y="223"/>
                  </a:lnTo>
                  <a:lnTo>
                    <a:pt x="1676" y="221"/>
                  </a:lnTo>
                  <a:lnTo>
                    <a:pt x="1679" y="223"/>
                  </a:lnTo>
                  <a:lnTo>
                    <a:pt x="1681" y="224"/>
                  </a:lnTo>
                  <a:lnTo>
                    <a:pt x="1682" y="226"/>
                  </a:lnTo>
                  <a:lnTo>
                    <a:pt x="1684" y="227"/>
                  </a:lnTo>
                  <a:lnTo>
                    <a:pt x="1685" y="229"/>
                  </a:lnTo>
                  <a:lnTo>
                    <a:pt x="1687" y="232"/>
                  </a:lnTo>
                  <a:lnTo>
                    <a:pt x="1689" y="232"/>
                  </a:lnTo>
                  <a:lnTo>
                    <a:pt x="1690" y="234"/>
                  </a:lnTo>
                  <a:lnTo>
                    <a:pt x="1692" y="234"/>
                  </a:lnTo>
                  <a:lnTo>
                    <a:pt x="1695" y="234"/>
                  </a:lnTo>
                  <a:lnTo>
                    <a:pt x="1695" y="232"/>
                  </a:lnTo>
                  <a:lnTo>
                    <a:pt x="1696" y="232"/>
                  </a:lnTo>
                  <a:lnTo>
                    <a:pt x="1700" y="229"/>
                  </a:lnTo>
                  <a:lnTo>
                    <a:pt x="1700" y="227"/>
                  </a:lnTo>
                  <a:lnTo>
                    <a:pt x="1701" y="224"/>
                  </a:lnTo>
                  <a:lnTo>
                    <a:pt x="1703" y="221"/>
                  </a:lnTo>
                  <a:lnTo>
                    <a:pt x="1703" y="218"/>
                  </a:lnTo>
                  <a:lnTo>
                    <a:pt x="1704" y="215"/>
                  </a:lnTo>
                  <a:lnTo>
                    <a:pt x="1706" y="213"/>
                  </a:lnTo>
                  <a:lnTo>
                    <a:pt x="1708" y="212"/>
                  </a:lnTo>
                  <a:lnTo>
                    <a:pt x="1709" y="212"/>
                  </a:lnTo>
                  <a:lnTo>
                    <a:pt x="1712" y="210"/>
                  </a:lnTo>
                  <a:lnTo>
                    <a:pt x="1715" y="209"/>
                  </a:lnTo>
                  <a:lnTo>
                    <a:pt x="1722" y="207"/>
                  </a:lnTo>
                  <a:lnTo>
                    <a:pt x="1726" y="207"/>
                  </a:lnTo>
                  <a:lnTo>
                    <a:pt x="1723" y="204"/>
                  </a:lnTo>
                  <a:lnTo>
                    <a:pt x="1720" y="199"/>
                  </a:lnTo>
                  <a:lnTo>
                    <a:pt x="1717" y="196"/>
                  </a:lnTo>
                  <a:lnTo>
                    <a:pt x="1714" y="191"/>
                  </a:lnTo>
                  <a:lnTo>
                    <a:pt x="1714" y="180"/>
                  </a:lnTo>
                  <a:lnTo>
                    <a:pt x="1726" y="180"/>
                  </a:lnTo>
                  <a:lnTo>
                    <a:pt x="1730" y="182"/>
                  </a:lnTo>
                  <a:lnTo>
                    <a:pt x="1731" y="182"/>
                  </a:lnTo>
                  <a:lnTo>
                    <a:pt x="1734" y="183"/>
                  </a:lnTo>
                  <a:lnTo>
                    <a:pt x="1736" y="183"/>
                  </a:lnTo>
                  <a:lnTo>
                    <a:pt x="1741" y="186"/>
                  </a:lnTo>
                  <a:lnTo>
                    <a:pt x="1745" y="188"/>
                  </a:lnTo>
                  <a:lnTo>
                    <a:pt x="1749" y="183"/>
                  </a:lnTo>
                  <a:lnTo>
                    <a:pt x="1750" y="175"/>
                  </a:lnTo>
                  <a:lnTo>
                    <a:pt x="1752" y="171"/>
                  </a:lnTo>
                  <a:lnTo>
                    <a:pt x="1755" y="163"/>
                  </a:lnTo>
                  <a:lnTo>
                    <a:pt x="1758" y="164"/>
                  </a:lnTo>
                  <a:lnTo>
                    <a:pt x="1761" y="166"/>
                  </a:lnTo>
                  <a:lnTo>
                    <a:pt x="1763" y="166"/>
                  </a:lnTo>
                  <a:lnTo>
                    <a:pt x="1768" y="168"/>
                  </a:lnTo>
                  <a:close/>
                  <a:moveTo>
                    <a:pt x="2134" y="2"/>
                  </a:moveTo>
                  <a:lnTo>
                    <a:pt x="2136" y="0"/>
                  </a:lnTo>
                  <a:lnTo>
                    <a:pt x="2137" y="0"/>
                  </a:lnTo>
                  <a:lnTo>
                    <a:pt x="2139" y="0"/>
                  </a:lnTo>
                  <a:lnTo>
                    <a:pt x="2140" y="0"/>
                  </a:lnTo>
                  <a:lnTo>
                    <a:pt x="2144" y="0"/>
                  </a:lnTo>
                  <a:lnTo>
                    <a:pt x="2147" y="0"/>
                  </a:lnTo>
                  <a:lnTo>
                    <a:pt x="2150" y="2"/>
                  </a:lnTo>
                  <a:lnTo>
                    <a:pt x="2153" y="2"/>
                  </a:lnTo>
                  <a:lnTo>
                    <a:pt x="2158" y="3"/>
                  </a:lnTo>
                  <a:lnTo>
                    <a:pt x="2161" y="5"/>
                  </a:lnTo>
                  <a:lnTo>
                    <a:pt x="2164" y="7"/>
                  </a:lnTo>
                  <a:lnTo>
                    <a:pt x="2167" y="10"/>
                  </a:lnTo>
                  <a:lnTo>
                    <a:pt x="2169" y="13"/>
                  </a:lnTo>
                  <a:lnTo>
                    <a:pt x="2170" y="18"/>
                  </a:lnTo>
                  <a:lnTo>
                    <a:pt x="2172" y="19"/>
                  </a:lnTo>
                  <a:lnTo>
                    <a:pt x="2172" y="21"/>
                  </a:lnTo>
                  <a:lnTo>
                    <a:pt x="2174" y="22"/>
                  </a:lnTo>
                  <a:lnTo>
                    <a:pt x="2174" y="26"/>
                  </a:lnTo>
                  <a:lnTo>
                    <a:pt x="2174" y="30"/>
                  </a:lnTo>
                  <a:lnTo>
                    <a:pt x="2172" y="33"/>
                  </a:lnTo>
                  <a:lnTo>
                    <a:pt x="2172" y="35"/>
                  </a:lnTo>
                  <a:lnTo>
                    <a:pt x="2170" y="40"/>
                  </a:lnTo>
                  <a:lnTo>
                    <a:pt x="2169" y="44"/>
                  </a:lnTo>
                  <a:lnTo>
                    <a:pt x="2167" y="49"/>
                  </a:lnTo>
                  <a:lnTo>
                    <a:pt x="2163" y="54"/>
                  </a:lnTo>
                  <a:lnTo>
                    <a:pt x="2161" y="59"/>
                  </a:lnTo>
                  <a:lnTo>
                    <a:pt x="2156" y="62"/>
                  </a:lnTo>
                  <a:lnTo>
                    <a:pt x="2151" y="65"/>
                  </a:lnTo>
                  <a:lnTo>
                    <a:pt x="2147" y="68"/>
                  </a:lnTo>
                  <a:lnTo>
                    <a:pt x="2142" y="71"/>
                  </a:lnTo>
                  <a:lnTo>
                    <a:pt x="2137" y="73"/>
                  </a:lnTo>
                  <a:lnTo>
                    <a:pt x="2133" y="76"/>
                  </a:lnTo>
                  <a:lnTo>
                    <a:pt x="2121" y="79"/>
                  </a:lnTo>
                  <a:lnTo>
                    <a:pt x="2112" y="84"/>
                  </a:lnTo>
                  <a:lnTo>
                    <a:pt x="2049" y="84"/>
                  </a:lnTo>
                  <a:lnTo>
                    <a:pt x="2035" y="87"/>
                  </a:lnTo>
                  <a:lnTo>
                    <a:pt x="2025" y="89"/>
                  </a:lnTo>
                  <a:lnTo>
                    <a:pt x="2014" y="90"/>
                  </a:lnTo>
                  <a:lnTo>
                    <a:pt x="2005" y="92"/>
                  </a:lnTo>
                  <a:lnTo>
                    <a:pt x="1997" y="93"/>
                  </a:lnTo>
                  <a:lnTo>
                    <a:pt x="1987" y="97"/>
                  </a:lnTo>
                  <a:lnTo>
                    <a:pt x="1979" y="100"/>
                  </a:lnTo>
                  <a:lnTo>
                    <a:pt x="1968" y="104"/>
                  </a:lnTo>
                  <a:lnTo>
                    <a:pt x="1967" y="104"/>
                  </a:lnTo>
                  <a:lnTo>
                    <a:pt x="1965" y="106"/>
                  </a:lnTo>
                  <a:lnTo>
                    <a:pt x="1965" y="108"/>
                  </a:lnTo>
                  <a:lnTo>
                    <a:pt x="1963" y="108"/>
                  </a:lnTo>
                  <a:lnTo>
                    <a:pt x="1963" y="109"/>
                  </a:lnTo>
                  <a:lnTo>
                    <a:pt x="1963" y="112"/>
                  </a:lnTo>
                  <a:lnTo>
                    <a:pt x="1962" y="114"/>
                  </a:lnTo>
                  <a:lnTo>
                    <a:pt x="1962" y="115"/>
                  </a:lnTo>
                  <a:lnTo>
                    <a:pt x="1960" y="119"/>
                  </a:lnTo>
                  <a:lnTo>
                    <a:pt x="1959" y="120"/>
                  </a:lnTo>
                  <a:lnTo>
                    <a:pt x="1956" y="120"/>
                  </a:lnTo>
                  <a:lnTo>
                    <a:pt x="1952" y="122"/>
                  </a:lnTo>
                  <a:lnTo>
                    <a:pt x="1948" y="122"/>
                  </a:lnTo>
                  <a:lnTo>
                    <a:pt x="1943" y="123"/>
                  </a:lnTo>
                  <a:lnTo>
                    <a:pt x="1935" y="123"/>
                  </a:lnTo>
                  <a:lnTo>
                    <a:pt x="1930" y="123"/>
                  </a:lnTo>
                  <a:lnTo>
                    <a:pt x="1929" y="125"/>
                  </a:lnTo>
                  <a:lnTo>
                    <a:pt x="1927" y="125"/>
                  </a:lnTo>
                  <a:lnTo>
                    <a:pt x="1927" y="127"/>
                  </a:lnTo>
                  <a:lnTo>
                    <a:pt x="1927" y="128"/>
                  </a:lnTo>
                  <a:lnTo>
                    <a:pt x="1926" y="130"/>
                  </a:lnTo>
                  <a:lnTo>
                    <a:pt x="1926" y="131"/>
                  </a:lnTo>
                  <a:lnTo>
                    <a:pt x="1922" y="133"/>
                  </a:lnTo>
                  <a:lnTo>
                    <a:pt x="1919" y="133"/>
                  </a:lnTo>
                  <a:lnTo>
                    <a:pt x="1918" y="133"/>
                  </a:lnTo>
                  <a:lnTo>
                    <a:pt x="1916" y="131"/>
                  </a:lnTo>
                  <a:lnTo>
                    <a:pt x="1914" y="130"/>
                  </a:lnTo>
                  <a:lnTo>
                    <a:pt x="1913" y="128"/>
                  </a:lnTo>
                  <a:lnTo>
                    <a:pt x="1910" y="125"/>
                  </a:lnTo>
                  <a:lnTo>
                    <a:pt x="1908" y="127"/>
                  </a:lnTo>
                  <a:lnTo>
                    <a:pt x="1905" y="133"/>
                  </a:lnTo>
                  <a:lnTo>
                    <a:pt x="1902" y="136"/>
                  </a:lnTo>
                  <a:lnTo>
                    <a:pt x="1899" y="142"/>
                  </a:lnTo>
                  <a:lnTo>
                    <a:pt x="1897" y="147"/>
                  </a:lnTo>
                  <a:lnTo>
                    <a:pt x="1894" y="152"/>
                  </a:lnTo>
                  <a:lnTo>
                    <a:pt x="1891" y="153"/>
                  </a:lnTo>
                  <a:lnTo>
                    <a:pt x="1889" y="155"/>
                  </a:lnTo>
                  <a:lnTo>
                    <a:pt x="1888" y="155"/>
                  </a:lnTo>
                  <a:lnTo>
                    <a:pt x="1886" y="155"/>
                  </a:lnTo>
                  <a:lnTo>
                    <a:pt x="1884" y="155"/>
                  </a:lnTo>
                  <a:lnTo>
                    <a:pt x="1881" y="152"/>
                  </a:lnTo>
                  <a:lnTo>
                    <a:pt x="1878" y="149"/>
                  </a:lnTo>
                  <a:lnTo>
                    <a:pt x="1877" y="145"/>
                  </a:lnTo>
                  <a:lnTo>
                    <a:pt x="1875" y="147"/>
                  </a:lnTo>
                  <a:lnTo>
                    <a:pt x="1873" y="150"/>
                  </a:lnTo>
                  <a:lnTo>
                    <a:pt x="1873" y="152"/>
                  </a:lnTo>
                  <a:lnTo>
                    <a:pt x="1875" y="153"/>
                  </a:lnTo>
                  <a:lnTo>
                    <a:pt x="1877" y="155"/>
                  </a:lnTo>
                  <a:lnTo>
                    <a:pt x="1877" y="158"/>
                  </a:lnTo>
                  <a:lnTo>
                    <a:pt x="1877" y="161"/>
                  </a:lnTo>
                  <a:lnTo>
                    <a:pt x="1877" y="164"/>
                  </a:lnTo>
                  <a:lnTo>
                    <a:pt x="1877" y="168"/>
                  </a:lnTo>
                  <a:lnTo>
                    <a:pt x="1875" y="169"/>
                  </a:lnTo>
                  <a:lnTo>
                    <a:pt x="1873" y="171"/>
                  </a:lnTo>
                  <a:lnTo>
                    <a:pt x="1872" y="172"/>
                  </a:lnTo>
                  <a:lnTo>
                    <a:pt x="1869" y="172"/>
                  </a:lnTo>
                  <a:lnTo>
                    <a:pt x="1867" y="172"/>
                  </a:lnTo>
                  <a:lnTo>
                    <a:pt x="1866" y="171"/>
                  </a:lnTo>
                  <a:lnTo>
                    <a:pt x="1864" y="169"/>
                  </a:lnTo>
                  <a:lnTo>
                    <a:pt x="1862" y="168"/>
                  </a:lnTo>
                  <a:lnTo>
                    <a:pt x="1858" y="163"/>
                  </a:lnTo>
                  <a:lnTo>
                    <a:pt x="1856" y="160"/>
                  </a:lnTo>
                  <a:lnTo>
                    <a:pt x="1856" y="161"/>
                  </a:lnTo>
                  <a:lnTo>
                    <a:pt x="1856" y="164"/>
                  </a:lnTo>
                  <a:lnTo>
                    <a:pt x="1858" y="166"/>
                  </a:lnTo>
                  <a:lnTo>
                    <a:pt x="1858" y="169"/>
                  </a:lnTo>
                  <a:lnTo>
                    <a:pt x="1858" y="172"/>
                  </a:lnTo>
                  <a:lnTo>
                    <a:pt x="1859" y="175"/>
                  </a:lnTo>
                  <a:lnTo>
                    <a:pt x="1859" y="179"/>
                  </a:lnTo>
                  <a:lnTo>
                    <a:pt x="1859" y="182"/>
                  </a:lnTo>
                  <a:lnTo>
                    <a:pt x="1858" y="182"/>
                  </a:lnTo>
                  <a:lnTo>
                    <a:pt x="1856" y="180"/>
                  </a:lnTo>
                  <a:lnTo>
                    <a:pt x="1853" y="180"/>
                  </a:lnTo>
                  <a:lnTo>
                    <a:pt x="1848" y="179"/>
                  </a:lnTo>
                  <a:lnTo>
                    <a:pt x="1843" y="175"/>
                  </a:lnTo>
                  <a:lnTo>
                    <a:pt x="1843" y="183"/>
                  </a:lnTo>
                  <a:lnTo>
                    <a:pt x="1845" y="193"/>
                  </a:lnTo>
                  <a:lnTo>
                    <a:pt x="1845" y="194"/>
                  </a:lnTo>
                  <a:lnTo>
                    <a:pt x="1843" y="196"/>
                  </a:lnTo>
                  <a:lnTo>
                    <a:pt x="1843" y="199"/>
                  </a:lnTo>
                  <a:lnTo>
                    <a:pt x="1842" y="201"/>
                  </a:lnTo>
                  <a:lnTo>
                    <a:pt x="1840" y="201"/>
                  </a:lnTo>
                  <a:lnTo>
                    <a:pt x="1839" y="202"/>
                  </a:lnTo>
                  <a:lnTo>
                    <a:pt x="1837" y="202"/>
                  </a:lnTo>
                  <a:lnTo>
                    <a:pt x="1832" y="202"/>
                  </a:lnTo>
                  <a:lnTo>
                    <a:pt x="1829" y="201"/>
                  </a:lnTo>
                  <a:lnTo>
                    <a:pt x="1824" y="201"/>
                  </a:lnTo>
                  <a:lnTo>
                    <a:pt x="1820" y="199"/>
                  </a:lnTo>
                  <a:lnTo>
                    <a:pt x="1815" y="197"/>
                  </a:lnTo>
                  <a:lnTo>
                    <a:pt x="1812" y="196"/>
                  </a:lnTo>
                  <a:lnTo>
                    <a:pt x="1810" y="196"/>
                  </a:lnTo>
                  <a:lnTo>
                    <a:pt x="1809" y="194"/>
                  </a:lnTo>
                  <a:lnTo>
                    <a:pt x="1807" y="193"/>
                  </a:lnTo>
                  <a:lnTo>
                    <a:pt x="1807" y="191"/>
                  </a:lnTo>
                  <a:lnTo>
                    <a:pt x="1807" y="186"/>
                  </a:lnTo>
                  <a:lnTo>
                    <a:pt x="1805" y="180"/>
                  </a:lnTo>
                  <a:lnTo>
                    <a:pt x="1804" y="179"/>
                  </a:lnTo>
                  <a:lnTo>
                    <a:pt x="1804" y="175"/>
                  </a:lnTo>
                  <a:lnTo>
                    <a:pt x="1802" y="174"/>
                  </a:lnTo>
                  <a:lnTo>
                    <a:pt x="1799" y="172"/>
                  </a:lnTo>
                  <a:lnTo>
                    <a:pt x="1798" y="171"/>
                  </a:lnTo>
                  <a:lnTo>
                    <a:pt x="1794" y="171"/>
                  </a:lnTo>
                  <a:lnTo>
                    <a:pt x="1793" y="171"/>
                  </a:lnTo>
                  <a:lnTo>
                    <a:pt x="1790" y="169"/>
                  </a:lnTo>
                  <a:lnTo>
                    <a:pt x="1788" y="169"/>
                  </a:lnTo>
                  <a:lnTo>
                    <a:pt x="1787" y="168"/>
                  </a:lnTo>
                  <a:lnTo>
                    <a:pt x="1787" y="166"/>
                  </a:lnTo>
                  <a:lnTo>
                    <a:pt x="1785" y="166"/>
                  </a:lnTo>
                  <a:lnTo>
                    <a:pt x="1785" y="164"/>
                  </a:lnTo>
                  <a:lnTo>
                    <a:pt x="1785" y="163"/>
                  </a:lnTo>
                  <a:lnTo>
                    <a:pt x="1785" y="161"/>
                  </a:lnTo>
                  <a:lnTo>
                    <a:pt x="1785" y="160"/>
                  </a:lnTo>
                  <a:lnTo>
                    <a:pt x="1787" y="158"/>
                  </a:lnTo>
                  <a:lnTo>
                    <a:pt x="1788" y="156"/>
                  </a:lnTo>
                  <a:lnTo>
                    <a:pt x="1790" y="155"/>
                  </a:lnTo>
                  <a:lnTo>
                    <a:pt x="1794" y="155"/>
                  </a:lnTo>
                  <a:lnTo>
                    <a:pt x="1798" y="155"/>
                  </a:lnTo>
                  <a:lnTo>
                    <a:pt x="1799" y="155"/>
                  </a:lnTo>
                  <a:lnTo>
                    <a:pt x="1802" y="155"/>
                  </a:lnTo>
                  <a:lnTo>
                    <a:pt x="1807" y="155"/>
                  </a:lnTo>
                  <a:lnTo>
                    <a:pt x="1810" y="155"/>
                  </a:lnTo>
                  <a:lnTo>
                    <a:pt x="1804" y="150"/>
                  </a:lnTo>
                  <a:lnTo>
                    <a:pt x="1796" y="145"/>
                  </a:lnTo>
                  <a:lnTo>
                    <a:pt x="1791" y="142"/>
                  </a:lnTo>
                  <a:lnTo>
                    <a:pt x="1788" y="139"/>
                  </a:lnTo>
                  <a:lnTo>
                    <a:pt x="1787" y="138"/>
                  </a:lnTo>
                  <a:lnTo>
                    <a:pt x="1787" y="136"/>
                  </a:lnTo>
                  <a:lnTo>
                    <a:pt x="1785" y="134"/>
                  </a:lnTo>
                  <a:lnTo>
                    <a:pt x="1785" y="133"/>
                  </a:lnTo>
                  <a:lnTo>
                    <a:pt x="1787" y="131"/>
                  </a:lnTo>
                  <a:lnTo>
                    <a:pt x="1787" y="130"/>
                  </a:lnTo>
                  <a:lnTo>
                    <a:pt x="1790" y="127"/>
                  </a:lnTo>
                  <a:lnTo>
                    <a:pt x="1793" y="125"/>
                  </a:lnTo>
                  <a:lnTo>
                    <a:pt x="1798" y="122"/>
                  </a:lnTo>
                  <a:lnTo>
                    <a:pt x="1804" y="120"/>
                  </a:lnTo>
                  <a:lnTo>
                    <a:pt x="1810" y="117"/>
                  </a:lnTo>
                  <a:lnTo>
                    <a:pt x="1815" y="117"/>
                  </a:lnTo>
                  <a:lnTo>
                    <a:pt x="1820" y="115"/>
                  </a:lnTo>
                  <a:lnTo>
                    <a:pt x="1823" y="115"/>
                  </a:lnTo>
                  <a:lnTo>
                    <a:pt x="1824" y="117"/>
                  </a:lnTo>
                  <a:lnTo>
                    <a:pt x="1828" y="119"/>
                  </a:lnTo>
                  <a:lnTo>
                    <a:pt x="1829" y="120"/>
                  </a:lnTo>
                  <a:lnTo>
                    <a:pt x="1832" y="123"/>
                  </a:lnTo>
                  <a:lnTo>
                    <a:pt x="1837" y="127"/>
                  </a:lnTo>
                  <a:lnTo>
                    <a:pt x="1839" y="123"/>
                  </a:lnTo>
                  <a:lnTo>
                    <a:pt x="1840" y="120"/>
                  </a:lnTo>
                  <a:lnTo>
                    <a:pt x="1840" y="115"/>
                  </a:lnTo>
                  <a:lnTo>
                    <a:pt x="1840" y="112"/>
                  </a:lnTo>
                  <a:lnTo>
                    <a:pt x="1840" y="108"/>
                  </a:lnTo>
                  <a:lnTo>
                    <a:pt x="1843" y="104"/>
                  </a:lnTo>
                  <a:lnTo>
                    <a:pt x="1845" y="104"/>
                  </a:lnTo>
                  <a:lnTo>
                    <a:pt x="1847" y="103"/>
                  </a:lnTo>
                  <a:lnTo>
                    <a:pt x="1848" y="103"/>
                  </a:lnTo>
                  <a:lnTo>
                    <a:pt x="1850" y="103"/>
                  </a:lnTo>
                  <a:lnTo>
                    <a:pt x="1851" y="104"/>
                  </a:lnTo>
                  <a:lnTo>
                    <a:pt x="1853" y="104"/>
                  </a:lnTo>
                  <a:lnTo>
                    <a:pt x="1854" y="104"/>
                  </a:lnTo>
                  <a:lnTo>
                    <a:pt x="1856" y="103"/>
                  </a:lnTo>
                  <a:lnTo>
                    <a:pt x="1858" y="103"/>
                  </a:lnTo>
                  <a:lnTo>
                    <a:pt x="1858" y="101"/>
                  </a:lnTo>
                  <a:lnTo>
                    <a:pt x="1858" y="100"/>
                  </a:lnTo>
                  <a:lnTo>
                    <a:pt x="1858" y="97"/>
                  </a:lnTo>
                  <a:lnTo>
                    <a:pt x="1858" y="92"/>
                  </a:lnTo>
                  <a:lnTo>
                    <a:pt x="1858" y="87"/>
                  </a:lnTo>
                  <a:lnTo>
                    <a:pt x="1867" y="87"/>
                  </a:lnTo>
                  <a:lnTo>
                    <a:pt x="1869" y="87"/>
                  </a:lnTo>
                  <a:lnTo>
                    <a:pt x="1869" y="89"/>
                  </a:lnTo>
                  <a:lnTo>
                    <a:pt x="1870" y="89"/>
                  </a:lnTo>
                  <a:lnTo>
                    <a:pt x="1872" y="92"/>
                  </a:lnTo>
                  <a:lnTo>
                    <a:pt x="1873" y="92"/>
                  </a:lnTo>
                  <a:lnTo>
                    <a:pt x="1875" y="93"/>
                  </a:lnTo>
                  <a:lnTo>
                    <a:pt x="1878" y="93"/>
                  </a:lnTo>
                  <a:lnTo>
                    <a:pt x="1880" y="93"/>
                  </a:lnTo>
                  <a:lnTo>
                    <a:pt x="1878" y="87"/>
                  </a:lnTo>
                  <a:lnTo>
                    <a:pt x="1875" y="84"/>
                  </a:lnTo>
                  <a:lnTo>
                    <a:pt x="1873" y="81"/>
                  </a:lnTo>
                  <a:lnTo>
                    <a:pt x="1873" y="79"/>
                  </a:lnTo>
                  <a:lnTo>
                    <a:pt x="1872" y="76"/>
                  </a:lnTo>
                  <a:lnTo>
                    <a:pt x="1872" y="73"/>
                  </a:lnTo>
                  <a:lnTo>
                    <a:pt x="1875" y="73"/>
                  </a:lnTo>
                  <a:lnTo>
                    <a:pt x="1880" y="73"/>
                  </a:lnTo>
                  <a:lnTo>
                    <a:pt x="1884" y="73"/>
                  </a:lnTo>
                  <a:lnTo>
                    <a:pt x="1888" y="73"/>
                  </a:lnTo>
                  <a:lnTo>
                    <a:pt x="1886" y="71"/>
                  </a:lnTo>
                  <a:lnTo>
                    <a:pt x="1884" y="68"/>
                  </a:lnTo>
                  <a:lnTo>
                    <a:pt x="1883" y="67"/>
                  </a:lnTo>
                  <a:lnTo>
                    <a:pt x="1880" y="65"/>
                  </a:lnTo>
                  <a:lnTo>
                    <a:pt x="1880" y="52"/>
                  </a:lnTo>
                  <a:lnTo>
                    <a:pt x="1886" y="52"/>
                  </a:lnTo>
                  <a:lnTo>
                    <a:pt x="1889" y="52"/>
                  </a:lnTo>
                  <a:lnTo>
                    <a:pt x="1891" y="54"/>
                  </a:lnTo>
                  <a:lnTo>
                    <a:pt x="1892" y="56"/>
                  </a:lnTo>
                  <a:lnTo>
                    <a:pt x="1894" y="59"/>
                  </a:lnTo>
                  <a:lnTo>
                    <a:pt x="1896" y="57"/>
                  </a:lnTo>
                  <a:lnTo>
                    <a:pt x="1899" y="56"/>
                  </a:lnTo>
                  <a:lnTo>
                    <a:pt x="1900" y="56"/>
                  </a:lnTo>
                  <a:lnTo>
                    <a:pt x="1902" y="54"/>
                  </a:lnTo>
                  <a:lnTo>
                    <a:pt x="1905" y="51"/>
                  </a:lnTo>
                  <a:lnTo>
                    <a:pt x="1910" y="46"/>
                  </a:lnTo>
                  <a:lnTo>
                    <a:pt x="1914" y="51"/>
                  </a:lnTo>
                  <a:lnTo>
                    <a:pt x="1922" y="54"/>
                  </a:lnTo>
                  <a:lnTo>
                    <a:pt x="1924" y="54"/>
                  </a:lnTo>
                  <a:lnTo>
                    <a:pt x="1926" y="52"/>
                  </a:lnTo>
                  <a:lnTo>
                    <a:pt x="1926" y="51"/>
                  </a:lnTo>
                  <a:lnTo>
                    <a:pt x="1927" y="48"/>
                  </a:lnTo>
                  <a:lnTo>
                    <a:pt x="1927" y="46"/>
                  </a:lnTo>
                  <a:lnTo>
                    <a:pt x="1929" y="43"/>
                  </a:lnTo>
                  <a:lnTo>
                    <a:pt x="1930" y="41"/>
                  </a:lnTo>
                  <a:lnTo>
                    <a:pt x="1930" y="40"/>
                  </a:lnTo>
                  <a:lnTo>
                    <a:pt x="1935" y="40"/>
                  </a:lnTo>
                  <a:lnTo>
                    <a:pt x="1938" y="38"/>
                  </a:lnTo>
                  <a:lnTo>
                    <a:pt x="1943" y="35"/>
                  </a:lnTo>
                  <a:lnTo>
                    <a:pt x="1946" y="33"/>
                  </a:lnTo>
                  <a:lnTo>
                    <a:pt x="1952" y="27"/>
                  </a:lnTo>
                  <a:lnTo>
                    <a:pt x="1963" y="24"/>
                  </a:lnTo>
                  <a:lnTo>
                    <a:pt x="2006" y="24"/>
                  </a:lnTo>
                  <a:lnTo>
                    <a:pt x="2006" y="15"/>
                  </a:lnTo>
                  <a:lnTo>
                    <a:pt x="2009" y="15"/>
                  </a:lnTo>
                  <a:lnTo>
                    <a:pt x="2012" y="15"/>
                  </a:lnTo>
                  <a:lnTo>
                    <a:pt x="2017" y="16"/>
                  </a:lnTo>
                  <a:lnTo>
                    <a:pt x="2020" y="18"/>
                  </a:lnTo>
                  <a:lnTo>
                    <a:pt x="2025" y="19"/>
                  </a:lnTo>
                  <a:lnTo>
                    <a:pt x="2031" y="24"/>
                  </a:lnTo>
                  <a:lnTo>
                    <a:pt x="2038" y="27"/>
                  </a:lnTo>
                  <a:lnTo>
                    <a:pt x="2042" y="30"/>
                  </a:lnTo>
                  <a:lnTo>
                    <a:pt x="2046" y="32"/>
                  </a:lnTo>
                  <a:lnTo>
                    <a:pt x="2049" y="33"/>
                  </a:lnTo>
                  <a:lnTo>
                    <a:pt x="2054" y="33"/>
                  </a:lnTo>
                  <a:lnTo>
                    <a:pt x="2057" y="33"/>
                  </a:lnTo>
                  <a:lnTo>
                    <a:pt x="2061" y="33"/>
                  </a:lnTo>
                  <a:lnTo>
                    <a:pt x="2066" y="32"/>
                  </a:lnTo>
                  <a:lnTo>
                    <a:pt x="2071" y="30"/>
                  </a:lnTo>
                  <a:lnTo>
                    <a:pt x="2074" y="29"/>
                  </a:lnTo>
                  <a:lnTo>
                    <a:pt x="2079" y="27"/>
                  </a:lnTo>
                  <a:lnTo>
                    <a:pt x="2084" y="26"/>
                  </a:lnTo>
                  <a:lnTo>
                    <a:pt x="2088" y="24"/>
                  </a:lnTo>
                  <a:lnTo>
                    <a:pt x="2095" y="24"/>
                  </a:lnTo>
                  <a:lnTo>
                    <a:pt x="2098" y="26"/>
                  </a:lnTo>
                  <a:lnTo>
                    <a:pt x="2103" y="26"/>
                  </a:lnTo>
                  <a:lnTo>
                    <a:pt x="2106" y="26"/>
                  </a:lnTo>
                  <a:lnTo>
                    <a:pt x="2107" y="26"/>
                  </a:lnTo>
                  <a:lnTo>
                    <a:pt x="2110" y="26"/>
                  </a:lnTo>
                  <a:lnTo>
                    <a:pt x="2112" y="26"/>
                  </a:lnTo>
                  <a:lnTo>
                    <a:pt x="2114" y="26"/>
                  </a:lnTo>
                  <a:lnTo>
                    <a:pt x="2115" y="26"/>
                  </a:lnTo>
                  <a:lnTo>
                    <a:pt x="2117" y="22"/>
                  </a:lnTo>
                  <a:lnTo>
                    <a:pt x="2120" y="19"/>
                  </a:lnTo>
                  <a:lnTo>
                    <a:pt x="2121" y="15"/>
                  </a:lnTo>
                  <a:lnTo>
                    <a:pt x="2125" y="11"/>
                  </a:lnTo>
                  <a:lnTo>
                    <a:pt x="2128" y="7"/>
                  </a:lnTo>
                  <a:lnTo>
                    <a:pt x="2129" y="5"/>
                  </a:lnTo>
                  <a:lnTo>
                    <a:pt x="2131" y="3"/>
                  </a:lnTo>
                  <a:lnTo>
                    <a:pt x="2133" y="2"/>
                  </a:lnTo>
                  <a:lnTo>
                    <a:pt x="2134" y="2"/>
                  </a:lnTo>
                  <a:close/>
                  <a:moveTo>
                    <a:pt x="1523" y="388"/>
                  </a:moveTo>
                  <a:lnTo>
                    <a:pt x="1524" y="388"/>
                  </a:lnTo>
                  <a:lnTo>
                    <a:pt x="1526" y="390"/>
                  </a:lnTo>
                  <a:lnTo>
                    <a:pt x="1527" y="391"/>
                  </a:lnTo>
                  <a:lnTo>
                    <a:pt x="1529" y="393"/>
                  </a:lnTo>
                  <a:lnTo>
                    <a:pt x="1531" y="395"/>
                  </a:lnTo>
                  <a:lnTo>
                    <a:pt x="1531" y="396"/>
                  </a:lnTo>
                  <a:lnTo>
                    <a:pt x="1532" y="399"/>
                  </a:lnTo>
                  <a:lnTo>
                    <a:pt x="1532" y="401"/>
                  </a:lnTo>
                  <a:lnTo>
                    <a:pt x="1532" y="404"/>
                  </a:lnTo>
                  <a:lnTo>
                    <a:pt x="1531" y="406"/>
                  </a:lnTo>
                  <a:lnTo>
                    <a:pt x="1531" y="407"/>
                  </a:lnTo>
                  <a:lnTo>
                    <a:pt x="1527" y="409"/>
                  </a:lnTo>
                  <a:lnTo>
                    <a:pt x="1526" y="409"/>
                  </a:lnTo>
                  <a:lnTo>
                    <a:pt x="1523" y="409"/>
                  </a:lnTo>
                  <a:lnTo>
                    <a:pt x="1520" y="409"/>
                  </a:lnTo>
                  <a:lnTo>
                    <a:pt x="1515" y="409"/>
                  </a:lnTo>
                  <a:lnTo>
                    <a:pt x="1510" y="409"/>
                  </a:lnTo>
                  <a:lnTo>
                    <a:pt x="1502" y="409"/>
                  </a:lnTo>
                  <a:lnTo>
                    <a:pt x="1501" y="409"/>
                  </a:lnTo>
                  <a:lnTo>
                    <a:pt x="1497" y="410"/>
                  </a:lnTo>
                  <a:lnTo>
                    <a:pt x="1494" y="410"/>
                  </a:lnTo>
                  <a:lnTo>
                    <a:pt x="1493" y="410"/>
                  </a:lnTo>
                  <a:lnTo>
                    <a:pt x="1489" y="412"/>
                  </a:lnTo>
                  <a:lnTo>
                    <a:pt x="1486" y="414"/>
                  </a:lnTo>
                  <a:lnTo>
                    <a:pt x="1482" y="414"/>
                  </a:lnTo>
                  <a:lnTo>
                    <a:pt x="1478" y="415"/>
                  </a:lnTo>
                  <a:lnTo>
                    <a:pt x="1475" y="414"/>
                  </a:lnTo>
                  <a:lnTo>
                    <a:pt x="1474" y="414"/>
                  </a:lnTo>
                  <a:lnTo>
                    <a:pt x="1472" y="412"/>
                  </a:lnTo>
                  <a:lnTo>
                    <a:pt x="1471" y="410"/>
                  </a:lnTo>
                  <a:lnTo>
                    <a:pt x="1469" y="409"/>
                  </a:lnTo>
                  <a:lnTo>
                    <a:pt x="1469" y="406"/>
                  </a:lnTo>
                  <a:lnTo>
                    <a:pt x="1469" y="401"/>
                  </a:lnTo>
                  <a:lnTo>
                    <a:pt x="1469" y="398"/>
                  </a:lnTo>
                  <a:lnTo>
                    <a:pt x="1469" y="393"/>
                  </a:lnTo>
                  <a:lnTo>
                    <a:pt x="1471" y="388"/>
                  </a:lnTo>
                  <a:lnTo>
                    <a:pt x="1472" y="385"/>
                  </a:lnTo>
                  <a:lnTo>
                    <a:pt x="1474" y="382"/>
                  </a:lnTo>
                  <a:lnTo>
                    <a:pt x="1475" y="379"/>
                  </a:lnTo>
                  <a:lnTo>
                    <a:pt x="1477" y="376"/>
                  </a:lnTo>
                  <a:lnTo>
                    <a:pt x="1480" y="373"/>
                  </a:lnTo>
                  <a:lnTo>
                    <a:pt x="1482" y="371"/>
                  </a:lnTo>
                  <a:lnTo>
                    <a:pt x="1485" y="369"/>
                  </a:lnTo>
                  <a:lnTo>
                    <a:pt x="1488" y="368"/>
                  </a:lnTo>
                  <a:lnTo>
                    <a:pt x="1493" y="365"/>
                  </a:lnTo>
                  <a:lnTo>
                    <a:pt x="1494" y="365"/>
                  </a:lnTo>
                  <a:lnTo>
                    <a:pt x="1497" y="363"/>
                  </a:lnTo>
                  <a:lnTo>
                    <a:pt x="1502" y="362"/>
                  </a:lnTo>
                  <a:lnTo>
                    <a:pt x="1505" y="362"/>
                  </a:lnTo>
                  <a:lnTo>
                    <a:pt x="1507" y="360"/>
                  </a:lnTo>
                  <a:lnTo>
                    <a:pt x="1510" y="366"/>
                  </a:lnTo>
                  <a:lnTo>
                    <a:pt x="1515" y="376"/>
                  </a:lnTo>
                  <a:lnTo>
                    <a:pt x="1518" y="380"/>
                  </a:lnTo>
                  <a:lnTo>
                    <a:pt x="1520" y="385"/>
                  </a:lnTo>
                  <a:lnTo>
                    <a:pt x="1520" y="387"/>
                  </a:lnTo>
                  <a:lnTo>
                    <a:pt x="1521" y="388"/>
                  </a:lnTo>
                  <a:lnTo>
                    <a:pt x="1523" y="388"/>
                  </a:lnTo>
                  <a:close/>
                  <a:moveTo>
                    <a:pt x="93" y="489"/>
                  </a:moveTo>
                  <a:lnTo>
                    <a:pt x="91" y="480"/>
                  </a:lnTo>
                  <a:lnTo>
                    <a:pt x="91" y="474"/>
                  </a:lnTo>
                  <a:lnTo>
                    <a:pt x="90" y="467"/>
                  </a:lnTo>
                  <a:lnTo>
                    <a:pt x="88" y="462"/>
                  </a:lnTo>
                  <a:lnTo>
                    <a:pt x="85" y="453"/>
                  </a:lnTo>
                  <a:lnTo>
                    <a:pt x="80" y="444"/>
                  </a:lnTo>
                  <a:lnTo>
                    <a:pt x="75" y="434"/>
                  </a:lnTo>
                  <a:lnTo>
                    <a:pt x="71" y="428"/>
                  </a:lnTo>
                  <a:lnTo>
                    <a:pt x="69" y="423"/>
                  </a:lnTo>
                  <a:lnTo>
                    <a:pt x="68" y="421"/>
                  </a:lnTo>
                  <a:lnTo>
                    <a:pt x="61" y="421"/>
                  </a:lnTo>
                  <a:lnTo>
                    <a:pt x="55" y="421"/>
                  </a:lnTo>
                  <a:lnTo>
                    <a:pt x="50" y="420"/>
                  </a:lnTo>
                  <a:lnTo>
                    <a:pt x="45" y="418"/>
                  </a:lnTo>
                  <a:lnTo>
                    <a:pt x="39" y="415"/>
                  </a:lnTo>
                  <a:lnTo>
                    <a:pt x="34" y="414"/>
                  </a:lnTo>
                  <a:lnTo>
                    <a:pt x="33" y="412"/>
                  </a:lnTo>
                  <a:lnTo>
                    <a:pt x="30" y="412"/>
                  </a:lnTo>
                  <a:lnTo>
                    <a:pt x="28" y="410"/>
                  </a:lnTo>
                  <a:lnTo>
                    <a:pt x="26" y="410"/>
                  </a:lnTo>
                  <a:lnTo>
                    <a:pt x="23" y="410"/>
                  </a:lnTo>
                  <a:lnTo>
                    <a:pt x="22" y="410"/>
                  </a:lnTo>
                  <a:lnTo>
                    <a:pt x="19" y="412"/>
                  </a:lnTo>
                  <a:lnTo>
                    <a:pt x="15" y="414"/>
                  </a:lnTo>
                  <a:lnTo>
                    <a:pt x="7" y="417"/>
                  </a:lnTo>
                  <a:lnTo>
                    <a:pt x="3" y="421"/>
                  </a:lnTo>
                  <a:lnTo>
                    <a:pt x="1" y="421"/>
                  </a:lnTo>
                  <a:lnTo>
                    <a:pt x="0" y="423"/>
                  </a:lnTo>
                  <a:lnTo>
                    <a:pt x="0" y="426"/>
                  </a:lnTo>
                  <a:lnTo>
                    <a:pt x="0" y="428"/>
                  </a:lnTo>
                  <a:lnTo>
                    <a:pt x="0" y="431"/>
                  </a:lnTo>
                  <a:lnTo>
                    <a:pt x="1" y="434"/>
                  </a:lnTo>
                  <a:lnTo>
                    <a:pt x="1" y="436"/>
                  </a:lnTo>
                  <a:lnTo>
                    <a:pt x="4" y="442"/>
                  </a:lnTo>
                  <a:lnTo>
                    <a:pt x="7" y="448"/>
                  </a:lnTo>
                  <a:lnTo>
                    <a:pt x="11" y="455"/>
                  </a:lnTo>
                  <a:lnTo>
                    <a:pt x="14" y="459"/>
                  </a:lnTo>
                  <a:lnTo>
                    <a:pt x="22" y="472"/>
                  </a:lnTo>
                  <a:lnTo>
                    <a:pt x="28" y="483"/>
                  </a:lnTo>
                  <a:lnTo>
                    <a:pt x="36" y="492"/>
                  </a:lnTo>
                  <a:lnTo>
                    <a:pt x="42" y="503"/>
                  </a:lnTo>
                  <a:lnTo>
                    <a:pt x="50" y="513"/>
                  </a:lnTo>
                  <a:lnTo>
                    <a:pt x="55" y="522"/>
                  </a:lnTo>
                  <a:lnTo>
                    <a:pt x="60" y="518"/>
                  </a:lnTo>
                  <a:lnTo>
                    <a:pt x="61" y="518"/>
                  </a:lnTo>
                  <a:lnTo>
                    <a:pt x="63" y="516"/>
                  </a:lnTo>
                  <a:lnTo>
                    <a:pt x="66" y="513"/>
                  </a:lnTo>
                  <a:lnTo>
                    <a:pt x="69" y="513"/>
                  </a:lnTo>
                  <a:lnTo>
                    <a:pt x="74" y="510"/>
                  </a:lnTo>
                  <a:lnTo>
                    <a:pt x="80" y="508"/>
                  </a:lnTo>
                  <a:lnTo>
                    <a:pt x="83" y="505"/>
                  </a:lnTo>
                  <a:lnTo>
                    <a:pt x="85" y="503"/>
                  </a:lnTo>
                  <a:lnTo>
                    <a:pt x="86" y="502"/>
                  </a:lnTo>
                  <a:lnTo>
                    <a:pt x="90" y="499"/>
                  </a:lnTo>
                  <a:lnTo>
                    <a:pt x="91" y="496"/>
                  </a:lnTo>
                  <a:lnTo>
                    <a:pt x="91" y="492"/>
                  </a:lnTo>
                  <a:lnTo>
                    <a:pt x="93" y="489"/>
                  </a:lnTo>
                  <a:close/>
                  <a:moveTo>
                    <a:pt x="1787" y="462"/>
                  </a:moveTo>
                  <a:lnTo>
                    <a:pt x="1788" y="462"/>
                  </a:lnTo>
                  <a:lnTo>
                    <a:pt x="1790" y="462"/>
                  </a:lnTo>
                  <a:lnTo>
                    <a:pt x="1791" y="464"/>
                  </a:lnTo>
                  <a:lnTo>
                    <a:pt x="1794" y="467"/>
                  </a:lnTo>
                  <a:lnTo>
                    <a:pt x="1796" y="469"/>
                  </a:lnTo>
                  <a:lnTo>
                    <a:pt x="1798" y="472"/>
                  </a:lnTo>
                  <a:lnTo>
                    <a:pt x="1799" y="475"/>
                  </a:lnTo>
                  <a:lnTo>
                    <a:pt x="1799" y="478"/>
                  </a:lnTo>
                  <a:lnTo>
                    <a:pt x="1799" y="480"/>
                  </a:lnTo>
                  <a:lnTo>
                    <a:pt x="1799" y="483"/>
                  </a:lnTo>
                  <a:lnTo>
                    <a:pt x="1799" y="488"/>
                  </a:lnTo>
                  <a:lnTo>
                    <a:pt x="1798" y="489"/>
                  </a:lnTo>
                  <a:lnTo>
                    <a:pt x="1794" y="492"/>
                  </a:lnTo>
                  <a:lnTo>
                    <a:pt x="1793" y="496"/>
                  </a:lnTo>
                  <a:lnTo>
                    <a:pt x="1790" y="497"/>
                  </a:lnTo>
                  <a:lnTo>
                    <a:pt x="1787" y="499"/>
                  </a:lnTo>
                  <a:lnTo>
                    <a:pt x="1783" y="499"/>
                  </a:lnTo>
                  <a:lnTo>
                    <a:pt x="1782" y="497"/>
                  </a:lnTo>
                  <a:lnTo>
                    <a:pt x="1779" y="492"/>
                  </a:lnTo>
                  <a:lnTo>
                    <a:pt x="1774" y="488"/>
                  </a:lnTo>
                  <a:lnTo>
                    <a:pt x="1769" y="480"/>
                  </a:lnTo>
                  <a:lnTo>
                    <a:pt x="1763" y="472"/>
                  </a:lnTo>
                  <a:lnTo>
                    <a:pt x="1758" y="466"/>
                  </a:lnTo>
                  <a:lnTo>
                    <a:pt x="1756" y="459"/>
                  </a:lnTo>
                  <a:lnTo>
                    <a:pt x="1753" y="458"/>
                  </a:lnTo>
                  <a:lnTo>
                    <a:pt x="1753" y="456"/>
                  </a:lnTo>
                  <a:lnTo>
                    <a:pt x="1755" y="455"/>
                  </a:lnTo>
                  <a:lnTo>
                    <a:pt x="1756" y="453"/>
                  </a:lnTo>
                  <a:lnTo>
                    <a:pt x="1756" y="451"/>
                  </a:lnTo>
                  <a:lnTo>
                    <a:pt x="1760" y="448"/>
                  </a:lnTo>
                  <a:lnTo>
                    <a:pt x="1763" y="447"/>
                  </a:lnTo>
                  <a:lnTo>
                    <a:pt x="1766" y="444"/>
                  </a:lnTo>
                  <a:lnTo>
                    <a:pt x="1769" y="440"/>
                  </a:lnTo>
                  <a:lnTo>
                    <a:pt x="1771" y="439"/>
                  </a:lnTo>
                  <a:lnTo>
                    <a:pt x="1771" y="437"/>
                  </a:lnTo>
                  <a:lnTo>
                    <a:pt x="1772" y="436"/>
                  </a:lnTo>
                  <a:lnTo>
                    <a:pt x="1772" y="434"/>
                  </a:lnTo>
                  <a:lnTo>
                    <a:pt x="1777" y="437"/>
                  </a:lnTo>
                  <a:lnTo>
                    <a:pt x="1782" y="442"/>
                  </a:lnTo>
                  <a:lnTo>
                    <a:pt x="1783" y="442"/>
                  </a:lnTo>
                  <a:lnTo>
                    <a:pt x="1785" y="444"/>
                  </a:lnTo>
                  <a:lnTo>
                    <a:pt x="1787" y="447"/>
                  </a:lnTo>
                  <a:lnTo>
                    <a:pt x="1787" y="448"/>
                  </a:lnTo>
                  <a:lnTo>
                    <a:pt x="1787" y="450"/>
                  </a:lnTo>
                  <a:lnTo>
                    <a:pt x="1787" y="455"/>
                  </a:lnTo>
                  <a:lnTo>
                    <a:pt x="1785" y="458"/>
                  </a:lnTo>
                  <a:lnTo>
                    <a:pt x="1785" y="459"/>
                  </a:lnTo>
                  <a:lnTo>
                    <a:pt x="1787" y="459"/>
                  </a:lnTo>
                  <a:lnTo>
                    <a:pt x="1787" y="461"/>
                  </a:lnTo>
                  <a:lnTo>
                    <a:pt x="1787" y="462"/>
                  </a:lnTo>
                  <a:close/>
                  <a:moveTo>
                    <a:pt x="1651" y="291"/>
                  </a:moveTo>
                  <a:lnTo>
                    <a:pt x="1651" y="294"/>
                  </a:lnTo>
                  <a:lnTo>
                    <a:pt x="1652" y="298"/>
                  </a:lnTo>
                  <a:lnTo>
                    <a:pt x="1654" y="300"/>
                  </a:lnTo>
                  <a:lnTo>
                    <a:pt x="1654" y="303"/>
                  </a:lnTo>
                  <a:lnTo>
                    <a:pt x="1655" y="306"/>
                  </a:lnTo>
                  <a:lnTo>
                    <a:pt x="1657" y="308"/>
                  </a:lnTo>
                  <a:lnTo>
                    <a:pt x="1659" y="311"/>
                  </a:lnTo>
                  <a:lnTo>
                    <a:pt x="1659" y="314"/>
                  </a:lnTo>
                  <a:lnTo>
                    <a:pt x="1657" y="317"/>
                  </a:lnTo>
                  <a:lnTo>
                    <a:pt x="1657" y="319"/>
                  </a:lnTo>
                  <a:lnTo>
                    <a:pt x="1657" y="322"/>
                  </a:lnTo>
                  <a:lnTo>
                    <a:pt x="1659" y="322"/>
                  </a:lnTo>
                  <a:lnTo>
                    <a:pt x="1660" y="322"/>
                  </a:lnTo>
                  <a:lnTo>
                    <a:pt x="1662" y="322"/>
                  </a:lnTo>
                  <a:lnTo>
                    <a:pt x="1663" y="322"/>
                  </a:lnTo>
                  <a:lnTo>
                    <a:pt x="1666" y="322"/>
                  </a:lnTo>
                  <a:lnTo>
                    <a:pt x="1668" y="322"/>
                  </a:lnTo>
                  <a:lnTo>
                    <a:pt x="1670" y="319"/>
                  </a:lnTo>
                  <a:lnTo>
                    <a:pt x="1670" y="314"/>
                  </a:lnTo>
                  <a:lnTo>
                    <a:pt x="1670" y="309"/>
                  </a:lnTo>
                  <a:lnTo>
                    <a:pt x="1670" y="306"/>
                  </a:lnTo>
                  <a:lnTo>
                    <a:pt x="1670" y="300"/>
                  </a:lnTo>
                  <a:lnTo>
                    <a:pt x="1670" y="297"/>
                  </a:lnTo>
                  <a:lnTo>
                    <a:pt x="1670" y="294"/>
                  </a:lnTo>
                  <a:lnTo>
                    <a:pt x="1668" y="291"/>
                  </a:lnTo>
                  <a:lnTo>
                    <a:pt x="1668" y="287"/>
                  </a:lnTo>
                  <a:lnTo>
                    <a:pt x="1666" y="286"/>
                  </a:lnTo>
                  <a:lnTo>
                    <a:pt x="1663" y="286"/>
                  </a:lnTo>
                  <a:lnTo>
                    <a:pt x="1662" y="284"/>
                  </a:lnTo>
                  <a:lnTo>
                    <a:pt x="1659" y="283"/>
                  </a:lnTo>
                  <a:lnTo>
                    <a:pt x="1655" y="283"/>
                  </a:lnTo>
                  <a:lnTo>
                    <a:pt x="1654" y="284"/>
                  </a:lnTo>
                  <a:lnTo>
                    <a:pt x="1652" y="284"/>
                  </a:lnTo>
                  <a:lnTo>
                    <a:pt x="1651" y="286"/>
                  </a:lnTo>
                  <a:lnTo>
                    <a:pt x="1651" y="287"/>
                  </a:lnTo>
                  <a:lnTo>
                    <a:pt x="1651" y="289"/>
                  </a:lnTo>
                  <a:lnTo>
                    <a:pt x="1651" y="291"/>
                  </a:lnTo>
                  <a:close/>
                  <a:moveTo>
                    <a:pt x="1125" y="920"/>
                  </a:moveTo>
                  <a:lnTo>
                    <a:pt x="1125" y="920"/>
                  </a:lnTo>
                  <a:close/>
                  <a:moveTo>
                    <a:pt x="564" y="513"/>
                  </a:moveTo>
                  <a:lnTo>
                    <a:pt x="562" y="510"/>
                  </a:lnTo>
                  <a:lnTo>
                    <a:pt x="560" y="507"/>
                  </a:lnTo>
                  <a:lnTo>
                    <a:pt x="559" y="499"/>
                  </a:lnTo>
                  <a:lnTo>
                    <a:pt x="557" y="489"/>
                  </a:lnTo>
                  <a:lnTo>
                    <a:pt x="556" y="486"/>
                  </a:lnTo>
                  <a:lnTo>
                    <a:pt x="556" y="483"/>
                  </a:lnTo>
                  <a:lnTo>
                    <a:pt x="554" y="478"/>
                  </a:lnTo>
                  <a:lnTo>
                    <a:pt x="553" y="477"/>
                  </a:lnTo>
                  <a:lnTo>
                    <a:pt x="548" y="474"/>
                  </a:lnTo>
                  <a:lnTo>
                    <a:pt x="542" y="472"/>
                  </a:lnTo>
                  <a:lnTo>
                    <a:pt x="537" y="470"/>
                  </a:lnTo>
                  <a:lnTo>
                    <a:pt x="532" y="469"/>
                  </a:lnTo>
                  <a:lnTo>
                    <a:pt x="529" y="467"/>
                  </a:lnTo>
                  <a:lnTo>
                    <a:pt x="526" y="467"/>
                  </a:lnTo>
                  <a:lnTo>
                    <a:pt x="524" y="466"/>
                  </a:lnTo>
                  <a:lnTo>
                    <a:pt x="521" y="464"/>
                  </a:lnTo>
                  <a:lnTo>
                    <a:pt x="516" y="462"/>
                  </a:lnTo>
                  <a:lnTo>
                    <a:pt x="515" y="459"/>
                  </a:lnTo>
                  <a:lnTo>
                    <a:pt x="512" y="459"/>
                  </a:lnTo>
                  <a:lnTo>
                    <a:pt x="508" y="458"/>
                  </a:lnTo>
                  <a:lnTo>
                    <a:pt x="507" y="456"/>
                  </a:lnTo>
                  <a:lnTo>
                    <a:pt x="504" y="458"/>
                  </a:lnTo>
                  <a:lnTo>
                    <a:pt x="502" y="459"/>
                  </a:lnTo>
                  <a:lnTo>
                    <a:pt x="500" y="459"/>
                  </a:lnTo>
                  <a:lnTo>
                    <a:pt x="499" y="462"/>
                  </a:lnTo>
                  <a:lnTo>
                    <a:pt x="496" y="464"/>
                  </a:lnTo>
                  <a:lnTo>
                    <a:pt x="494" y="464"/>
                  </a:lnTo>
                  <a:lnTo>
                    <a:pt x="493" y="466"/>
                  </a:lnTo>
                  <a:lnTo>
                    <a:pt x="491" y="464"/>
                  </a:lnTo>
                  <a:lnTo>
                    <a:pt x="491" y="481"/>
                  </a:lnTo>
                  <a:lnTo>
                    <a:pt x="485" y="481"/>
                  </a:lnTo>
                  <a:lnTo>
                    <a:pt x="480" y="481"/>
                  </a:lnTo>
                  <a:lnTo>
                    <a:pt x="475" y="483"/>
                  </a:lnTo>
                  <a:lnTo>
                    <a:pt x="472" y="483"/>
                  </a:lnTo>
                  <a:lnTo>
                    <a:pt x="470" y="485"/>
                  </a:lnTo>
                  <a:lnTo>
                    <a:pt x="469" y="486"/>
                  </a:lnTo>
                  <a:lnTo>
                    <a:pt x="470" y="485"/>
                  </a:lnTo>
                  <a:lnTo>
                    <a:pt x="467" y="485"/>
                  </a:lnTo>
                  <a:lnTo>
                    <a:pt x="436" y="485"/>
                  </a:lnTo>
                  <a:lnTo>
                    <a:pt x="434" y="488"/>
                  </a:lnTo>
                  <a:lnTo>
                    <a:pt x="433" y="491"/>
                  </a:lnTo>
                  <a:lnTo>
                    <a:pt x="431" y="494"/>
                  </a:lnTo>
                  <a:lnTo>
                    <a:pt x="429" y="496"/>
                  </a:lnTo>
                  <a:lnTo>
                    <a:pt x="425" y="500"/>
                  </a:lnTo>
                  <a:lnTo>
                    <a:pt x="420" y="503"/>
                  </a:lnTo>
                  <a:lnTo>
                    <a:pt x="417" y="507"/>
                  </a:lnTo>
                  <a:lnTo>
                    <a:pt x="412" y="510"/>
                  </a:lnTo>
                  <a:lnTo>
                    <a:pt x="407" y="513"/>
                  </a:lnTo>
                  <a:lnTo>
                    <a:pt x="404" y="518"/>
                  </a:lnTo>
                  <a:lnTo>
                    <a:pt x="402" y="521"/>
                  </a:lnTo>
                  <a:lnTo>
                    <a:pt x="401" y="524"/>
                  </a:lnTo>
                  <a:lnTo>
                    <a:pt x="399" y="527"/>
                  </a:lnTo>
                  <a:lnTo>
                    <a:pt x="399" y="530"/>
                  </a:lnTo>
                  <a:lnTo>
                    <a:pt x="396" y="533"/>
                  </a:lnTo>
                  <a:lnTo>
                    <a:pt x="396" y="537"/>
                  </a:lnTo>
                  <a:lnTo>
                    <a:pt x="393" y="540"/>
                  </a:lnTo>
                  <a:lnTo>
                    <a:pt x="391" y="543"/>
                  </a:lnTo>
                  <a:lnTo>
                    <a:pt x="388" y="543"/>
                  </a:lnTo>
                  <a:lnTo>
                    <a:pt x="385" y="544"/>
                  </a:lnTo>
                  <a:lnTo>
                    <a:pt x="382" y="544"/>
                  </a:lnTo>
                  <a:lnTo>
                    <a:pt x="379" y="543"/>
                  </a:lnTo>
                  <a:lnTo>
                    <a:pt x="374" y="543"/>
                  </a:lnTo>
                  <a:lnTo>
                    <a:pt x="369" y="544"/>
                  </a:lnTo>
                  <a:lnTo>
                    <a:pt x="368" y="544"/>
                  </a:lnTo>
                  <a:lnTo>
                    <a:pt x="366" y="544"/>
                  </a:lnTo>
                  <a:lnTo>
                    <a:pt x="365" y="546"/>
                  </a:lnTo>
                  <a:lnTo>
                    <a:pt x="363" y="546"/>
                  </a:lnTo>
                  <a:lnTo>
                    <a:pt x="361" y="549"/>
                  </a:lnTo>
                  <a:lnTo>
                    <a:pt x="360" y="549"/>
                  </a:lnTo>
                  <a:lnTo>
                    <a:pt x="360" y="551"/>
                  </a:lnTo>
                  <a:lnTo>
                    <a:pt x="360" y="554"/>
                  </a:lnTo>
                  <a:lnTo>
                    <a:pt x="360" y="557"/>
                  </a:lnTo>
                  <a:lnTo>
                    <a:pt x="360" y="560"/>
                  </a:lnTo>
                  <a:lnTo>
                    <a:pt x="361" y="563"/>
                  </a:lnTo>
                  <a:lnTo>
                    <a:pt x="363" y="568"/>
                  </a:lnTo>
                  <a:lnTo>
                    <a:pt x="363" y="570"/>
                  </a:lnTo>
                  <a:lnTo>
                    <a:pt x="363" y="573"/>
                  </a:lnTo>
                  <a:lnTo>
                    <a:pt x="363" y="574"/>
                  </a:lnTo>
                  <a:lnTo>
                    <a:pt x="363" y="576"/>
                  </a:lnTo>
                  <a:lnTo>
                    <a:pt x="358" y="579"/>
                  </a:lnTo>
                  <a:lnTo>
                    <a:pt x="350" y="582"/>
                  </a:lnTo>
                  <a:lnTo>
                    <a:pt x="344" y="584"/>
                  </a:lnTo>
                  <a:lnTo>
                    <a:pt x="341" y="585"/>
                  </a:lnTo>
                  <a:lnTo>
                    <a:pt x="338" y="589"/>
                  </a:lnTo>
                  <a:lnTo>
                    <a:pt x="336" y="590"/>
                  </a:lnTo>
                  <a:lnTo>
                    <a:pt x="335" y="593"/>
                  </a:lnTo>
                  <a:lnTo>
                    <a:pt x="333" y="597"/>
                  </a:lnTo>
                  <a:lnTo>
                    <a:pt x="330" y="603"/>
                  </a:lnTo>
                  <a:lnTo>
                    <a:pt x="328" y="609"/>
                  </a:lnTo>
                  <a:lnTo>
                    <a:pt x="327" y="617"/>
                  </a:lnTo>
                  <a:lnTo>
                    <a:pt x="325" y="623"/>
                  </a:lnTo>
                  <a:lnTo>
                    <a:pt x="322" y="630"/>
                  </a:lnTo>
                  <a:lnTo>
                    <a:pt x="320" y="634"/>
                  </a:lnTo>
                  <a:lnTo>
                    <a:pt x="319" y="638"/>
                  </a:lnTo>
                  <a:lnTo>
                    <a:pt x="317" y="639"/>
                  </a:lnTo>
                  <a:lnTo>
                    <a:pt x="314" y="641"/>
                  </a:lnTo>
                  <a:lnTo>
                    <a:pt x="311" y="642"/>
                  </a:lnTo>
                  <a:lnTo>
                    <a:pt x="309" y="645"/>
                  </a:lnTo>
                  <a:lnTo>
                    <a:pt x="308" y="647"/>
                  </a:lnTo>
                  <a:lnTo>
                    <a:pt x="308" y="649"/>
                  </a:lnTo>
                  <a:lnTo>
                    <a:pt x="308" y="650"/>
                  </a:lnTo>
                  <a:lnTo>
                    <a:pt x="306" y="650"/>
                  </a:lnTo>
                  <a:lnTo>
                    <a:pt x="306" y="653"/>
                  </a:lnTo>
                  <a:lnTo>
                    <a:pt x="306" y="656"/>
                  </a:lnTo>
                  <a:lnTo>
                    <a:pt x="308" y="660"/>
                  </a:lnTo>
                  <a:lnTo>
                    <a:pt x="308" y="663"/>
                  </a:lnTo>
                  <a:lnTo>
                    <a:pt x="309" y="664"/>
                  </a:lnTo>
                  <a:lnTo>
                    <a:pt x="311" y="669"/>
                  </a:lnTo>
                  <a:lnTo>
                    <a:pt x="316" y="672"/>
                  </a:lnTo>
                  <a:lnTo>
                    <a:pt x="319" y="675"/>
                  </a:lnTo>
                  <a:lnTo>
                    <a:pt x="322" y="679"/>
                  </a:lnTo>
                  <a:lnTo>
                    <a:pt x="322" y="682"/>
                  </a:lnTo>
                  <a:lnTo>
                    <a:pt x="322" y="683"/>
                  </a:lnTo>
                  <a:lnTo>
                    <a:pt x="323" y="685"/>
                  </a:lnTo>
                  <a:lnTo>
                    <a:pt x="323" y="686"/>
                  </a:lnTo>
                  <a:lnTo>
                    <a:pt x="323" y="690"/>
                  </a:lnTo>
                  <a:lnTo>
                    <a:pt x="322" y="691"/>
                  </a:lnTo>
                  <a:lnTo>
                    <a:pt x="322" y="693"/>
                  </a:lnTo>
                  <a:lnTo>
                    <a:pt x="319" y="696"/>
                  </a:lnTo>
                  <a:lnTo>
                    <a:pt x="317" y="697"/>
                  </a:lnTo>
                  <a:lnTo>
                    <a:pt x="314" y="699"/>
                  </a:lnTo>
                  <a:lnTo>
                    <a:pt x="312" y="702"/>
                  </a:lnTo>
                  <a:lnTo>
                    <a:pt x="311" y="704"/>
                  </a:lnTo>
                  <a:lnTo>
                    <a:pt x="311" y="705"/>
                  </a:lnTo>
                  <a:lnTo>
                    <a:pt x="311" y="707"/>
                  </a:lnTo>
                  <a:lnTo>
                    <a:pt x="311" y="709"/>
                  </a:lnTo>
                  <a:lnTo>
                    <a:pt x="311" y="710"/>
                  </a:lnTo>
                  <a:lnTo>
                    <a:pt x="314" y="710"/>
                  </a:lnTo>
                  <a:lnTo>
                    <a:pt x="314" y="712"/>
                  </a:lnTo>
                  <a:lnTo>
                    <a:pt x="319" y="715"/>
                  </a:lnTo>
                  <a:lnTo>
                    <a:pt x="325" y="718"/>
                  </a:lnTo>
                  <a:lnTo>
                    <a:pt x="330" y="720"/>
                  </a:lnTo>
                  <a:lnTo>
                    <a:pt x="335" y="723"/>
                  </a:lnTo>
                  <a:lnTo>
                    <a:pt x="338" y="724"/>
                  </a:lnTo>
                  <a:lnTo>
                    <a:pt x="339" y="726"/>
                  </a:lnTo>
                  <a:lnTo>
                    <a:pt x="339" y="727"/>
                  </a:lnTo>
                  <a:lnTo>
                    <a:pt x="341" y="727"/>
                  </a:lnTo>
                  <a:lnTo>
                    <a:pt x="342" y="737"/>
                  </a:lnTo>
                  <a:lnTo>
                    <a:pt x="344" y="748"/>
                  </a:lnTo>
                  <a:lnTo>
                    <a:pt x="344" y="750"/>
                  </a:lnTo>
                  <a:lnTo>
                    <a:pt x="344" y="751"/>
                  </a:lnTo>
                  <a:lnTo>
                    <a:pt x="346" y="753"/>
                  </a:lnTo>
                  <a:lnTo>
                    <a:pt x="346" y="756"/>
                  </a:lnTo>
                  <a:lnTo>
                    <a:pt x="347" y="756"/>
                  </a:lnTo>
                  <a:lnTo>
                    <a:pt x="347" y="757"/>
                  </a:lnTo>
                  <a:lnTo>
                    <a:pt x="350" y="757"/>
                  </a:lnTo>
                  <a:lnTo>
                    <a:pt x="352" y="757"/>
                  </a:lnTo>
                  <a:lnTo>
                    <a:pt x="357" y="756"/>
                  </a:lnTo>
                  <a:lnTo>
                    <a:pt x="361" y="753"/>
                  </a:lnTo>
                  <a:lnTo>
                    <a:pt x="363" y="753"/>
                  </a:lnTo>
                  <a:lnTo>
                    <a:pt x="363" y="754"/>
                  </a:lnTo>
                  <a:lnTo>
                    <a:pt x="366" y="756"/>
                  </a:lnTo>
                  <a:lnTo>
                    <a:pt x="366" y="757"/>
                  </a:lnTo>
                  <a:lnTo>
                    <a:pt x="368" y="759"/>
                  </a:lnTo>
                  <a:lnTo>
                    <a:pt x="369" y="761"/>
                  </a:lnTo>
                  <a:lnTo>
                    <a:pt x="371" y="762"/>
                  </a:lnTo>
                  <a:lnTo>
                    <a:pt x="372" y="762"/>
                  </a:lnTo>
                  <a:lnTo>
                    <a:pt x="374" y="762"/>
                  </a:lnTo>
                  <a:lnTo>
                    <a:pt x="376" y="761"/>
                  </a:lnTo>
                  <a:lnTo>
                    <a:pt x="379" y="761"/>
                  </a:lnTo>
                  <a:lnTo>
                    <a:pt x="382" y="757"/>
                  </a:lnTo>
                  <a:lnTo>
                    <a:pt x="388" y="756"/>
                  </a:lnTo>
                  <a:lnTo>
                    <a:pt x="393" y="751"/>
                  </a:lnTo>
                  <a:lnTo>
                    <a:pt x="399" y="745"/>
                  </a:lnTo>
                  <a:lnTo>
                    <a:pt x="404" y="740"/>
                  </a:lnTo>
                  <a:lnTo>
                    <a:pt x="406" y="738"/>
                  </a:lnTo>
                  <a:lnTo>
                    <a:pt x="407" y="735"/>
                  </a:lnTo>
                  <a:lnTo>
                    <a:pt x="407" y="734"/>
                  </a:lnTo>
                  <a:lnTo>
                    <a:pt x="409" y="732"/>
                  </a:lnTo>
                  <a:lnTo>
                    <a:pt x="409" y="727"/>
                  </a:lnTo>
                  <a:lnTo>
                    <a:pt x="409" y="726"/>
                  </a:lnTo>
                  <a:lnTo>
                    <a:pt x="409" y="723"/>
                  </a:lnTo>
                  <a:lnTo>
                    <a:pt x="409" y="720"/>
                  </a:lnTo>
                  <a:lnTo>
                    <a:pt x="409" y="713"/>
                  </a:lnTo>
                  <a:lnTo>
                    <a:pt x="410" y="707"/>
                  </a:lnTo>
                  <a:lnTo>
                    <a:pt x="412" y="699"/>
                  </a:lnTo>
                  <a:lnTo>
                    <a:pt x="414" y="691"/>
                  </a:lnTo>
                  <a:lnTo>
                    <a:pt x="417" y="691"/>
                  </a:lnTo>
                  <a:lnTo>
                    <a:pt x="420" y="690"/>
                  </a:lnTo>
                  <a:lnTo>
                    <a:pt x="421" y="690"/>
                  </a:lnTo>
                  <a:lnTo>
                    <a:pt x="423" y="690"/>
                  </a:lnTo>
                  <a:lnTo>
                    <a:pt x="425" y="691"/>
                  </a:lnTo>
                  <a:lnTo>
                    <a:pt x="425" y="690"/>
                  </a:lnTo>
                  <a:lnTo>
                    <a:pt x="426" y="690"/>
                  </a:lnTo>
                  <a:lnTo>
                    <a:pt x="429" y="691"/>
                  </a:lnTo>
                  <a:lnTo>
                    <a:pt x="431" y="691"/>
                  </a:lnTo>
                  <a:lnTo>
                    <a:pt x="434" y="696"/>
                  </a:lnTo>
                  <a:lnTo>
                    <a:pt x="434" y="699"/>
                  </a:lnTo>
                  <a:lnTo>
                    <a:pt x="436" y="702"/>
                  </a:lnTo>
                  <a:lnTo>
                    <a:pt x="437" y="704"/>
                  </a:lnTo>
                  <a:lnTo>
                    <a:pt x="439" y="705"/>
                  </a:lnTo>
                  <a:lnTo>
                    <a:pt x="440" y="707"/>
                  </a:lnTo>
                  <a:lnTo>
                    <a:pt x="442" y="707"/>
                  </a:lnTo>
                  <a:lnTo>
                    <a:pt x="453" y="710"/>
                  </a:lnTo>
                  <a:lnTo>
                    <a:pt x="461" y="712"/>
                  </a:lnTo>
                  <a:lnTo>
                    <a:pt x="467" y="713"/>
                  </a:lnTo>
                  <a:lnTo>
                    <a:pt x="475" y="713"/>
                  </a:lnTo>
                  <a:lnTo>
                    <a:pt x="481" y="715"/>
                  </a:lnTo>
                  <a:lnTo>
                    <a:pt x="488" y="715"/>
                  </a:lnTo>
                  <a:lnTo>
                    <a:pt x="491" y="715"/>
                  </a:lnTo>
                  <a:lnTo>
                    <a:pt x="496" y="716"/>
                  </a:lnTo>
                  <a:lnTo>
                    <a:pt x="499" y="718"/>
                  </a:lnTo>
                  <a:lnTo>
                    <a:pt x="504" y="720"/>
                  </a:lnTo>
                  <a:lnTo>
                    <a:pt x="507" y="720"/>
                  </a:lnTo>
                  <a:lnTo>
                    <a:pt x="508" y="723"/>
                  </a:lnTo>
                  <a:lnTo>
                    <a:pt x="512" y="724"/>
                  </a:lnTo>
                  <a:lnTo>
                    <a:pt x="512" y="727"/>
                  </a:lnTo>
                  <a:lnTo>
                    <a:pt x="515" y="729"/>
                  </a:lnTo>
                  <a:lnTo>
                    <a:pt x="516" y="731"/>
                  </a:lnTo>
                  <a:lnTo>
                    <a:pt x="518" y="732"/>
                  </a:lnTo>
                  <a:lnTo>
                    <a:pt x="521" y="732"/>
                  </a:lnTo>
                  <a:lnTo>
                    <a:pt x="524" y="732"/>
                  </a:lnTo>
                  <a:lnTo>
                    <a:pt x="529" y="732"/>
                  </a:lnTo>
                  <a:lnTo>
                    <a:pt x="532" y="731"/>
                  </a:lnTo>
                  <a:lnTo>
                    <a:pt x="534" y="729"/>
                  </a:lnTo>
                  <a:lnTo>
                    <a:pt x="542" y="726"/>
                  </a:lnTo>
                  <a:lnTo>
                    <a:pt x="548" y="723"/>
                  </a:lnTo>
                  <a:lnTo>
                    <a:pt x="553" y="720"/>
                  </a:lnTo>
                  <a:lnTo>
                    <a:pt x="559" y="716"/>
                  </a:lnTo>
                  <a:lnTo>
                    <a:pt x="562" y="715"/>
                  </a:lnTo>
                  <a:lnTo>
                    <a:pt x="565" y="715"/>
                  </a:lnTo>
                  <a:lnTo>
                    <a:pt x="567" y="713"/>
                  </a:lnTo>
                  <a:lnTo>
                    <a:pt x="570" y="713"/>
                  </a:lnTo>
                  <a:lnTo>
                    <a:pt x="573" y="713"/>
                  </a:lnTo>
                  <a:lnTo>
                    <a:pt x="576" y="715"/>
                  </a:lnTo>
                  <a:lnTo>
                    <a:pt x="579" y="716"/>
                  </a:lnTo>
                  <a:lnTo>
                    <a:pt x="581" y="718"/>
                  </a:lnTo>
                  <a:lnTo>
                    <a:pt x="583" y="720"/>
                  </a:lnTo>
                  <a:lnTo>
                    <a:pt x="584" y="723"/>
                  </a:lnTo>
                  <a:lnTo>
                    <a:pt x="586" y="724"/>
                  </a:lnTo>
                  <a:lnTo>
                    <a:pt x="586" y="727"/>
                  </a:lnTo>
                  <a:lnTo>
                    <a:pt x="589" y="732"/>
                  </a:lnTo>
                  <a:lnTo>
                    <a:pt x="590" y="737"/>
                  </a:lnTo>
                  <a:lnTo>
                    <a:pt x="590" y="738"/>
                  </a:lnTo>
                  <a:lnTo>
                    <a:pt x="592" y="740"/>
                  </a:lnTo>
                  <a:lnTo>
                    <a:pt x="594" y="742"/>
                  </a:lnTo>
                  <a:lnTo>
                    <a:pt x="595" y="742"/>
                  </a:lnTo>
                  <a:lnTo>
                    <a:pt x="597" y="742"/>
                  </a:lnTo>
                  <a:lnTo>
                    <a:pt x="598" y="740"/>
                  </a:lnTo>
                  <a:lnTo>
                    <a:pt x="600" y="740"/>
                  </a:lnTo>
                  <a:lnTo>
                    <a:pt x="602" y="738"/>
                  </a:lnTo>
                  <a:lnTo>
                    <a:pt x="606" y="737"/>
                  </a:lnTo>
                  <a:lnTo>
                    <a:pt x="608" y="735"/>
                  </a:lnTo>
                  <a:lnTo>
                    <a:pt x="609" y="738"/>
                  </a:lnTo>
                  <a:lnTo>
                    <a:pt x="611" y="740"/>
                  </a:lnTo>
                  <a:lnTo>
                    <a:pt x="611" y="743"/>
                  </a:lnTo>
                  <a:lnTo>
                    <a:pt x="613" y="745"/>
                  </a:lnTo>
                  <a:lnTo>
                    <a:pt x="614" y="746"/>
                  </a:lnTo>
                  <a:lnTo>
                    <a:pt x="616" y="748"/>
                  </a:lnTo>
                  <a:lnTo>
                    <a:pt x="617" y="748"/>
                  </a:lnTo>
                  <a:lnTo>
                    <a:pt x="619" y="748"/>
                  </a:lnTo>
                  <a:lnTo>
                    <a:pt x="624" y="746"/>
                  </a:lnTo>
                  <a:lnTo>
                    <a:pt x="628" y="743"/>
                  </a:lnTo>
                  <a:lnTo>
                    <a:pt x="632" y="743"/>
                  </a:lnTo>
                  <a:lnTo>
                    <a:pt x="633" y="743"/>
                  </a:lnTo>
                  <a:lnTo>
                    <a:pt x="635" y="745"/>
                  </a:lnTo>
                  <a:lnTo>
                    <a:pt x="636" y="745"/>
                  </a:lnTo>
                  <a:lnTo>
                    <a:pt x="639" y="748"/>
                  </a:lnTo>
                  <a:lnTo>
                    <a:pt x="643" y="751"/>
                  </a:lnTo>
                  <a:lnTo>
                    <a:pt x="647" y="753"/>
                  </a:lnTo>
                  <a:lnTo>
                    <a:pt x="651" y="756"/>
                  </a:lnTo>
                  <a:lnTo>
                    <a:pt x="654" y="757"/>
                  </a:lnTo>
                  <a:lnTo>
                    <a:pt x="655" y="757"/>
                  </a:lnTo>
                  <a:lnTo>
                    <a:pt x="658" y="757"/>
                  </a:lnTo>
                  <a:lnTo>
                    <a:pt x="660" y="757"/>
                  </a:lnTo>
                  <a:lnTo>
                    <a:pt x="663" y="762"/>
                  </a:lnTo>
                  <a:lnTo>
                    <a:pt x="663" y="764"/>
                  </a:lnTo>
                  <a:lnTo>
                    <a:pt x="663" y="765"/>
                  </a:lnTo>
                  <a:lnTo>
                    <a:pt x="663" y="767"/>
                  </a:lnTo>
                  <a:lnTo>
                    <a:pt x="663" y="768"/>
                  </a:lnTo>
                  <a:lnTo>
                    <a:pt x="665" y="768"/>
                  </a:lnTo>
                  <a:lnTo>
                    <a:pt x="666" y="770"/>
                  </a:lnTo>
                  <a:lnTo>
                    <a:pt x="666" y="772"/>
                  </a:lnTo>
                  <a:lnTo>
                    <a:pt x="668" y="772"/>
                  </a:lnTo>
                  <a:lnTo>
                    <a:pt x="671" y="772"/>
                  </a:lnTo>
                  <a:lnTo>
                    <a:pt x="674" y="768"/>
                  </a:lnTo>
                  <a:lnTo>
                    <a:pt x="676" y="768"/>
                  </a:lnTo>
                  <a:lnTo>
                    <a:pt x="679" y="765"/>
                  </a:lnTo>
                  <a:lnTo>
                    <a:pt x="681" y="764"/>
                  </a:lnTo>
                  <a:lnTo>
                    <a:pt x="684" y="764"/>
                  </a:lnTo>
                  <a:lnTo>
                    <a:pt x="685" y="762"/>
                  </a:lnTo>
                  <a:lnTo>
                    <a:pt x="688" y="761"/>
                  </a:lnTo>
                  <a:lnTo>
                    <a:pt x="690" y="762"/>
                  </a:lnTo>
                  <a:lnTo>
                    <a:pt x="693" y="762"/>
                  </a:lnTo>
                  <a:lnTo>
                    <a:pt x="695" y="764"/>
                  </a:lnTo>
                  <a:lnTo>
                    <a:pt x="695" y="765"/>
                  </a:lnTo>
                  <a:lnTo>
                    <a:pt x="696" y="767"/>
                  </a:lnTo>
                  <a:lnTo>
                    <a:pt x="696" y="768"/>
                  </a:lnTo>
                  <a:lnTo>
                    <a:pt x="698" y="772"/>
                  </a:lnTo>
                  <a:lnTo>
                    <a:pt x="698" y="773"/>
                  </a:lnTo>
                  <a:lnTo>
                    <a:pt x="698" y="784"/>
                  </a:lnTo>
                  <a:lnTo>
                    <a:pt x="698" y="791"/>
                  </a:lnTo>
                  <a:lnTo>
                    <a:pt x="698" y="794"/>
                  </a:lnTo>
                  <a:lnTo>
                    <a:pt x="698" y="795"/>
                  </a:lnTo>
                  <a:lnTo>
                    <a:pt x="698" y="797"/>
                  </a:lnTo>
                  <a:lnTo>
                    <a:pt x="700" y="798"/>
                  </a:lnTo>
                  <a:lnTo>
                    <a:pt x="701" y="798"/>
                  </a:lnTo>
                  <a:lnTo>
                    <a:pt x="703" y="800"/>
                  </a:lnTo>
                  <a:lnTo>
                    <a:pt x="709" y="798"/>
                  </a:lnTo>
                  <a:lnTo>
                    <a:pt x="714" y="798"/>
                  </a:lnTo>
                  <a:lnTo>
                    <a:pt x="717" y="798"/>
                  </a:lnTo>
                  <a:lnTo>
                    <a:pt x="720" y="800"/>
                  </a:lnTo>
                  <a:lnTo>
                    <a:pt x="722" y="802"/>
                  </a:lnTo>
                  <a:lnTo>
                    <a:pt x="723" y="802"/>
                  </a:lnTo>
                  <a:lnTo>
                    <a:pt x="726" y="806"/>
                  </a:lnTo>
                  <a:lnTo>
                    <a:pt x="731" y="809"/>
                  </a:lnTo>
                  <a:lnTo>
                    <a:pt x="734" y="813"/>
                  </a:lnTo>
                  <a:lnTo>
                    <a:pt x="737" y="817"/>
                  </a:lnTo>
                  <a:lnTo>
                    <a:pt x="739" y="817"/>
                  </a:lnTo>
                  <a:lnTo>
                    <a:pt x="742" y="819"/>
                  </a:lnTo>
                  <a:lnTo>
                    <a:pt x="744" y="819"/>
                  </a:lnTo>
                  <a:lnTo>
                    <a:pt x="747" y="819"/>
                  </a:lnTo>
                  <a:lnTo>
                    <a:pt x="748" y="819"/>
                  </a:lnTo>
                  <a:lnTo>
                    <a:pt x="750" y="816"/>
                  </a:lnTo>
                  <a:lnTo>
                    <a:pt x="750" y="814"/>
                  </a:lnTo>
                  <a:lnTo>
                    <a:pt x="752" y="814"/>
                  </a:lnTo>
                  <a:lnTo>
                    <a:pt x="752" y="813"/>
                  </a:lnTo>
                  <a:lnTo>
                    <a:pt x="755" y="813"/>
                  </a:lnTo>
                  <a:lnTo>
                    <a:pt x="758" y="813"/>
                  </a:lnTo>
                  <a:lnTo>
                    <a:pt x="760" y="813"/>
                  </a:lnTo>
                  <a:lnTo>
                    <a:pt x="763" y="814"/>
                  </a:lnTo>
                  <a:lnTo>
                    <a:pt x="764" y="814"/>
                  </a:lnTo>
                  <a:lnTo>
                    <a:pt x="766" y="817"/>
                  </a:lnTo>
                  <a:lnTo>
                    <a:pt x="767" y="819"/>
                  </a:lnTo>
                  <a:lnTo>
                    <a:pt x="769" y="822"/>
                  </a:lnTo>
                  <a:lnTo>
                    <a:pt x="771" y="824"/>
                  </a:lnTo>
                  <a:lnTo>
                    <a:pt x="772" y="830"/>
                  </a:lnTo>
                  <a:lnTo>
                    <a:pt x="775" y="835"/>
                  </a:lnTo>
                  <a:lnTo>
                    <a:pt x="775" y="841"/>
                  </a:lnTo>
                  <a:lnTo>
                    <a:pt x="777" y="847"/>
                  </a:lnTo>
                  <a:lnTo>
                    <a:pt x="779" y="855"/>
                  </a:lnTo>
                  <a:lnTo>
                    <a:pt x="780" y="860"/>
                  </a:lnTo>
                  <a:lnTo>
                    <a:pt x="783" y="868"/>
                  </a:lnTo>
                  <a:lnTo>
                    <a:pt x="785" y="873"/>
                  </a:lnTo>
                  <a:lnTo>
                    <a:pt x="786" y="876"/>
                  </a:lnTo>
                  <a:lnTo>
                    <a:pt x="788" y="877"/>
                  </a:lnTo>
                  <a:lnTo>
                    <a:pt x="791" y="879"/>
                  </a:lnTo>
                  <a:lnTo>
                    <a:pt x="793" y="880"/>
                  </a:lnTo>
                  <a:lnTo>
                    <a:pt x="794" y="882"/>
                  </a:lnTo>
                  <a:lnTo>
                    <a:pt x="797" y="884"/>
                  </a:lnTo>
                  <a:lnTo>
                    <a:pt x="799" y="884"/>
                  </a:lnTo>
                  <a:lnTo>
                    <a:pt x="804" y="884"/>
                  </a:lnTo>
                  <a:lnTo>
                    <a:pt x="805" y="884"/>
                  </a:lnTo>
                  <a:lnTo>
                    <a:pt x="809" y="884"/>
                  </a:lnTo>
                  <a:lnTo>
                    <a:pt x="810" y="884"/>
                  </a:lnTo>
                  <a:lnTo>
                    <a:pt x="812" y="882"/>
                  </a:lnTo>
                  <a:lnTo>
                    <a:pt x="815" y="880"/>
                  </a:lnTo>
                  <a:lnTo>
                    <a:pt x="818" y="879"/>
                  </a:lnTo>
                  <a:lnTo>
                    <a:pt x="821" y="876"/>
                  </a:lnTo>
                  <a:lnTo>
                    <a:pt x="824" y="874"/>
                  </a:lnTo>
                  <a:lnTo>
                    <a:pt x="826" y="873"/>
                  </a:lnTo>
                  <a:lnTo>
                    <a:pt x="827" y="873"/>
                  </a:lnTo>
                  <a:lnTo>
                    <a:pt x="831" y="873"/>
                  </a:lnTo>
                  <a:lnTo>
                    <a:pt x="832" y="873"/>
                  </a:lnTo>
                  <a:lnTo>
                    <a:pt x="835" y="873"/>
                  </a:lnTo>
                  <a:lnTo>
                    <a:pt x="839" y="874"/>
                  </a:lnTo>
                  <a:lnTo>
                    <a:pt x="842" y="876"/>
                  </a:lnTo>
                  <a:lnTo>
                    <a:pt x="845" y="877"/>
                  </a:lnTo>
                  <a:lnTo>
                    <a:pt x="850" y="879"/>
                  </a:lnTo>
                  <a:lnTo>
                    <a:pt x="851" y="880"/>
                  </a:lnTo>
                  <a:lnTo>
                    <a:pt x="854" y="880"/>
                  </a:lnTo>
                  <a:lnTo>
                    <a:pt x="859" y="882"/>
                  </a:lnTo>
                  <a:lnTo>
                    <a:pt x="861" y="880"/>
                  </a:lnTo>
                  <a:lnTo>
                    <a:pt x="862" y="880"/>
                  </a:lnTo>
                  <a:lnTo>
                    <a:pt x="865" y="879"/>
                  </a:lnTo>
                  <a:lnTo>
                    <a:pt x="865" y="876"/>
                  </a:lnTo>
                  <a:lnTo>
                    <a:pt x="867" y="873"/>
                  </a:lnTo>
                  <a:lnTo>
                    <a:pt x="869" y="871"/>
                  </a:lnTo>
                  <a:lnTo>
                    <a:pt x="870" y="868"/>
                  </a:lnTo>
                  <a:lnTo>
                    <a:pt x="872" y="866"/>
                  </a:lnTo>
                  <a:lnTo>
                    <a:pt x="875" y="869"/>
                  </a:lnTo>
                  <a:lnTo>
                    <a:pt x="875" y="873"/>
                  </a:lnTo>
                  <a:lnTo>
                    <a:pt x="876" y="876"/>
                  </a:lnTo>
                  <a:lnTo>
                    <a:pt x="878" y="879"/>
                  </a:lnTo>
                  <a:lnTo>
                    <a:pt x="878" y="880"/>
                  </a:lnTo>
                  <a:lnTo>
                    <a:pt x="878" y="884"/>
                  </a:lnTo>
                  <a:lnTo>
                    <a:pt x="880" y="887"/>
                  </a:lnTo>
                  <a:lnTo>
                    <a:pt x="881" y="888"/>
                  </a:lnTo>
                  <a:lnTo>
                    <a:pt x="886" y="893"/>
                  </a:lnTo>
                  <a:lnTo>
                    <a:pt x="888" y="898"/>
                  </a:lnTo>
                  <a:lnTo>
                    <a:pt x="891" y="901"/>
                  </a:lnTo>
                  <a:lnTo>
                    <a:pt x="895" y="904"/>
                  </a:lnTo>
                  <a:lnTo>
                    <a:pt x="903" y="912"/>
                  </a:lnTo>
                  <a:lnTo>
                    <a:pt x="911" y="917"/>
                  </a:lnTo>
                  <a:lnTo>
                    <a:pt x="918" y="921"/>
                  </a:lnTo>
                  <a:lnTo>
                    <a:pt x="925" y="926"/>
                  </a:lnTo>
                  <a:lnTo>
                    <a:pt x="933" y="933"/>
                  </a:lnTo>
                  <a:lnTo>
                    <a:pt x="941" y="939"/>
                  </a:lnTo>
                  <a:lnTo>
                    <a:pt x="943" y="944"/>
                  </a:lnTo>
                  <a:lnTo>
                    <a:pt x="944" y="947"/>
                  </a:lnTo>
                  <a:lnTo>
                    <a:pt x="948" y="950"/>
                  </a:lnTo>
                  <a:lnTo>
                    <a:pt x="951" y="953"/>
                  </a:lnTo>
                  <a:lnTo>
                    <a:pt x="954" y="955"/>
                  </a:lnTo>
                  <a:lnTo>
                    <a:pt x="957" y="958"/>
                  </a:lnTo>
                  <a:lnTo>
                    <a:pt x="962" y="959"/>
                  </a:lnTo>
                  <a:lnTo>
                    <a:pt x="965" y="962"/>
                  </a:lnTo>
                  <a:lnTo>
                    <a:pt x="970" y="964"/>
                  </a:lnTo>
                  <a:lnTo>
                    <a:pt x="974" y="966"/>
                  </a:lnTo>
                  <a:lnTo>
                    <a:pt x="978" y="967"/>
                  </a:lnTo>
                  <a:lnTo>
                    <a:pt x="982" y="969"/>
                  </a:lnTo>
                  <a:lnTo>
                    <a:pt x="987" y="969"/>
                  </a:lnTo>
                  <a:lnTo>
                    <a:pt x="992" y="969"/>
                  </a:lnTo>
                  <a:lnTo>
                    <a:pt x="997" y="969"/>
                  </a:lnTo>
                  <a:lnTo>
                    <a:pt x="1000" y="967"/>
                  </a:lnTo>
                  <a:lnTo>
                    <a:pt x="1004" y="967"/>
                  </a:lnTo>
                  <a:lnTo>
                    <a:pt x="1008" y="966"/>
                  </a:lnTo>
                  <a:lnTo>
                    <a:pt x="1011" y="964"/>
                  </a:lnTo>
                  <a:lnTo>
                    <a:pt x="1014" y="962"/>
                  </a:lnTo>
                  <a:lnTo>
                    <a:pt x="1020" y="959"/>
                  </a:lnTo>
                  <a:lnTo>
                    <a:pt x="1027" y="955"/>
                  </a:lnTo>
                  <a:lnTo>
                    <a:pt x="1031" y="950"/>
                  </a:lnTo>
                  <a:lnTo>
                    <a:pt x="1038" y="944"/>
                  </a:lnTo>
                  <a:lnTo>
                    <a:pt x="1044" y="937"/>
                  </a:lnTo>
                  <a:lnTo>
                    <a:pt x="1049" y="931"/>
                  </a:lnTo>
                  <a:lnTo>
                    <a:pt x="1058" y="918"/>
                  </a:lnTo>
                  <a:lnTo>
                    <a:pt x="1068" y="906"/>
                  </a:lnTo>
                  <a:lnTo>
                    <a:pt x="1072" y="899"/>
                  </a:lnTo>
                  <a:lnTo>
                    <a:pt x="1077" y="893"/>
                  </a:lnTo>
                  <a:lnTo>
                    <a:pt x="1083" y="888"/>
                  </a:lnTo>
                  <a:lnTo>
                    <a:pt x="1088" y="884"/>
                  </a:lnTo>
                  <a:lnTo>
                    <a:pt x="1088" y="882"/>
                  </a:lnTo>
                  <a:lnTo>
                    <a:pt x="1087" y="880"/>
                  </a:lnTo>
                  <a:lnTo>
                    <a:pt x="1085" y="879"/>
                  </a:lnTo>
                  <a:lnTo>
                    <a:pt x="1088" y="880"/>
                  </a:lnTo>
                  <a:lnTo>
                    <a:pt x="1090" y="884"/>
                  </a:lnTo>
                  <a:lnTo>
                    <a:pt x="1090" y="885"/>
                  </a:lnTo>
                  <a:lnTo>
                    <a:pt x="1091" y="885"/>
                  </a:lnTo>
                  <a:lnTo>
                    <a:pt x="1093" y="887"/>
                  </a:lnTo>
                  <a:lnTo>
                    <a:pt x="1095" y="887"/>
                  </a:lnTo>
                  <a:lnTo>
                    <a:pt x="1098" y="887"/>
                  </a:lnTo>
                  <a:lnTo>
                    <a:pt x="1102" y="887"/>
                  </a:lnTo>
                  <a:lnTo>
                    <a:pt x="1107" y="885"/>
                  </a:lnTo>
                  <a:lnTo>
                    <a:pt x="1110" y="885"/>
                  </a:lnTo>
                  <a:lnTo>
                    <a:pt x="1113" y="885"/>
                  </a:lnTo>
                  <a:lnTo>
                    <a:pt x="1115" y="885"/>
                  </a:lnTo>
                  <a:lnTo>
                    <a:pt x="1115" y="887"/>
                  </a:lnTo>
                  <a:lnTo>
                    <a:pt x="1117" y="888"/>
                  </a:lnTo>
                  <a:lnTo>
                    <a:pt x="1118" y="891"/>
                  </a:lnTo>
                  <a:lnTo>
                    <a:pt x="1121" y="893"/>
                  </a:lnTo>
                  <a:lnTo>
                    <a:pt x="1121" y="895"/>
                  </a:lnTo>
                  <a:lnTo>
                    <a:pt x="1121" y="898"/>
                  </a:lnTo>
                  <a:lnTo>
                    <a:pt x="1123" y="901"/>
                  </a:lnTo>
                  <a:lnTo>
                    <a:pt x="1123" y="906"/>
                  </a:lnTo>
                  <a:lnTo>
                    <a:pt x="1123" y="912"/>
                  </a:lnTo>
                  <a:lnTo>
                    <a:pt x="1123" y="915"/>
                  </a:lnTo>
                  <a:lnTo>
                    <a:pt x="1123" y="917"/>
                  </a:lnTo>
                  <a:lnTo>
                    <a:pt x="1123" y="918"/>
                  </a:lnTo>
                  <a:lnTo>
                    <a:pt x="1123" y="921"/>
                  </a:lnTo>
                  <a:lnTo>
                    <a:pt x="1125" y="921"/>
                  </a:lnTo>
                  <a:lnTo>
                    <a:pt x="1123" y="923"/>
                  </a:lnTo>
                  <a:lnTo>
                    <a:pt x="1118" y="926"/>
                  </a:lnTo>
                  <a:lnTo>
                    <a:pt x="1117" y="933"/>
                  </a:lnTo>
                  <a:lnTo>
                    <a:pt x="1115" y="937"/>
                  </a:lnTo>
                  <a:lnTo>
                    <a:pt x="1110" y="947"/>
                  </a:lnTo>
                  <a:lnTo>
                    <a:pt x="1109" y="958"/>
                  </a:lnTo>
                  <a:lnTo>
                    <a:pt x="1107" y="962"/>
                  </a:lnTo>
                  <a:lnTo>
                    <a:pt x="1106" y="967"/>
                  </a:lnTo>
                  <a:lnTo>
                    <a:pt x="1102" y="972"/>
                  </a:lnTo>
                  <a:lnTo>
                    <a:pt x="1102" y="975"/>
                  </a:lnTo>
                  <a:lnTo>
                    <a:pt x="1101" y="978"/>
                  </a:lnTo>
                  <a:lnTo>
                    <a:pt x="1098" y="980"/>
                  </a:lnTo>
                  <a:lnTo>
                    <a:pt x="1096" y="981"/>
                  </a:lnTo>
                  <a:lnTo>
                    <a:pt x="1095" y="983"/>
                  </a:lnTo>
                  <a:lnTo>
                    <a:pt x="1091" y="986"/>
                  </a:lnTo>
                  <a:lnTo>
                    <a:pt x="1090" y="988"/>
                  </a:lnTo>
                  <a:lnTo>
                    <a:pt x="1090" y="989"/>
                  </a:lnTo>
                  <a:lnTo>
                    <a:pt x="1090" y="991"/>
                  </a:lnTo>
                  <a:lnTo>
                    <a:pt x="1088" y="992"/>
                  </a:lnTo>
                  <a:lnTo>
                    <a:pt x="1088" y="994"/>
                  </a:lnTo>
                  <a:lnTo>
                    <a:pt x="1090" y="996"/>
                  </a:lnTo>
                  <a:lnTo>
                    <a:pt x="1090" y="999"/>
                  </a:lnTo>
                  <a:lnTo>
                    <a:pt x="1091" y="1000"/>
                  </a:lnTo>
                  <a:lnTo>
                    <a:pt x="1095" y="1002"/>
                  </a:lnTo>
                  <a:lnTo>
                    <a:pt x="1098" y="1003"/>
                  </a:lnTo>
                  <a:lnTo>
                    <a:pt x="1102" y="1005"/>
                  </a:lnTo>
                  <a:lnTo>
                    <a:pt x="1093" y="1029"/>
                  </a:lnTo>
                  <a:lnTo>
                    <a:pt x="1095" y="1029"/>
                  </a:lnTo>
                  <a:lnTo>
                    <a:pt x="1095" y="1030"/>
                  </a:lnTo>
                  <a:lnTo>
                    <a:pt x="1096" y="1032"/>
                  </a:lnTo>
                  <a:lnTo>
                    <a:pt x="1098" y="1033"/>
                  </a:lnTo>
                  <a:lnTo>
                    <a:pt x="1099" y="1040"/>
                  </a:lnTo>
                  <a:lnTo>
                    <a:pt x="1101" y="1043"/>
                  </a:lnTo>
                  <a:lnTo>
                    <a:pt x="1102" y="1046"/>
                  </a:lnTo>
                  <a:lnTo>
                    <a:pt x="1104" y="1051"/>
                  </a:lnTo>
                  <a:lnTo>
                    <a:pt x="1106" y="1052"/>
                  </a:lnTo>
                  <a:lnTo>
                    <a:pt x="1107" y="1054"/>
                  </a:lnTo>
                  <a:lnTo>
                    <a:pt x="1109" y="1054"/>
                  </a:lnTo>
                  <a:lnTo>
                    <a:pt x="1110" y="1054"/>
                  </a:lnTo>
                  <a:lnTo>
                    <a:pt x="1113" y="1054"/>
                  </a:lnTo>
                  <a:lnTo>
                    <a:pt x="1115" y="1054"/>
                  </a:lnTo>
                  <a:lnTo>
                    <a:pt x="1117" y="1052"/>
                  </a:lnTo>
                  <a:lnTo>
                    <a:pt x="1118" y="1051"/>
                  </a:lnTo>
                  <a:lnTo>
                    <a:pt x="1121" y="1046"/>
                  </a:lnTo>
                  <a:lnTo>
                    <a:pt x="1125" y="1043"/>
                  </a:lnTo>
                  <a:lnTo>
                    <a:pt x="1129" y="1040"/>
                  </a:lnTo>
                  <a:lnTo>
                    <a:pt x="1134" y="1035"/>
                  </a:lnTo>
                  <a:lnTo>
                    <a:pt x="1136" y="1033"/>
                  </a:lnTo>
                  <a:lnTo>
                    <a:pt x="1139" y="1032"/>
                  </a:lnTo>
                  <a:lnTo>
                    <a:pt x="1142" y="1032"/>
                  </a:lnTo>
                  <a:lnTo>
                    <a:pt x="1145" y="1032"/>
                  </a:lnTo>
                  <a:lnTo>
                    <a:pt x="1150" y="1032"/>
                  </a:lnTo>
                  <a:lnTo>
                    <a:pt x="1155" y="1033"/>
                  </a:lnTo>
                  <a:lnTo>
                    <a:pt x="1159" y="1033"/>
                  </a:lnTo>
                  <a:lnTo>
                    <a:pt x="1161" y="1033"/>
                  </a:lnTo>
                  <a:lnTo>
                    <a:pt x="1164" y="1035"/>
                  </a:lnTo>
                  <a:lnTo>
                    <a:pt x="1167" y="1035"/>
                  </a:lnTo>
                  <a:lnTo>
                    <a:pt x="1170" y="1035"/>
                  </a:lnTo>
                  <a:lnTo>
                    <a:pt x="1173" y="1033"/>
                  </a:lnTo>
                  <a:lnTo>
                    <a:pt x="1175" y="1033"/>
                  </a:lnTo>
                  <a:lnTo>
                    <a:pt x="1177" y="1033"/>
                  </a:lnTo>
                  <a:lnTo>
                    <a:pt x="1181" y="1032"/>
                  </a:lnTo>
                  <a:lnTo>
                    <a:pt x="1186" y="1029"/>
                  </a:lnTo>
                  <a:lnTo>
                    <a:pt x="1186" y="1032"/>
                  </a:lnTo>
                  <a:lnTo>
                    <a:pt x="1186" y="1035"/>
                  </a:lnTo>
                  <a:lnTo>
                    <a:pt x="1188" y="1038"/>
                  </a:lnTo>
                  <a:lnTo>
                    <a:pt x="1188" y="1041"/>
                  </a:lnTo>
                  <a:lnTo>
                    <a:pt x="1189" y="1043"/>
                  </a:lnTo>
                  <a:lnTo>
                    <a:pt x="1191" y="1044"/>
                  </a:lnTo>
                  <a:lnTo>
                    <a:pt x="1192" y="1046"/>
                  </a:lnTo>
                  <a:lnTo>
                    <a:pt x="1194" y="1046"/>
                  </a:lnTo>
                  <a:lnTo>
                    <a:pt x="1196" y="1046"/>
                  </a:lnTo>
                  <a:lnTo>
                    <a:pt x="1197" y="1046"/>
                  </a:lnTo>
                  <a:lnTo>
                    <a:pt x="1199" y="1046"/>
                  </a:lnTo>
                  <a:lnTo>
                    <a:pt x="1200" y="1046"/>
                  </a:lnTo>
                  <a:lnTo>
                    <a:pt x="1202" y="1044"/>
                  </a:lnTo>
                  <a:lnTo>
                    <a:pt x="1205" y="1043"/>
                  </a:lnTo>
                  <a:lnTo>
                    <a:pt x="1207" y="1041"/>
                  </a:lnTo>
                  <a:lnTo>
                    <a:pt x="1210" y="1040"/>
                  </a:lnTo>
                  <a:lnTo>
                    <a:pt x="1213" y="1037"/>
                  </a:lnTo>
                  <a:lnTo>
                    <a:pt x="1215" y="1037"/>
                  </a:lnTo>
                  <a:lnTo>
                    <a:pt x="1216" y="1037"/>
                  </a:lnTo>
                  <a:lnTo>
                    <a:pt x="1218" y="1035"/>
                  </a:lnTo>
                  <a:lnTo>
                    <a:pt x="1219" y="1035"/>
                  </a:lnTo>
                  <a:lnTo>
                    <a:pt x="1222" y="1035"/>
                  </a:lnTo>
                  <a:lnTo>
                    <a:pt x="1226" y="1035"/>
                  </a:lnTo>
                  <a:lnTo>
                    <a:pt x="1227" y="1035"/>
                  </a:lnTo>
                  <a:lnTo>
                    <a:pt x="1229" y="1035"/>
                  </a:lnTo>
                  <a:lnTo>
                    <a:pt x="1230" y="1033"/>
                  </a:lnTo>
                  <a:lnTo>
                    <a:pt x="1232" y="1033"/>
                  </a:lnTo>
                  <a:lnTo>
                    <a:pt x="1234" y="1032"/>
                  </a:lnTo>
                  <a:lnTo>
                    <a:pt x="1237" y="1030"/>
                  </a:lnTo>
                  <a:lnTo>
                    <a:pt x="1237" y="1029"/>
                  </a:lnTo>
                  <a:lnTo>
                    <a:pt x="1237" y="1026"/>
                  </a:lnTo>
                  <a:lnTo>
                    <a:pt x="1237" y="1021"/>
                  </a:lnTo>
                  <a:lnTo>
                    <a:pt x="1237" y="1018"/>
                  </a:lnTo>
                  <a:lnTo>
                    <a:pt x="1237" y="1015"/>
                  </a:lnTo>
                  <a:lnTo>
                    <a:pt x="1235" y="1011"/>
                  </a:lnTo>
                  <a:lnTo>
                    <a:pt x="1234" y="1008"/>
                  </a:lnTo>
                  <a:lnTo>
                    <a:pt x="1234" y="1005"/>
                  </a:lnTo>
                  <a:lnTo>
                    <a:pt x="1234" y="1002"/>
                  </a:lnTo>
                  <a:lnTo>
                    <a:pt x="1234" y="999"/>
                  </a:lnTo>
                  <a:lnTo>
                    <a:pt x="1234" y="997"/>
                  </a:lnTo>
                  <a:lnTo>
                    <a:pt x="1234" y="996"/>
                  </a:lnTo>
                  <a:lnTo>
                    <a:pt x="1235" y="996"/>
                  </a:lnTo>
                  <a:lnTo>
                    <a:pt x="1237" y="996"/>
                  </a:lnTo>
                  <a:lnTo>
                    <a:pt x="1238" y="996"/>
                  </a:lnTo>
                  <a:lnTo>
                    <a:pt x="1243" y="997"/>
                  </a:lnTo>
                  <a:lnTo>
                    <a:pt x="1246" y="999"/>
                  </a:lnTo>
                  <a:lnTo>
                    <a:pt x="1249" y="999"/>
                  </a:lnTo>
                  <a:lnTo>
                    <a:pt x="1251" y="999"/>
                  </a:lnTo>
                  <a:lnTo>
                    <a:pt x="1252" y="999"/>
                  </a:lnTo>
                  <a:lnTo>
                    <a:pt x="1256" y="999"/>
                  </a:lnTo>
                  <a:lnTo>
                    <a:pt x="1267" y="997"/>
                  </a:lnTo>
                  <a:lnTo>
                    <a:pt x="1279" y="997"/>
                  </a:lnTo>
                  <a:lnTo>
                    <a:pt x="1283" y="997"/>
                  </a:lnTo>
                  <a:lnTo>
                    <a:pt x="1284" y="999"/>
                  </a:lnTo>
                  <a:lnTo>
                    <a:pt x="1287" y="999"/>
                  </a:lnTo>
                  <a:lnTo>
                    <a:pt x="1290" y="1000"/>
                  </a:lnTo>
                  <a:lnTo>
                    <a:pt x="1290" y="1003"/>
                  </a:lnTo>
                  <a:lnTo>
                    <a:pt x="1292" y="1007"/>
                  </a:lnTo>
                  <a:lnTo>
                    <a:pt x="1292" y="1008"/>
                  </a:lnTo>
                  <a:lnTo>
                    <a:pt x="1292" y="1013"/>
                  </a:lnTo>
                  <a:lnTo>
                    <a:pt x="1292" y="1016"/>
                  </a:lnTo>
                  <a:lnTo>
                    <a:pt x="1294" y="1021"/>
                  </a:lnTo>
                  <a:lnTo>
                    <a:pt x="1294" y="1024"/>
                  </a:lnTo>
                  <a:lnTo>
                    <a:pt x="1295" y="1024"/>
                  </a:lnTo>
                  <a:lnTo>
                    <a:pt x="1295" y="1026"/>
                  </a:lnTo>
                  <a:lnTo>
                    <a:pt x="1297" y="1026"/>
                  </a:lnTo>
                  <a:lnTo>
                    <a:pt x="1300" y="1026"/>
                  </a:lnTo>
                  <a:lnTo>
                    <a:pt x="1301" y="1026"/>
                  </a:lnTo>
                  <a:lnTo>
                    <a:pt x="1305" y="1026"/>
                  </a:lnTo>
                  <a:lnTo>
                    <a:pt x="1306" y="1026"/>
                  </a:lnTo>
                  <a:lnTo>
                    <a:pt x="1308" y="1026"/>
                  </a:lnTo>
                  <a:lnTo>
                    <a:pt x="1311" y="1029"/>
                  </a:lnTo>
                  <a:lnTo>
                    <a:pt x="1313" y="1029"/>
                  </a:lnTo>
                  <a:lnTo>
                    <a:pt x="1316" y="1032"/>
                  </a:lnTo>
                  <a:lnTo>
                    <a:pt x="1319" y="1037"/>
                  </a:lnTo>
                  <a:lnTo>
                    <a:pt x="1322" y="1040"/>
                  </a:lnTo>
                  <a:lnTo>
                    <a:pt x="1327" y="1043"/>
                  </a:lnTo>
                  <a:lnTo>
                    <a:pt x="1328" y="1044"/>
                  </a:lnTo>
                  <a:lnTo>
                    <a:pt x="1331" y="1046"/>
                  </a:lnTo>
                  <a:lnTo>
                    <a:pt x="1335" y="1046"/>
                  </a:lnTo>
                  <a:lnTo>
                    <a:pt x="1338" y="1046"/>
                  </a:lnTo>
                  <a:lnTo>
                    <a:pt x="1350" y="1046"/>
                  </a:lnTo>
                  <a:lnTo>
                    <a:pt x="1362" y="1046"/>
                  </a:lnTo>
                  <a:lnTo>
                    <a:pt x="1374" y="1046"/>
                  </a:lnTo>
                  <a:lnTo>
                    <a:pt x="1388" y="1046"/>
                  </a:lnTo>
                  <a:lnTo>
                    <a:pt x="1392" y="1046"/>
                  </a:lnTo>
                  <a:lnTo>
                    <a:pt x="1395" y="1046"/>
                  </a:lnTo>
                  <a:lnTo>
                    <a:pt x="1398" y="1044"/>
                  </a:lnTo>
                  <a:lnTo>
                    <a:pt x="1399" y="1043"/>
                  </a:lnTo>
                  <a:lnTo>
                    <a:pt x="1403" y="1041"/>
                  </a:lnTo>
                  <a:lnTo>
                    <a:pt x="1406" y="1041"/>
                  </a:lnTo>
                  <a:lnTo>
                    <a:pt x="1407" y="1040"/>
                  </a:lnTo>
                  <a:lnTo>
                    <a:pt x="1410" y="1040"/>
                  </a:lnTo>
                  <a:lnTo>
                    <a:pt x="1414" y="1040"/>
                  </a:lnTo>
                  <a:lnTo>
                    <a:pt x="1418" y="1040"/>
                  </a:lnTo>
                  <a:lnTo>
                    <a:pt x="1420" y="1040"/>
                  </a:lnTo>
                  <a:lnTo>
                    <a:pt x="1425" y="1041"/>
                  </a:lnTo>
                  <a:lnTo>
                    <a:pt x="1431" y="1043"/>
                  </a:lnTo>
                  <a:lnTo>
                    <a:pt x="1436" y="1046"/>
                  </a:lnTo>
                  <a:lnTo>
                    <a:pt x="1445" y="1052"/>
                  </a:lnTo>
                  <a:lnTo>
                    <a:pt x="1456" y="1059"/>
                  </a:lnTo>
                  <a:lnTo>
                    <a:pt x="1463" y="1062"/>
                  </a:lnTo>
                  <a:lnTo>
                    <a:pt x="1467" y="1065"/>
                  </a:lnTo>
                  <a:lnTo>
                    <a:pt x="1474" y="1067"/>
                  </a:lnTo>
                  <a:lnTo>
                    <a:pt x="1482" y="1068"/>
                  </a:lnTo>
                  <a:lnTo>
                    <a:pt x="1485" y="1070"/>
                  </a:lnTo>
                  <a:lnTo>
                    <a:pt x="1488" y="1070"/>
                  </a:lnTo>
                  <a:lnTo>
                    <a:pt x="1493" y="1070"/>
                  </a:lnTo>
                  <a:lnTo>
                    <a:pt x="1496" y="1070"/>
                  </a:lnTo>
                  <a:lnTo>
                    <a:pt x="1501" y="1070"/>
                  </a:lnTo>
                  <a:lnTo>
                    <a:pt x="1505" y="1070"/>
                  </a:lnTo>
                  <a:lnTo>
                    <a:pt x="1510" y="1068"/>
                  </a:lnTo>
                  <a:lnTo>
                    <a:pt x="1515" y="1067"/>
                  </a:lnTo>
                  <a:lnTo>
                    <a:pt x="1523" y="1044"/>
                  </a:lnTo>
                  <a:lnTo>
                    <a:pt x="1523" y="1041"/>
                  </a:lnTo>
                  <a:lnTo>
                    <a:pt x="1524" y="1041"/>
                  </a:lnTo>
                  <a:lnTo>
                    <a:pt x="1524" y="1040"/>
                  </a:lnTo>
                  <a:lnTo>
                    <a:pt x="1526" y="1037"/>
                  </a:lnTo>
                  <a:lnTo>
                    <a:pt x="1527" y="1032"/>
                  </a:lnTo>
                  <a:lnTo>
                    <a:pt x="1531" y="1029"/>
                  </a:lnTo>
                  <a:lnTo>
                    <a:pt x="1534" y="1026"/>
                  </a:lnTo>
                  <a:lnTo>
                    <a:pt x="1535" y="1021"/>
                  </a:lnTo>
                  <a:lnTo>
                    <a:pt x="1538" y="1019"/>
                  </a:lnTo>
                  <a:lnTo>
                    <a:pt x="1540" y="1015"/>
                  </a:lnTo>
                  <a:lnTo>
                    <a:pt x="1543" y="1003"/>
                  </a:lnTo>
                  <a:lnTo>
                    <a:pt x="1546" y="992"/>
                  </a:lnTo>
                  <a:lnTo>
                    <a:pt x="1548" y="983"/>
                  </a:lnTo>
                  <a:lnTo>
                    <a:pt x="1551" y="972"/>
                  </a:lnTo>
                  <a:lnTo>
                    <a:pt x="1554" y="962"/>
                  </a:lnTo>
                  <a:lnTo>
                    <a:pt x="1557" y="955"/>
                  </a:lnTo>
                  <a:lnTo>
                    <a:pt x="1559" y="950"/>
                  </a:lnTo>
                  <a:lnTo>
                    <a:pt x="1562" y="945"/>
                  </a:lnTo>
                  <a:lnTo>
                    <a:pt x="1565" y="940"/>
                  </a:lnTo>
                  <a:lnTo>
                    <a:pt x="1568" y="936"/>
                  </a:lnTo>
                  <a:lnTo>
                    <a:pt x="1575" y="929"/>
                  </a:lnTo>
                  <a:lnTo>
                    <a:pt x="1584" y="918"/>
                  </a:lnTo>
                  <a:lnTo>
                    <a:pt x="1589" y="914"/>
                  </a:lnTo>
                  <a:lnTo>
                    <a:pt x="1592" y="910"/>
                  </a:lnTo>
                  <a:lnTo>
                    <a:pt x="1594" y="907"/>
                  </a:lnTo>
                  <a:lnTo>
                    <a:pt x="1595" y="906"/>
                  </a:lnTo>
                  <a:lnTo>
                    <a:pt x="1597" y="904"/>
                  </a:lnTo>
                  <a:lnTo>
                    <a:pt x="1597" y="903"/>
                  </a:lnTo>
                  <a:lnTo>
                    <a:pt x="1599" y="893"/>
                  </a:lnTo>
                  <a:lnTo>
                    <a:pt x="1602" y="882"/>
                  </a:lnTo>
                  <a:lnTo>
                    <a:pt x="1602" y="876"/>
                  </a:lnTo>
                  <a:lnTo>
                    <a:pt x="1605" y="871"/>
                  </a:lnTo>
                  <a:lnTo>
                    <a:pt x="1606" y="868"/>
                  </a:lnTo>
                  <a:lnTo>
                    <a:pt x="1608" y="863"/>
                  </a:lnTo>
                  <a:lnTo>
                    <a:pt x="1611" y="858"/>
                  </a:lnTo>
                  <a:lnTo>
                    <a:pt x="1614" y="854"/>
                  </a:lnTo>
                  <a:lnTo>
                    <a:pt x="1617" y="850"/>
                  </a:lnTo>
                  <a:lnTo>
                    <a:pt x="1621" y="847"/>
                  </a:lnTo>
                  <a:lnTo>
                    <a:pt x="1624" y="846"/>
                  </a:lnTo>
                  <a:lnTo>
                    <a:pt x="1629" y="844"/>
                  </a:lnTo>
                  <a:lnTo>
                    <a:pt x="1633" y="843"/>
                  </a:lnTo>
                  <a:lnTo>
                    <a:pt x="1638" y="843"/>
                  </a:lnTo>
                  <a:lnTo>
                    <a:pt x="1640" y="843"/>
                  </a:lnTo>
                  <a:lnTo>
                    <a:pt x="1641" y="843"/>
                  </a:lnTo>
                  <a:lnTo>
                    <a:pt x="1643" y="843"/>
                  </a:lnTo>
                  <a:lnTo>
                    <a:pt x="1647" y="843"/>
                  </a:lnTo>
                  <a:lnTo>
                    <a:pt x="1647" y="844"/>
                  </a:lnTo>
                  <a:lnTo>
                    <a:pt x="1649" y="847"/>
                  </a:lnTo>
                  <a:lnTo>
                    <a:pt x="1649" y="849"/>
                  </a:lnTo>
                  <a:lnTo>
                    <a:pt x="1649" y="850"/>
                  </a:lnTo>
                  <a:lnTo>
                    <a:pt x="1651" y="852"/>
                  </a:lnTo>
                  <a:lnTo>
                    <a:pt x="1655" y="852"/>
                  </a:lnTo>
                  <a:lnTo>
                    <a:pt x="1662" y="850"/>
                  </a:lnTo>
                  <a:lnTo>
                    <a:pt x="1665" y="849"/>
                  </a:lnTo>
                  <a:lnTo>
                    <a:pt x="1668" y="847"/>
                  </a:lnTo>
                  <a:lnTo>
                    <a:pt x="1673" y="844"/>
                  </a:lnTo>
                  <a:lnTo>
                    <a:pt x="1676" y="843"/>
                  </a:lnTo>
                  <a:lnTo>
                    <a:pt x="1679" y="839"/>
                  </a:lnTo>
                  <a:lnTo>
                    <a:pt x="1684" y="838"/>
                  </a:lnTo>
                  <a:lnTo>
                    <a:pt x="1692" y="830"/>
                  </a:lnTo>
                  <a:lnTo>
                    <a:pt x="1698" y="825"/>
                  </a:lnTo>
                  <a:lnTo>
                    <a:pt x="1703" y="822"/>
                  </a:lnTo>
                  <a:lnTo>
                    <a:pt x="1708" y="819"/>
                  </a:lnTo>
                  <a:lnTo>
                    <a:pt x="1711" y="817"/>
                  </a:lnTo>
                  <a:lnTo>
                    <a:pt x="1717" y="817"/>
                  </a:lnTo>
                  <a:lnTo>
                    <a:pt x="1723" y="814"/>
                  </a:lnTo>
                  <a:lnTo>
                    <a:pt x="1728" y="811"/>
                  </a:lnTo>
                  <a:lnTo>
                    <a:pt x="1734" y="808"/>
                  </a:lnTo>
                  <a:lnTo>
                    <a:pt x="1739" y="805"/>
                  </a:lnTo>
                  <a:lnTo>
                    <a:pt x="1750" y="798"/>
                  </a:lnTo>
                  <a:lnTo>
                    <a:pt x="1760" y="794"/>
                  </a:lnTo>
                  <a:lnTo>
                    <a:pt x="1771" y="786"/>
                  </a:lnTo>
                  <a:lnTo>
                    <a:pt x="1782" y="781"/>
                  </a:lnTo>
                  <a:lnTo>
                    <a:pt x="1788" y="778"/>
                  </a:lnTo>
                  <a:lnTo>
                    <a:pt x="1794" y="775"/>
                  </a:lnTo>
                  <a:lnTo>
                    <a:pt x="1801" y="772"/>
                  </a:lnTo>
                  <a:lnTo>
                    <a:pt x="1809" y="768"/>
                  </a:lnTo>
                  <a:lnTo>
                    <a:pt x="1818" y="765"/>
                  </a:lnTo>
                  <a:lnTo>
                    <a:pt x="1831" y="761"/>
                  </a:lnTo>
                  <a:lnTo>
                    <a:pt x="1835" y="759"/>
                  </a:lnTo>
                  <a:lnTo>
                    <a:pt x="1842" y="756"/>
                  </a:lnTo>
                  <a:lnTo>
                    <a:pt x="1848" y="753"/>
                  </a:lnTo>
                  <a:lnTo>
                    <a:pt x="1856" y="750"/>
                  </a:lnTo>
                  <a:lnTo>
                    <a:pt x="1861" y="745"/>
                  </a:lnTo>
                  <a:lnTo>
                    <a:pt x="1867" y="742"/>
                  </a:lnTo>
                  <a:lnTo>
                    <a:pt x="1872" y="737"/>
                  </a:lnTo>
                  <a:lnTo>
                    <a:pt x="1877" y="732"/>
                  </a:lnTo>
                  <a:lnTo>
                    <a:pt x="1878" y="731"/>
                  </a:lnTo>
                  <a:lnTo>
                    <a:pt x="1880" y="727"/>
                  </a:lnTo>
                  <a:lnTo>
                    <a:pt x="1881" y="724"/>
                  </a:lnTo>
                  <a:lnTo>
                    <a:pt x="1883" y="721"/>
                  </a:lnTo>
                  <a:lnTo>
                    <a:pt x="1884" y="720"/>
                  </a:lnTo>
                  <a:lnTo>
                    <a:pt x="1884" y="715"/>
                  </a:lnTo>
                  <a:lnTo>
                    <a:pt x="1884" y="712"/>
                  </a:lnTo>
                  <a:lnTo>
                    <a:pt x="1884" y="710"/>
                  </a:lnTo>
                  <a:lnTo>
                    <a:pt x="1884" y="707"/>
                  </a:lnTo>
                  <a:lnTo>
                    <a:pt x="1884" y="705"/>
                  </a:lnTo>
                  <a:lnTo>
                    <a:pt x="1884" y="704"/>
                  </a:lnTo>
                  <a:lnTo>
                    <a:pt x="1883" y="702"/>
                  </a:lnTo>
                  <a:lnTo>
                    <a:pt x="1881" y="699"/>
                  </a:lnTo>
                  <a:lnTo>
                    <a:pt x="1878" y="696"/>
                  </a:lnTo>
                  <a:lnTo>
                    <a:pt x="1877" y="693"/>
                  </a:lnTo>
                  <a:lnTo>
                    <a:pt x="1873" y="691"/>
                  </a:lnTo>
                  <a:lnTo>
                    <a:pt x="1873" y="690"/>
                  </a:lnTo>
                  <a:lnTo>
                    <a:pt x="1873" y="688"/>
                  </a:lnTo>
                  <a:lnTo>
                    <a:pt x="1872" y="686"/>
                  </a:lnTo>
                  <a:lnTo>
                    <a:pt x="1872" y="685"/>
                  </a:lnTo>
                  <a:lnTo>
                    <a:pt x="1872" y="682"/>
                  </a:lnTo>
                  <a:lnTo>
                    <a:pt x="1873" y="680"/>
                  </a:lnTo>
                  <a:lnTo>
                    <a:pt x="1873" y="679"/>
                  </a:lnTo>
                  <a:lnTo>
                    <a:pt x="1873" y="677"/>
                  </a:lnTo>
                  <a:lnTo>
                    <a:pt x="1877" y="674"/>
                  </a:lnTo>
                  <a:lnTo>
                    <a:pt x="1878" y="669"/>
                  </a:lnTo>
                  <a:lnTo>
                    <a:pt x="1881" y="666"/>
                  </a:lnTo>
                  <a:lnTo>
                    <a:pt x="1884" y="664"/>
                  </a:lnTo>
                  <a:lnTo>
                    <a:pt x="1886" y="663"/>
                  </a:lnTo>
                  <a:lnTo>
                    <a:pt x="1886" y="661"/>
                  </a:lnTo>
                  <a:lnTo>
                    <a:pt x="1888" y="658"/>
                  </a:lnTo>
                  <a:lnTo>
                    <a:pt x="1889" y="656"/>
                  </a:lnTo>
                  <a:lnTo>
                    <a:pt x="1891" y="653"/>
                  </a:lnTo>
                  <a:lnTo>
                    <a:pt x="1891" y="650"/>
                  </a:lnTo>
                  <a:lnTo>
                    <a:pt x="1892" y="649"/>
                  </a:lnTo>
                  <a:lnTo>
                    <a:pt x="1892" y="644"/>
                  </a:lnTo>
                  <a:lnTo>
                    <a:pt x="1892" y="641"/>
                  </a:lnTo>
                  <a:lnTo>
                    <a:pt x="1891" y="638"/>
                  </a:lnTo>
                  <a:lnTo>
                    <a:pt x="1891" y="636"/>
                  </a:lnTo>
                  <a:lnTo>
                    <a:pt x="1889" y="633"/>
                  </a:lnTo>
                  <a:lnTo>
                    <a:pt x="1888" y="628"/>
                  </a:lnTo>
                  <a:lnTo>
                    <a:pt x="1884" y="623"/>
                  </a:lnTo>
                  <a:lnTo>
                    <a:pt x="1881" y="620"/>
                  </a:lnTo>
                  <a:lnTo>
                    <a:pt x="1880" y="615"/>
                  </a:lnTo>
                  <a:lnTo>
                    <a:pt x="1878" y="612"/>
                  </a:lnTo>
                  <a:lnTo>
                    <a:pt x="1878" y="611"/>
                  </a:lnTo>
                  <a:lnTo>
                    <a:pt x="1878" y="609"/>
                  </a:lnTo>
                  <a:lnTo>
                    <a:pt x="1877" y="606"/>
                  </a:lnTo>
                  <a:lnTo>
                    <a:pt x="1878" y="604"/>
                  </a:lnTo>
                  <a:lnTo>
                    <a:pt x="1878" y="603"/>
                  </a:lnTo>
                  <a:lnTo>
                    <a:pt x="1878" y="600"/>
                  </a:lnTo>
                  <a:lnTo>
                    <a:pt x="1880" y="598"/>
                  </a:lnTo>
                  <a:lnTo>
                    <a:pt x="1881" y="595"/>
                  </a:lnTo>
                  <a:lnTo>
                    <a:pt x="1886" y="592"/>
                  </a:lnTo>
                  <a:lnTo>
                    <a:pt x="1889" y="587"/>
                  </a:lnTo>
                  <a:lnTo>
                    <a:pt x="1892" y="584"/>
                  </a:lnTo>
                  <a:lnTo>
                    <a:pt x="1896" y="581"/>
                  </a:lnTo>
                  <a:lnTo>
                    <a:pt x="1897" y="576"/>
                  </a:lnTo>
                  <a:lnTo>
                    <a:pt x="1897" y="573"/>
                  </a:lnTo>
                  <a:lnTo>
                    <a:pt x="1894" y="570"/>
                  </a:lnTo>
                  <a:lnTo>
                    <a:pt x="1892" y="565"/>
                  </a:lnTo>
                  <a:lnTo>
                    <a:pt x="1891" y="562"/>
                  </a:lnTo>
                  <a:lnTo>
                    <a:pt x="1886" y="557"/>
                  </a:lnTo>
                  <a:lnTo>
                    <a:pt x="1883" y="552"/>
                  </a:lnTo>
                  <a:lnTo>
                    <a:pt x="1878" y="549"/>
                  </a:lnTo>
                  <a:lnTo>
                    <a:pt x="1873" y="544"/>
                  </a:lnTo>
                  <a:lnTo>
                    <a:pt x="1861" y="537"/>
                  </a:lnTo>
                  <a:lnTo>
                    <a:pt x="1850" y="530"/>
                  </a:lnTo>
                  <a:lnTo>
                    <a:pt x="1837" y="522"/>
                  </a:lnTo>
                  <a:lnTo>
                    <a:pt x="1826" y="516"/>
                  </a:lnTo>
                  <a:lnTo>
                    <a:pt x="1820" y="513"/>
                  </a:lnTo>
                  <a:lnTo>
                    <a:pt x="1815" y="508"/>
                  </a:lnTo>
                  <a:lnTo>
                    <a:pt x="1810" y="503"/>
                  </a:lnTo>
                  <a:lnTo>
                    <a:pt x="1805" y="497"/>
                  </a:lnTo>
                  <a:lnTo>
                    <a:pt x="1804" y="497"/>
                  </a:lnTo>
                  <a:lnTo>
                    <a:pt x="1799" y="497"/>
                  </a:lnTo>
                  <a:lnTo>
                    <a:pt x="1798" y="499"/>
                  </a:lnTo>
                  <a:lnTo>
                    <a:pt x="1793" y="500"/>
                  </a:lnTo>
                  <a:lnTo>
                    <a:pt x="1788" y="502"/>
                  </a:lnTo>
                  <a:lnTo>
                    <a:pt x="1782" y="503"/>
                  </a:lnTo>
                  <a:lnTo>
                    <a:pt x="1779" y="505"/>
                  </a:lnTo>
                  <a:lnTo>
                    <a:pt x="1779" y="507"/>
                  </a:lnTo>
                  <a:lnTo>
                    <a:pt x="1777" y="508"/>
                  </a:lnTo>
                  <a:lnTo>
                    <a:pt x="1777" y="510"/>
                  </a:lnTo>
                  <a:lnTo>
                    <a:pt x="1777" y="515"/>
                  </a:lnTo>
                  <a:lnTo>
                    <a:pt x="1779" y="519"/>
                  </a:lnTo>
                  <a:lnTo>
                    <a:pt x="1779" y="526"/>
                  </a:lnTo>
                  <a:lnTo>
                    <a:pt x="1782" y="530"/>
                  </a:lnTo>
                  <a:lnTo>
                    <a:pt x="1782" y="532"/>
                  </a:lnTo>
                  <a:lnTo>
                    <a:pt x="1782" y="533"/>
                  </a:lnTo>
                  <a:lnTo>
                    <a:pt x="1782" y="535"/>
                  </a:lnTo>
                  <a:lnTo>
                    <a:pt x="1780" y="537"/>
                  </a:lnTo>
                  <a:lnTo>
                    <a:pt x="1779" y="538"/>
                  </a:lnTo>
                  <a:lnTo>
                    <a:pt x="1782" y="549"/>
                  </a:lnTo>
                  <a:lnTo>
                    <a:pt x="1782" y="557"/>
                  </a:lnTo>
                  <a:lnTo>
                    <a:pt x="1782" y="560"/>
                  </a:lnTo>
                  <a:lnTo>
                    <a:pt x="1782" y="563"/>
                  </a:lnTo>
                  <a:lnTo>
                    <a:pt x="1782" y="565"/>
                  </a:lnTo>
                  <a:lnTo>
                    <a:pt x="1780" y="567"/>
                  </a:lnTo>
                  <a:lnTo>
                    <a:pt x="1779" y="568"/>
                  </a:lnTo>
                  <a:lnTo>
                    <a:pt x="1779" y="570"/>
                  </a:lnTo>
                  <a:lnTo>
                    <a:pt x="1777" y="570"/>
                  </a:lnTo>
                  <a:lnTo>
                    <a:pt x="1775" y="571"/>
                  </a:lnTo>
                  <a:lnTo>
                    <a:pt x="1772" y="571"/>
                  </a:lnTo>
                  <a:lnTo>
                    <a:pt x="1769" y="571"/>
                  </a:lnTo>
                  <a:lnTo>
                    <a:pt x="1761" y="570"/>
                  </a:lnTo>
                  <a:lnTo>
                    <a:pt x="1753" y="567"/>
                  </a:lnTo>
                  <a:lnTo>
                    <a:pt x="1750" y="567"/>
                  </a:lnTo>
                  <a:lnTo>
                    <a:pt x="1747" y="567"/>
                  </a:lnTo>
                  <a:lnTo>
                    <a:pt x="1745" y="567"/>
                  </a:lnTo>
                  <a:lnTo>
                    <a:pt x="1744" y="567"/>
                  </a:lnTo>
                  <a:lnTo>
                    <a:pt x="1742" y="568"/>
                  </a:lnTo>
                  <a:lnTo>
                    <a:pt x="1742" y="570"/>
                  </a:lnTo>
                  <a:lnTo>
                    <a:pt x="1742" y="571"/>
                  </a:lnTo>
                  <a:lnTo>
                    <a:pt x="1742" y="574"/>
                  </a:lnTo>
                  <a:lnTo>
                    <a:pt x="1742" y="576"/>
                  </a:lnTo>
                  <a:lnTo>
                    <a:pt x="1742" y="579"/>
                  </a:lnTo>
                  <a:lnTo>
                    <a:pt x="1742" y="582"/>
                  </a:lnTo>
                  <a:lnTo>
                    <a:pt x="1741" y="587"/>
                  </a:lnTo>
                  <a:lnTo>
                    <a:pt x="1739" y="590"/>
                  </a:lnTo>
                  <a:lnTo>
                    <a:pt x="1738" y="593"/>
                  </a:lnTo>
                  <a:lnTo>
                    <a:pt x="1734" y="597"/>
                  </a:lnTo>
                  <a:lnTo>
                    <a:pt x="1731" y="598"/>
                  </a:lnTo>
                  <a:lnTo>
                    <a:pt x="1728" y="600"/>
                  </a:lnTo>
                  <a:lnTo>
                    <a:pt x="1726" y="600"/>
                  </a:lnTo>
                  <a:lnTo>
                    <a:pt x="1725" y="600"/>
                  </a:lnTo>
                  <a:lnTo>
                    <a:pt x="1723" y="598"/>
                  </a:lnTo>
                  <a:lnTo>
                    <a:pt x="1722" y="597"/>
                  </a:lnTo>
                  <a:lnTo>
                    <a:pt x="1720" y="597"/>
                  </a:lnTo>
                  <a:lnTo>
                    <a:pt x="1720" y="595"/>
                  </a:lnTo>
                  <a:lnTo>
                    <a:pt x="1719" y="592"/>
                  </a:lnTo>
                  <a:lnTo>
                    <a:pt x="1719" y="590"/>
                  </a:lnTo>
                  <a:lnTo>
                    <a:pt x="1717" y="587"/>
                  </a:lnTo>
                  <a:lnTo>
                    <a:pt x="1717" y="584"/>
                  </a:lnTo>
                  <a:lnTo>
                    <a:pt x="1717" y="582"/>
                  </a:lnTo>
                  <a:lnTo>
                    <a:pt x="1717" y="579"/>
                  </a:lnTo>
                  <a:lnTo>
                    <a:pt x="1719" y="574"/>
                  </a:lnTo>
                  <a:lnTo>
                    <a:pt x="1720" y="573"/>
                  </a:lnTo>
                  <a:lnTo>
                    <a:pt x="1720" y="570"/>
                  </a:lnTo>
                  <a:lnTo>
                    <a:pt x="1723" y="568"/>
                  </a:lnTo>
                  <a:lnTo>
                    <a:pt x="1728" y="563"/>
                  </a:lnTo>
                  <a:lnTo>
                    <a:pt x="1730" y="563"/>
                  </a:lnTo>
                  <a:lnTo>
                    <a:pt x="1733" y="562"/>
                  </a:lnTo>
                  <a:lnTo>
                    <a:pt x="1734" y="560"/>
                  </a:lnTo>
                  <a:lnTo>
                    <a:pt x="1736" y="559"/>
                  </a:lnTo>
                  <a:lnTo>
                    <a:pt x="1738" y="557"/>
                  </a:lnTo>
                  <a:lnTo>
                    <a:pt x="1738" y="554"/>
                  </a:lnTo>
                  <a:lnTo>
                    <a:pt x="1739" y="551"/>
                  </a:lnTo>
                  <a:lnTo>
                    <a:pt x="1739" y="549"/>
                  </a:lnTo>
                  <a:lnTo>
                    <a:pt x="1739" y="544"/>
                  </a:lnTo>
                  <a:lnTo>
                    <a:pt x="1738" y="540"/>
                  </a:lnTo>
                  <a:lnTo>
                    <a:pt x="1736" y="535"/>
                  </a:lnTo>
                  <a:lnTo>
                    <a:pt x="1734" y="535"/>
                  </a:lnTo>
                  <a:lnTo>
                    <a:pt x="1733" y="535"/>
                  </a:lnTo>
                  <a:lnTo>
                    <a:pt x="1725" y="538"/>
                  </a:lnTo>
                  <a:lnTo>
                    <a:pt x="1715" y="540"/>
                  </a:lnTo>
                  <a:lnTo>
                    <a:pt x="1708" y="541"/>
                  </a:lnTo>
                  <a:lnTo>
                    <a:pt x="1701" y="543"/>
                  </a:lnTo>
                  <a:lnTo>
                    <a:pt x="1700" y="543"/>
                  </a:lnTo>
                  <a:lnTo>
                    <a:pt x="1693" y="544"/>
                  </a:lnTo>
                  <a:lnTo>
                    <a:pt x="1689" y="544"/>
                  </a:lnTo>
                  <a:lnTo>
                    <a:pt x="1687" y="544"/>
                  </a:lnTo>
                  <a:lnTo>
                    <a:pt x="1682" y="544"/>
                  </a:lnTo>
                  <a:lnTo>
                    <a:pt x="1676" y="543"/>
                  </a:lnTo>
                  <a:lnTo>
                    <a:pt x="1671" y="543"/>
                  </a:lnTo>
                  <a:lnTo>
                    <a:pt x="1666" y="541"/>
                  </a:lnTo>
                  <a:lnTo>
                    <a:pt x="1662" y="540"/>
                  </a:lnTo>
                  <a:lnTo>
                    <a:pt x="1657" y="537"/>
                  </a:lnTo>
                  <a:lnTo>
                    <a:pt x="1652" y="533"/>
                  </a:lnTo>
                  <a:lnTo>
                    <a:pt x="1646" y="530"/>
                  </a:lnTo>
                  <a:lnTo>
                    <a:pt x="1641" y="526"/>
                  </a:lnTo>
                  <a:lnTo>
                    <a:pt x="1633" y="521"/>
                  </a:lnTo>
                  <a:lnTo>
                    <a:pt x="1627" y="526"/>
                  </a:lnTo>
                  <a:lnTo>
                    <a:pt x="1621" y="530"/>
                  </a:lnTo>
                  <a:lnTo>
                    <a:pt x="1616" y="533"/>
                  </a:lnTo>
                  <a:lnTo>
                    <a:pt x="1611" y="535"/>
                  </a:lnTo>
                  <a:lnTo>
                    <a:pt x="1608" y="537"/>
                  </a:lnTo>
                  <a:lnTo>
                    <a:pt x="1605" y="537"/>
                  </a:lnTo>
                  <a:lnTo>
                    <a:pt x="1602" y="537"/>
                  </a:lnTo>
                  <a:lnTo>
                    <a:pt x="1600" y="537"/>
                  </a:lnTo>
                  <a:lnTo>
                    <a:pt x="1599" y="535"/>
                  </a:lnTo>
                  <a:lnTo>
                    <a:pt x="1597" y="533"/>
                  </a:lnTo>
                  <a:lnTo>
                    <a:pt x="1597" y="530"/>
                  </a:lnTo>
                  <a:lnTo>
                    <a:pt x="1595" y="530"/>
                  </a:lnTo>
                  <a:lnTo>
                    <a:pt x="1594" y="529"/>
                  </a:lnTo>
                  <a:lnTo>
                    <a:pt x="1592" y="527"/>
                  </a:lnTo>
                  <a:lnTo>
                    <a:pt x="1591" y="526"/>
                  </a:lnTo>
                  <a:lnTo>
                    <a:pt x="1581" y="522"/>
                  </a:lnTo>
                  <a:lnTo>
                    <a:pt x="1572" y="519"/>
                  </a:lnTo>
                  <a:lnTo>
                    <a:pt x="1568" y="518"/>
                  </a:lnTo>
                  <a:lnTo>
                    <a:pt x="1565" y="516"/>
                  </a:lnTo>
                  <a:lnTo>
                    <a:pt x="1564" y="515"/>
                  </a:lnTo>
                  <a:lnTo>
                    <a:pt x="1561" y="513"/>
                  </a:lnTo>
                  <a:lnTo>
                    <a:pt x="1561" y="510"/>
                  </a:lnTo>
                  <a:lnTo>
                    <a:pt x="1561" y="508"/>
                  </a:lnTo>
                  <a:lnTo>
                    <a:pt x="1564" y="507"/>
                  </a:lnTo>
                  <a:lnTo>
                    <a:pt x="1567" y="505"/>
                  </a:lnTo>
                  <a:lnTo>
                    <a:pt x="1570" y="505"/>
                  </a:lnTo>
                  <a:lnTo>
                    <a:pt x="1575" y="503"/>
                  </a:lnTo>
                  <a:lnTo>
                    <a:pt x="1581" y="502"/>
                  </a:lnTo>
                  <a:lnTo>
                    <a:pt x="1581" y="500"/>
                  </a:lnTo>
                  <a:lnTo>
                    <a:pt x="1581" y="497"/>
                  </a:lnTo>
                  <a:lnTo>
                    <a:pt x="1583" y="496"/>
                  </a:lnTo>
                  <a:lnTo>
                    <a:pt x="1584" y="496"/>
                  </a:lnTo>
                  <a:lnTo>
                    <a:pt x="1587" y="492"/>
                  </a:lnTo>
                  <a:lnTo>
                    <a:pt x="1591" y="489"/>
                  </a:lnTo>
                  <a:lnTo>
                    <a:pt x="1600" y="485"/>
                  </a:lnTo>
                  <a:lnTo>
                    <a:pt x="1608" y="481"/>
                  </a:lnTo>
                  <a:lnTo>
                    <a:pt x="1613" y="478"/>
                  </a:lnTo>
                  <a:lnTo>
                    <a:pt x="1616" y="477"/>
                  </a:lnTo>
                  <a:lnTo>
                    <a:pt x="1616" y="475"/>
                  </a:lnTo>
                  <a:lnTo>
                    <a:pt x="1608" y="472"/>
                  </a:lnTo>
                  <a:lnTo>
                    <a:pt x="1594" y="469"/>
                  </a:lnTo>
                  <a:lnTo>
                    <a:pt x="1587" y="469"/>
                  </a:lnTo>
                  <a:lnTo>
                    <a:pt x="1580" y="469"/>
                  </a:lnTo>
                  <a:lnTo>
                    <a:pt x="1572" y="469"/>
                  </a:lnTo>
                  <a:lnTo>
                    <a:pt x="1565" y="469"/>
                  </a:lnTo>
                  <a:lnTo>
                    <a:pt x="1565" y="470"/>
                  </a:lnTo>
                  <a:lnTo>
                    <a:pt x="1564" y="470"/>
                  </a:lnTo>
                  <a:lnTo>
                    <a:pt x="1564" y="474"/>
                  </a:lnTo>
                  <a:lnTo>
                    <a:pt x="1561" y="477"/>
                  </a:lnTo>
                  <a:lnTo>
                    <a:pt x="1561" y="480"/>
                  </a:lnTo>
                  <a:lnTo>
                    <a:pt x="1557" y="483"/>
                  </a:lnTo>
                  <a:lnTo>
                    <a:pt x="1556" y="486"/>
                  </a:lnTo>
                  <a:lnTo>
                    <a:pt x="1554" y="488"/>
                  </a:lnTo>
                  <a:lnTo>
                    <a:pt x="1551" y="489"/>
                  </a:lnTo>
                  <a:lnTo>
                    <a:pt x="1550" y="491"/>
                  </a:lnTo>
                  <a:lnTo>
                    <a:pt x="1548" y="491"/>
                  </a:lnTo>
                  <a:lnTo>
                    <a:pt x="1546" y="491"/>
                  </a:lnTo>
                  <a:lnTo>
                    <a:pt x="1543" y="489"/>
                  </a:lnTo>
                  <a:lnTo>
                    <a:pt x="1542" y="489"/>
                  </a:lnTo>
                  <a:lnTo>
                    <a:pt x="1538" y="485"/>
                  </a:lnTo>
                  <a:lnTo>
                    <a:pt x="1537" y="481"/>
                  </a:lnTo>
                  <a:lnTo>
                    <a:pt x="1535" y="477"/>
                  </a:lnTo>
                  <a:lnTo>
                    <a:pt x="1534" y="469"/>
                  </a:lnTo>
                  <a:lnTo>
                    <a:pt x="1521" y="472"/>
                  </a:lnTo>
                  <a:lnTo>
                    <a:pt x="1505" y="472"/>
                  </a:lnTo>
                  <a:lnTo>
                    <a:pt x="1488" y="474"/>
                  </a:lnTo>
                  <a:lnTo>
                    <a:pt x="1475" y="474"/>
                  </a:lnTo>
                  <a:lnTo>
                    <a:pt x="1474" y="474"/>
                  </a:lnTo>
                  <a:lnTo>
                    <a:pt x="1464" y="474"/>
                  </a:lnTo>
                  <a:lnTo>
                    <a:pt x="1456" y="472"/>
                  </a:lnTo>
                  <a:lnTo>
                    <a:pt x="1448" y="472"/>
                  </a:lnTo>
                  <a:lnTo>
                    <a:pt x="1441" y="470"/>
                  </a:lnTo>
                  <a:lnTo>
                    <a:pt x="1434" y="469"/>
                  </a:lnTo>
                  <a:lnTo>
                    <a:pt x="1428" y="469"/>
                  </a:lnTo>
                  <a:lnTo>
                    <a:pt x="1420" y="469"/>
                  </a:lnTo>
                  <a:lnTo>
                    <a:pt x="1415" y="469"/>
                  </a:lnTo>
                  <a:lnTo>
                    <a:pt x="1412" y="469"/>
                  </a:lnTo>
                  <a:lnTo>
                    <a:pt x="1409" y="469"/>
                  </a:lnTo>
                  <a:lnTo>
                    <a:pt x="1406" y="470"/>
                  </a:lnTo>
                  <a:lnTo>
                    <a:pt x="1403" y="472"/>
                  </a:lnTo>
                  <a:lnTo>
                    <a:pt x="1399" y="472"/>
                  </a:lnTo>
                  <a:lnTo>
                    <a:pt x="1396" y="475"/>
                  </a:lnTo>
                  <a:lnTo>
                    <a:pt x="1393" y="477"/>
                  </a:lnTo>
                  <a:lnTo>
                    <a:pt x="1390" y="478"/>
                  </a:lnTo>
                  <a:lnTo>
                    <a:pt x="1384" y="485"/>
                  </a:lnTo>
                  <a:lnTo>
                    <a:pt x="1377" y="489"/>
                  </a:lnTo>
                  <a:lnTo>
                    <a:pt x="1373" y="494"/>
                  </a:lnTo>
                  <a:lnTo>
                    <a:pt x="1368" y="499"/>
                  </a:lnTo>
                  <a:lnTo>
                    <a:pt x="1360" y="510"/>
                  </a:lnTo>
                  <a:lnTo>
                    <a:pt x="1358" y="511"/>
                  </a:lnTo>
                  <a:lnTo>
                    <a:pt x="1357" y="513"/>
                  </a:lnTo>
                  <a:lnTo>
                    <a:pt x="1355" y="513"/>
                  </a:lnTo>
                  <a:lnTo>
                    <a:pt x="1354" y="513"/>
                  </a:lnTo>
                  <a:lnTo>
                    <a:pt x="1352" y="513"/>
                  </a:lnTo>
                  <a:lnTo>
                    <a:pt x="1349" y="510"/>
                  </a:lnTo>
                  <a:lnTo>
                    <a:pt x="1346" y="510"/>
                  </a:lnTo>
                  <a:lnTo>
                    <a:pt x="1344" y="508"/>
                  </a:lnTo>
                  <a:lnTo>
                    <a:pt x="1335" y="497"/>
                  </a:lnTo>
                  <a:lnTo>
                    <a:pt x="1325" y="489"/>
                  </a:lnTo>
                  <a:lnTo>
                    <a:pt x="1325" y="485"/>
                  </a:lnTo>
                  <a:lnTo>
                    <a:pt x="1325" y="480"/>
                  </a:lnTo>
                  <a:lnTo>
                    <a:pt x="1327" y="475"/>
                  </a:lnTo>
                  <a:lnTo>
                    <a:pt x="1325" y="469"/>
                  </a:lnTo>
                  <a:lnTo>
                    <a:pt x="1325" y="461"/>
                  </a:lnTo>
                  <a:lnTo>
                    <a:pt x="1324" y="453"/>
                  </a:lnTo>
                  <a:lnTo>
                    <a:pt x="1320" y="439"/>
                  </a:lnTo>
                  <a:lnTo>
                    <a:pt x="1317" y="434"/>
                  </a:lnTo>
                  <a:lnTo>
                    <a:pt x="1320" y="434"/>
                  </a:lnTo>
                  <a:lnTo>
                    <a:pt x="1322" y="432"/>
                  </a:lnTo>
                  <a:lnTo>
                    <a:pt x="1324" y="431"/>
                  </a:lnTo>
                  <a:lnTo>
                    <a:pt x="1325" y="429"/>
                  </a:lnTo>
                  <a:lnTo>
                    <a:pt x="1328" y="426"/>
                  </a:lnTo>
                  <a:lnTo>
                    <a:pt x="1333" y="423"/>
                  </a:lnTo>
                  <a:lnTo>
                    <a:pt x="1335" y="423"/>
                  </a:lnTo>
                  <a:lnTo>
                    <a:pt x="1336" y="423"/>
                  </a:lnTo>
                  <a:lnTo>
                    <a:pt x="1338" y="421"/>
                  </a:lnTo>
                  <a:lnTo>
                    <a:pt x="1343" y="421"/>
                  </a:lnTo>
                  <a:lnTo>
                    <a:pt x="1346" y="423"/>
                  </a:lnTo>
                  <a:lnTo>
                    <a:pt x="1352" y="423"/>
                  </a:lnTo>
                  <a:lnTo>
                    <a:pt x="1358" y="425"/>
                  </a:lnTo>
                  <a:lnTo>
                    <a:pt x="1366" y="428"/>
                  </a:lnTo>
                  <a:lnTo>
                    <a:pt x="1374" y="431"/>
                  </a:lnTo>
                  <a:lnTo>
                    <a:pt x="1377" y="431"/>
                  </a:lnTo>
                  <a:lnTo>
                    <a:pt x="1379" y="431"/>
                  </a:lnTo>
                  <a:lnTo>
                    <a:pt x="1380" y="431"/>
                  </a:lnTo>
                  <a:lnTo>
                    <a:pt x="1382" y="431"/>
                  </a:lnTo>
                  <a:lnTo>
                    <a:pt x="1385" y="431"/>
                  </a:lnTo>
                  <a:lnTo>
                    <a:pt x="1387" y="431"/>
                  </a:lnTo>
                  <a:lnTo>
                    <a:pt x="1388" y="429"/>
                  </a:lnTo>
                  <a:lnTo>
                    <a:pt x="1390" y="429"/>
                  </a:lnTo>
                  <a:lnTo>
                    <a:pt x="1390" y="428"/>
                  </a:lnTo>
                  <a:lnTo>
                    <a:pt x="1392" y="426"/>
                  </a:lnTo>
                  <a:lnTo>
                    <a:pt x="1392" y="423"/>
                  </a:lnTo>
                  <a:lnTo>
                    <a:pt x="1393" y="421"/>
                  </a:lnTo>
                  <a:lnTo>
                    <a:pt x="1395" y="420"/>
                  </a:lnTo>
                  <a:lnTo>
                    <a:pt x="1395" y="415"/>
                  </a:lnTo>
                  <a:lnTo>
                    <a:pt x="1395" y="409"/>
                  </a:lnTo>
                  <a:lnTo>
                    <a:pt x="1395" y="403"/>
                  </a:lnTo>
                  <a:lnTo>
                    <a:pt x="1395" y="398"/>
                  </a:lnTo>
                  <a:lnTo>
                    <a:pt x="1395" y="393"/>
                  </a:lnTo>
                  <a:lnTo>
                    <a:pt x="1393" y="385"/>
                  </a:lnTo>
                  <a:lnTo>
                    <a:pt x="1393" y="380"/>
                  </a:lnTo>
                  <a:lnTo>
                    <a:pt x="1392" y="376"/>
                  </a:lnTo>
                  <a:lnTo>
                    <a:pt x="1390" y="371"/>
                  </a:lnTo>
                  <a:lnTo>
                    <a:pt x="1388" y="368"/>
                  </a:lnTo>
                  <a:lnTo>
                    <a:pt x="1385" y="365"/>
                  </a:lnTo>
                  <a:lnTo>
                    <a:pt x="1379" y="360"/>
                  </a:lnTo>
                  <a:lnTo>
                    <a:pt x="1376" y="357"/>
                  </a:lnTo>
                  <a:lnTo>
                    <a:pt x="1371" y="352"/>
                  </a:lnTo>
                  <a:lnTo>
                    <a:pt x="1365" y="344"/>
                  </a:lnTo>
                  <a:lnTo>
                    <a:pt x="1357" y="336"/>
                  </a:lnTo>
                  <a:lnTo>
                    <a:pt x="1352" y="328"/>
                  </a:lnTo>
                  <a:lnTo>
                    <a:pt x="1347" y="324"/>
                  </a:lnTo>
                  <a:lnTo>
                    <a:pt x="1346" y="324"/>
                  </a:lnTo>
                  <a:lnTo>
                    <a:pt x="1344" y="324"/>
                  </a:lnTo>
                  <a:lnTo>
                    <a:pt x="1344" y="327"/>
                  </a:lnTo>
                  <a:lnTo>
                    <a:pt x="1344" y="336"/>
                  </a:lnTo>
                  <a:lnTo>
                    <a:pt x="1344" y="346"/>
                  </a:lnTo>
                  <a:lnTo>
                    <a:pt x="1344" y="349"/>
                  </a:lnTo>
                  <a:lnTo>
                    <a:pt x="1344" y="354"/>
                  </a:lnTo>
                  <a:lnTo>
                    <a:pt x="1344" y="357"/>
                  </a:lnTo>
                  <a:lnTo>
                    <a:pt x="1343" y="360"/>
                  </a:lnTo>
                  <a:lnTo>
                    <a:pt x="1341" y="363"/>
                  </a:lnTo>
                  <a:lnTo>
                    <a:pt x="1339" y="368"/>
                  </a:lnTo>
                  <a:lnTo>
                    <a:pt x="1336" y="371"/>
                  </a:lnTo>
                  <a:lnTo>
                    <a:pt x="1331" y="376"/>
                  </a:lnTo>
                  <a:lnTo>
                    <a:pt x="1327" y="379"/>
                  </a:lnTo>
                  <a:lnTo>
                    <a:pt x="1320" y="384"/>
                  </a:lnTo>
                  <a:lnTo>
                    <a:pt x="1313" y="390"/>
                  </a:lnTo>
                  <a:lnTo>
                    <a:pt x="1301" y="395"/>
                  </a:lnTo>
                  <a:lnTo>
                    <a:pt x="1297" y="398"/>
                  </a:lnTo>
                  <a:lnTo>
                    <a:pt x="1294" y="401"/>
                  </a:lnTo>
                  <a:lnTo>
                    <a:pt x="1290" y="404"/>
                  </a:lnTo>
                  <a:lnTo>
                    <a:pt x="1287" y="406"/>
                  </a:lnTo>
                  <a:lnTo>
                    <a:pt x="1287" y="407"/>
                  </a:lnTo>
                  <a:lnTo>
                    <a:pt x="1286" y="409"/>
                  </a:lnTo>
                  <a:lnTo>
                    <a:pt x="1284" y="412"/>
                  </a:lnTo>
                  <a:lnTo>
                    <a:pt x="1283" y="414"/>
                  </a:lnTo>
                  <a:lnTo>
                    <a:pt x="1283" y="415"/>
                  </a:lnTo>
                  <a:lnTo>
                    <a:pt x="1283" y="418"/>
                  </a:lnTo>
                  <a:lnTo>
                    <a:pt x="1283" y="420"/>
                  </a:lnTo>
                  <a:lnTo>
                    <a:pt x="1283" y="421"/>
                  </a:lnTo>
                  <a:lnTo>
                    <a:pt x="1283" y="423"/>
                  </a:lnTo>
                  <a:lnTo>
                    <a:pt x="1284" y="428"/>
                  </a:lnTo>
                  <a:lnTo>
                    <a:pt x="1287" y="431"/>
                  </a:lnTo>
                  <a:lnTo>
                    <a:pt x="1290" y="436"/>
                  </a:lnTo>
                  <a:lnTo>
                    <a:pt x="1292" y="439"/>
                  </a:lnTo>
                  <a:lnTo>
                    <a:pt x="1292" y="440"/>
                  </a:lnTo>
                  <a:lnTo>
                    <a:pt x="1294" y="444"/>
                  </a:lnTo>
                  <a:lnTo>
                    <a:pt x="1294" y="447"/>
                  </a:lnTo>
                  <a:lnTo>
                    <a:pt x="1294" y="448"/>
                  </a:lnTo>
                  <a:lnTo>
                    <a:pt x="1292" y="451"/>
                  </a:lnTo>
                  <a:lnTo>
                    <a:pt x="1292" y="453"/>
                  </a:lnTo>
                  <a:lnTo>
                    <a:pt x="1290" y="456"/>
                  </a:lnTo>
                  <a:lnTo>
                    <a:pt x="1287" y="458"/>
                  </a:lnTo>
                  <a:lnTo>
                    <a:pt x="1284" y="461"/>
                  </a:lnTo>
                  <a:lnTo>
                    <a:pt x="1284" y="462"/>
                  </a:lnTo>
                  <a:lnTo>
                    <a:pt x="1283" y="462"/>
                  </a:lnTo>
                  <a:lnTo>
                    <a:pt x="1279" y="466"/>
                  </a:lnTo>
                  <a:lnTo>
                    <a:pt x="1278" y="467"/>
                  </a:lnTo>
                  <a:lnTo>
                    <a:pt x="1275" y="467"/>
                  </a:lnTo>
                  <a:lnTo>
                    <a:pt x="1273" y="467"/>
                  </a:lnTo>
                  <a:lnTo>
                    <a:pt x="1271" y="467"/>
                  </a:lnTo>
                  <a:lnTo>
                    <a:pt x="1270" y="467"/>
                  </a:lnTo>
                  <a:lnTo>
                    <a:pt x="1267" y="469"/>
                  </a:lnTo>
                  <a:lnTo>
                    <a:pt x="1264" y="470"/>
                  </a:lnTo>
                  <a:lnTo>
                    <a:pt x="1259" y="474"/>
                  </a:lnTo>
                  <a:lnTo>
                    <a:pt x="1259" y="475"/>
                  </a:lnTo>
                  <a:lnTo>
                    <a:pt x="1257" y="478"/>
                  </a:lnTo>
                  <a:lnTo>
                    <a:pt x="1251" y="485"/>
                  </a:lnTo>
                  <a:lnTo>
                    <a:pt x="1246" y="492"/>
                  </a:lnTo>
                  <a:lnTo>
                    <a:pt x="1241" y="502"/>
                  </a:lnTo>
                  <a:lnTo>
                    <a:pt x="1241" y="497"/>
                  </a:lnTo>
                  <a:lnTo>
                    <a:pt x="1241" y="494"/>
                  </a:lnTo>
                  <a:lnTo>
                    <a:pt x="1240" y="492"/>
                  </a:lnTo>
                  <a:lnTo>
                    <a:pt x="1240" y="489"/>
                  </a:lnTo>
                  <a:lnTo>
                    <a:pt x="1238" y="489"/>
                  </a:lnTo>
                  <a:lnTo>
                    <a:pt x="1237" y="488"/>
                  </a:lnTo>
                  <a:lnTo>
                    <a:pt x="1237" y="486"/>
                  </a:lnTo>
                  <a:lnTo>
                    <a:pt x="1234" y="485"/>
                  </a:lnTo>
                  <a:lnTo>
                    <a:pt x="1230" y="483"/>
                  </a:lnTo>
                  <a:lnTo>
                    <a:pt x="1226" y="483"/>
                  </a:lnTo>
                  <a:lnTo>
                    <a:pt x="1222" y="480"/>
                  </a:lnTo>
                  <a:lnTo>
                    <a:pt x="1221" y="480"/>
                  </a:lnTo>
                  <a:lnTo>
                    <a:pt x="1219" y="480"/>
                  </a:lnTo>
                  <a:lnTo>
                    <a:pt x="1219" y="478"/>
                  </a:lnTo>
                  <a:lnTo>
                    <a:pt x="1219" y="477"/>
                  </a:lnTo>
                  <a:lnTo>
                    <a:pt x="1221" y="477"/>
                  </a:lnTo>
                  <a:lnTo>
                    <a:pt x="1222" y="475"/>
                  </a:lnTo>
                  <a:lnTo>
                    <a:pt x="1227" y="474"/>
                  </a:lnTo>
                  <a:lnTo>
                    <a:pt x="1234" y="472"/>
                  </a:lnTo>
                  <a:lnTo>
                    <a:pt x="1243" y="469"/>
                  </a:lnTo>
                  <a:lnTo>
                    <a:pt x="1240" y="462"/>
                  </a:lnTo>
                  <a:lnTo>
                    <a:pt x="1237" y="455"/>
                  </a:lnTo>
                  <a:lnTo>
                    <a:pt x="1232" y="448"/>
                  </a:lnTo>
                  <a:lnTo>
                    <a:pt x="1229" y="444"/>
                  </a:lnTo>
                  <a:lnTo>
                    <a:pt x="1226" y="440"/>
                  </a:lnTo>
                  <a:lnTo>
                    <a:pt x="1224" y="439"/>
                  </a:lnTo>
                  <a:lnTo>
                    <a:pt x="1221" y="436"/>
                  </a:lnTo>
                  <a:lnTo>
                    <a:pt x="1219" y="436"/>
                  </a:lnTo>
                  <a:lnTo>
                    <a:pt x="1218" y="434"/>
                  </a:lnTo>
                  <a:lnTo>
                    <a:pt x="1216" y="434"/>
                  </a:lnTo>
                  <a:lnTo>
                    <a:pt x="1213" y="432"/>
                  </a:lnTo>
                  <a:lnTo>
                    <a:pt x="1211" y="432"/>
                  </a:lnTo>
                  <a:lnTo>
                    <a:pt x="1204" y="436"/>
                  </a:lnTo>
                  <a:lnTo>
                    <a:pt x="1197" y="439"/>
                  </a:lnTo>
                  <a:lnTo>
                    <a:pt x="1191" y="442"/>
                  </a:lnTo>
                  <a:lnTo>
                    <a:pt x="1185" y="444"/>
                  </a:lnTo>
                  <a:lnTo>
                    <a:pt x="1178" y="444"/>
                  </a:lnTo>
                  <a:lnTo>
                    <a:pt x="1172" y="444"/>
                  </a:lnTo>
                  <a:lnTo>
                    <a:pt x="1167" y="444"/>
                  </a:lnTo>
                  <a:lnTo>
                    <a:pt x="1161" y="442"/>
                  </a:lnTo>
                  <a:lnTo>
                    <a:pt x="1150" y="440"/>
                  </a:lnTo>
                  <a:lnTo>
                    <a:pt x="1140" y="437"/>
                  </a:lnTo>
                  <a:lnTo>
                    <a:pt x="1136" y="436"/>
                  </a:lnTo>
                  <a:lnTo>
                    <a:pt x="1131" y="436"/>
                  </a:lnTo>
                  <a:lnTo>
                    <a:pt x="1126" y="434"/>
                  </a:lnTo>
                  <a:lnTo>
                    <a:pt x="1123" y="434"/>
                  </a:lnTo>
                  <a:lnTo>
                    <a:pt x="1118" y="434"/>
                  </a:lnTo>
                  <a:lnTo>
                    <a:pt x="1115" y="436"/>
                  </a:lnTo>
                  <a:lnTo>
                    <a:pt x="1110" y="436"/>
                  </a:lnTo>
                  <a:lnTo>
                    <a:pt x="1107" y="437"/>
                  </a:lnTo>
                  <a:lnTo>
                    <a:pt x="1104" y="439"/>
                  </a:lnTo>
                  <a:lnTo>
                    <a:pt x="1102" y="440"/>
                  </a:lnTo>
                  <a:lnTo>
                    <a:pt x="1099" y="442"/>
                  </a:lnTo>
                  <a:lnTo>
                    <a:pt x="1098" y="444"/>
                  </a:lnTo>
                  <a:lnTo>
                    <a:pt x="1096" y="447"/>
                  </a:lnTo>
                  <a:lnTo>
                    <a:pt x="1095" y="448"/>
                  </a:lnTo>
                  <a:lnTo>
                    <a:pt x="1093" y="453"/>
                  </a:lnTo>
                  <a:lnTo>
                    <a:pt x="1093" y="455"/>
                  </a:lnTo>
                  <a:lnTo>
                    <a:pt x="1091" y="462"/>
                  </a:lnTo>
                  <a:lnTo>
                    <a:pt x="1090" y="469"/>
                  </a:lnTo>
                  <a:lnTo>
                    <a:pt x="1090" y="481"/>
                  </a:lnTo>
                  <a:lnTo>
                    <a:pt x="1088" y="494"/>
                  </a:lnTo>
                  <a:lnTo>
                    <a:pt x="1088" y="500"/>
                  </a:lnTo>
                  <a:lnTo>
                    <a:pt x="1085" y="505"/>
                  </a:lnTo>
                  <a:lnTo>
                    <a:pt x="1085" y="508"/>
                  </a:lnTo>
                  <a:lnTo>
                    <a:pt x="1083" y="510"/>
                  </a:lnTo>
                  <a:lnTo>
                    <a:pt x="1082" y="511"/>
                  </a:lnTo>
                  <a:lnTo>
                    <a:pt x="1080" y="513"/>
                  </a:lnTo>
                  <a:lnTo>
                    <a:pt x="1076" y="510"/>
                  </a:lnTo>
                  <a:lnTo>
                    <a:pt x="1071" y="505"/>
                  </a:lnTo>
                  <a:lnTo>
                    <a:pt x="1068" y="502"/>
                  </a:lnTo>
                  <a:lnTo>
                    <a:pt x="1063" y="496"/>
                  </a:lnTo>
                  <a:lnTo>
                    <a:pt x="1060" y="491"/>
                  </a:lnTo>
                  <a:lnTo>
                    <a:pt x="1055" y="485"/>
                  </a:lnTo>
                  <a:lnTo>
                    <a:pt x="1052" y="478"/>
                  </a:lnTo>
                  <a:lnTo>
                    <a:pt x="1049" y="472"/>
                  </a:lnTo>
                  <a:lnTo>
                    <a:pt x="1046" y="466"/>
                  </a:lnTo>
                  <a:lnTo>
                    <a:pt x="1042" y="458"/>
                  </a:lnTo>
                  <a:lnTo>
                    <a:pt x="1041" y="451"/>
                  </a:lnTo>
                  <a:lnTo>
                    <a:pt x="1039" y="444"/>
                  </a:lnTo>
                  <a:lnTo>
                    <a:pt x="1038" y="436"/>
                  </a:lnTo>
                  <a:lnTo>
                    <a:pt x="1036" y="429"/>
                  </a:lnTo>
                  <a:lnTo>
                    <a:pt x="1036" y="423"/>
                  </a:lnTo>
                  <a:lnTo>
                    <a:pt x="1036" y="415"/>
                  </a:lnTo>
                  <a:lnTo>
                    <a:pt x="1036" y="414"/>
                  </a:lnTo>
                  <a:lnTo>
                    <a:pt x="1036" y="412"/>
                  </a:lnTo>
                  <a:lnTo>
                    <a:pt x="1033" y="409"/>
                  </a:lnTo>
                  <a:lnTo>
                    <a:pt x="1030" y="407"/>
                  </a:lnTo>
                  <a:lnTo>
                    <a:pt x="1027" y="406"/>
                  </a:lnTo>
                  <a:lnTo>
                    <a:pt x="1022" y="404"/>
                  </a:lnTo>
                  <a:lnTo>
                    <a:pt x="1016" y="403"/>
                  </a:lnTo>
                  <a:lnTo>
                    <a:pt x="1012" y="403"/>
                  </a:lnTo>
                  <a:lnTo>
                    <a:pt x="1009" y="403"/>
                  </a:lnTo>
                  <a:lnTo>
                    <a:pt x="1008" y="403"/>
                  </a:lnTo>
                  <a:lnTo>
                    <a:pt x="1004" y="404"/>
                  </a:lnTo>
                  <a:lnTo>
                    <a:pt x="1003" y="406"/>
                  </a:lnTo>
                  <a:lnTo>
                    <a:pt x="1000" y="407"/>
                  </a:lnTo>
                  <a:lnTo>
                    <a:pt x="998" y="409"/>
                  </a:lnTo>
                  <a:lnTo>
                    <a:pt x="995" y="410"/>
                  </a:lnTo>
                  <a:lnTo>
                    <a:pt x="993" y="414"/>
                  </a:lnTo>
                  <a:lnTo>
                    <a:pt x="992" y="415"/>
                  </a:lnTo>
                  <a:lnTo>
                    <a:pt x="990" y="418"/>
                  </a:lnTo>
                  <a:lnTo>
                    <a:pt x="989" y="421"/>
                  </a:lnTo>
                  <a:lnTo>
                    <a:pt x="987" y="426"/>
                  </a:lnTo>
                  <a:lnTo>
                    <a:pt x="985" y="431"/>
                  </a:lnTo>
                  <a:lnTo>
                    <a:pt x="985" y="436"/>
                  </a:lnTo>
                  <a:lnTo>
                    <a:pt x="985" y="442"/>
                  </a:lnTo>
                  <a:lnTo>
                    <a:pt x="985" y="447"/>
                  </a:lnTo>
                  <a:lnTo>
                    <a:pt x="990" y="453"/>
                  </a:lnTo>
                  <a:lnTo>
                    <a:pt x="995" y="456"/>
                  </a:lnTo>
                  <a:lnTo>
                    <a:pt x="1000" y="462"/>
                  </a:lnTo>
                  <a:lnTo>
                    <a:pt x="1003" y="466"/>
                  </a:lnTo>
                  <a:lnTo>
                    <a:pt x="1003" y="467"/>
                  </a:lnTo>
                  <a:lnTo>
                    <a:pt x="1003" y="469"/>
                  </a:lnTo>
                  <a:lnTo>
                    <a:pt x="1004" y="472"/>
                  </a:lnTo>
                  <a:lnTo>
                    <a:pt x="1004" y="477"/>
                  </a:lnTo>
                  <a:lnTo>
                    <a:pt x="1003" y="480"/>
                  </a:lnTo>
                  <a:lnTo>
                    <a:pt x="1001" y="483"/>
                  </a:lnTo>
                  <a:lnTo>
                    <a:pt x="1000" y="485"/>
                  </a:lnTo>
                  <a:lnTo>
                    <a:pt x="997" y="486"/>
                  </a:lnTo>
                  <a:lnTo>
                    <a:pt x="993" y="489"/>
                  </a:lnTo>
                  <a:lnTo>
                    <a:pt x="990" y="489"/>
                  </a:lnTo>
                  <a:lnTo>
                    <a:pt x="987" y="491"/>
                  </a:lnTo>
                  <a:lnTo>
                    <a:pt x="985" y="492"/>
                  </a:lnTo>
                  <a:lnTo>
                    <a:pt x="982" y="492"/>
                  </a:lnTo>
                  <a:lnTo>
                    <a:pt x="979" y="492"/>
                  </a:lnTo>
                  <a:lnTo>
                    <a:pt x="974" y="491"/>
                  </a:lnTo>
                  <a:lnTo>
                    <a:pt x="973" y="489"/>
                  </a:lnTo>
                  <a:lnTo>
                    <a:pt x="970" y="489"/>
                  </a:lnTo>
                  <a:lnTo>
                    <a:pt x="967" y="489"/>
                  </a:lnTo>
                  <a:lnTo>
                    <a:pt x="965" y="488"/>
                  </a:lnTo>
                  <a:lnTo>
                    <a:pt x="962" y="486"/>
                  </a:lnTo>
                  <a:lnTo>
                    <a:pt x="960" y="485"/>
                  </a:lnTo>
                  <a:lnTo>
                    <a:pt x="957" y="483"/>
                  </a:lnTo>
                  <a:lnTo>
                    <a:pt x="957" y="481"/>
                  </a:lnTo>
                  <a:lnTo>
                    <a:pt x="954" y="480"/>
                  </a:lnTo>
                  <a:lnTo>
                    <a:pt x="954" y="477"/>
                  </a:lnTo>
                  <a:lnTo>
                    <a:pt x="952" y="475"/>
                  </a:lnTo>
                  <a:lnTo>
                    <a:pt x="952" y="472"/>
                  </a:lnTo>
                  <a:lnTo>
                    <a:pt x="952" y="470"/>
                  </a:lnTo>
                  <a:lnTo>
                    <a:pt x="951" y="470"/>
                  </a:lnTo>
                  <a:lnTo>
                    <a:pt x="952" y="469"/>
                  </a:lnTo>
                  <a:lnTo>
                    <a:pt x="952" y="461"/>
                  </a:lnTo>
                  <a:lnTo>
                    <a:pt x="951" y="453"/>
                  </a:lnTo>
                  <a:lnTo>
                    <a:pt x="951" y="444"/>
                  </a:lnTo>
                  <a:lnTo>
                    <a:pt x="952" y="436"/>
                  </a:lnTo>
                  <a:lnTo>
                    <a:pt x="952" y="421"/>
                  </a:lnTo>
                  <a:lnTo>
                    <a:pt x="952" y="409"/>
                  </a:lnTo>
                  <a:lnTo>
                    <a:pt x="952" y="406"/>
                  </a:lnTo>
                  <a:lnTo>
                    <a:pt x="952" y="401"/>
                  </a:lnTo>
                  <a:lnTo>
                    <a:pt x="952" y="398"/>
                  </a:lnTo>
                  <a:lnTo>
                    <a:pt x="952" y="393"/>
                  </a:lnTo>
                  <a:lnTo>
                    <a:pt x="952" y="390"/>
                  </a:lnTo>
                  <a:lnTo>
                    <a:pt x="954" y="387"/>
                  </a:lnTo>
                  <a:lnTo>
                    <a:pt x="955" y="382"/>
                  </a:lnTo>
                  <a:lnTo>
                    <a:pt x="957" y="380"/>
                  </a:lnTo>
                  <a:lnTo>
                    <a:pt x="960" y="371"/>
                  </a:lnTo>
                  <a:lnTo>
                    <a:pt x="965" y="362"/>
                  </a:lnTo>
                  <a:lnTo>
                    <a:pt x="971" y="350"/>
                  </a:lnTo>
                  <a:lnTo>
                    <a:pt x="979" y="336"/>
                  </a:lnTo>
                  <a:lnTo>
                    <a:pt x="987" y="332"/>
                  </a:lnTo>
                  <a:lnTo>
                    <a:pt x="995" y="328"/>
                  </a:lnTo>
                  <a:lnTo>
                    <a:pt x="998" y="325"/>
                  </a:lnTo>
                  <a:lnTo>
                    <a:pt x="1003" y="324"/>
                  </a:lnTo>
                  <a:lnTo>
                    <a:pt x="1004" y="322"/>
                  </a:lnTo>
                  <a:lnTo>
                    <a:pt x="1008" y="319"/>
                  </a:lnTo>
                  <a:lnTo>
                    <a:pt x="1011" y="316"/>
                  </a:lnTo>
                  <a:lnTo>
                    <a:pt x="1011" y="314"/>
                  </a:lnTo>
                  <a:lnTo>
                    <a:pt x="1014" y="311"/>
                  </a:lnTo>
                  <a:lnTo>
                    <a:pt x="1016" y="309"/>
                  </a:lnTo>
                  <a:lnTo>
                    <a:pt x="1016" y="306"/>
                  </a:lnTo>
                  <a:lnTo>
                    <a:pt x="1017" y="303"/>
                  </a:lnTo>
                  <a:lnTo>
                    <a:pt x="1019" y="302"/>
                  </a:lnTo>
                  <a:lnTo>
                    <a:pt x="1019" y="298"/>
                  </a:lnTo>
                  <a:lnTo>
                    <a:pt x="1020" y="291"/>
                  </a:lnTo>
                  <a:lnTo>
                    <a:pt x="1020" y="284"/>
                  </a:lnTo>
                  <a:lnTo>
                    <a:pt x="1020" y="276"/>
                  </a:lnTo>
                  <a:lnTo>
                    <a:pt x="1020" y="268"/>
                  </a:lnTo>
                  <a:lnTo>
                    <a:pt x="1019" y="250"/>
                  </a:lnTo>
                  <a:lnTo>
                    <a:pt x="1019" y="229"/>
                  </a:lnTo>
                  <a:lnTo>
                    <a:pt x="1017" y="229"/>
                  </a:lnTo>
                  <a:lnTo>
                    <a:pt x="1017" y="227"/>
                  </a:lnTo>
                  <a:lnTo>
                    <a:pt x="1017" y="223"/>
                  </a:lnTo>
                  <a:lnTo>
                    <a:pt x="1017" y="220"/>
                  </a:lnTo>
                  <a:lnTo>
                    <a:pt x="1017" y="216"/>
                  </a:lnTo>
                  <a:lnTo>
                    <a:pt x="1020" y="202"/>
                  </a:lnTo>
                  <a:lnTo>
                    <a:pt x="1022" y="193"/>
                  </a:lnTo>
                  <a:lnTo>
                    <a:pt x="1023" y="190"/>
                  </a:lnTo>
                  <a:lnTo>
                    <a:pt x="1023" y="186"/>
                  </a:lnTo>
                  <a:lnTo>
                    <a:pt x="1025" y="186"/>
                  </a:lnTo>
                  <a:lnTo>
                    <a:pt x="1027" y="185"/>
                  </a:lnTo>
                  <a:lnTo>
                    <a:pt x="1027" y="183"/>
                  </a:lnTo>
                  <a:lnTo>
                    <a:pt x="1027" y="185"/>
                  </a:lnTo>
                  <a:lnTo>
                    <a:pt x="1028" y="186"/>
                  </a:lnTo>
                  <a:lnTo>
                    <a:pt x="1028" y="188"/>
                  </a:lnTo>
                  <a:lnTo>
                    <a:pt x="1030" y="194"/>
                  </a:lnTo>
                  <a:lnTo>
                    <a:pt x="1031" y="201"/>
                  </a:lnTo>
                  <a:lnTo>
                    <a:pt x="1034" y="218"/>
                  </a:lnTo>
                  <a:lnTo>
                    <a:pt x="1039" y="238"/>
                  </a:lnTo>
                  <a:lnTo>
                    <a:pt x="1041" y="250"/>
                  </a:lnTo>
                  <a:lnTo>
                    <a:pt x="1044" y="257"/>
                  </a:lnTo>
                  <a:lnTo>
                    <a:pt x="1046" y="262"/>
                  </a:lnTo>
                  <a:lnTo>
                    <a:pt x="1047" y="267"/>
                  </a:lnTo>
                  <a:lnTo>
                    <a:pt x="1049" y="270"/>
                  </a:lnTo>
                  <a:lnTo>
                    <a:pt x="1052" y="273"/>
                  </a:lnTo>
                  <a:lnTo>
                    <a:pt x="1055" y="287"/>
                  </a:lnTo>
                  <a:lnTo>
                    <a:pt x="1058" y="300"/>
                  </a:lnTo>
                  <a:lnTo>
                    <a:pt x="1061" y="314"/>
                  </a:lnTo>
                  <a:lnTo>
                    <a:pt x="1068" y="325"/>
                  </a:lnTo>
                  <a:lnTo>
                    <a:pt x="1072" y="336"/>
                  </a:lnTo>
                  <a:lnTo>
                    <a:pt x="1079" y="347"/>
                  </a:lnTo>
                  <a:lnTo>
                    <a:pt x="1082" y="352"/>
                  </a:lnTo>
                  <a:lnTo>
                    <a:pt x="1085" y="358"/>
                  </a:lnTo>
                  <a:lnTo>
                    <a:pt x="1088" y="362"/>
                  </a:lnTo>
                  <a:lnTo>
                    <a:pt x="1091" y="368"/>
                  </a:lnTo>
                  <a:lnTo>
                    <a:pt x="1095" y="373"/>
                  </a:lnTo>
                  <a:lnTo>
                    <a:pt x="1099" y="376"/>
                  </a:lnTo>
                  <a:lnTo>
                    <a:pt x="1102" y="380"/>
                  </a:lnTo>
                  <a:lnTo>
                    <a:pt x="1107" y="384"/>
                  </a:lnTo>
                  <a:lnTo>
                    <a:pt x="1112" y="387"/>
                  </a:lnTo>
                  <a:lnTo>
                    <a:pt x="1115" y="390"/>
                  </a:lnTo>
                  <a:lnTo>
                    <a:pt x="1121" y="393"/>
                  </a:lnTo>
                  <a:lnTo>
                    <a:pt x="1126" y="395"/>
                  </a:lnTo>
                  <a:lnTo>
                    <a:pt x="1131" y="398"/>
                  </a:lnTo>
                  <a:lnTo>
                    <a:pt x="1136" y="401"/>
                  </a:lnTo>
                  <a:lnTo>
                    <a:pt x="1140" y="401"/>
                  </a:lnTo>
                  <a:lnTo>
                    <a:pt x="1145" y="403"/>
                  </a:lnTo>
                  <a:lnTo>
                    <a:pt x="1150" y="404"/>
                  </a:lnTo>
                  <a:lnTo>
                    <a:pt x="1156" y="406"/>
                  </a:lnTo>
                  <a:lnTo>
                    <a:pt x="1162" y="406"/>
                  </a:lnTo>
                  <a:lnTo>
                    <a:pt x="1167" y="406"/>
                  </a:lnTo>
                  <a:lnTo>
                    <a:pt x="1173" y="406"/>
                  </a:lnTo>
                  <a:lnTo>
                    <a:pt x="1178" y="406"/>
                  </a:lnTo>
                  <a:lnTo>
                    <a:pt x="1183" y="406"/>
                  </a:lnTo>
                  <a:lnTo>
                    <a:pt x="1189" y="404"/>
                  </a:lnTo>
                  <a:lnTo>
                    <a:pt x="1192" y="403"/>
                  </a:lnTo>
                  <a:lnTo>
                    <a:pt x="1197" y="401"/>
                  </a:lnTo>
                  <a:lnTo>
                    <a:pt x="1204" y="399"/>
                  </a:lnTo>
                  <a:lnTo>
                    <a:pt x="1207" y="398"/>
                  </a:lnTo>
                  <a:lnTo>
                    <a:pt x="1210" y="395"/>
                  </a:lnTo>
                  <a:lnTo>
                    <a:pt x="1215" y="393"/>
                  </a:lnTo>
                  <a:lnTo>
                    <a:pt x="1218" y="390"/>
                  </a:lnTo>
                  <a:lnTo>
                    <a:pt x="1221" y="388"/>
                  </a:lnTo>
                  <a:lnTo>
                    <a:pt x="1224" y="385"/>
                  </a:lnTo>
                  <a:lnTo>
                    <a:pt x="1229" y="380"/>
                  </a:lnTo>
                  <a:lnTo>
                    <a:pt x="1230" y="377"/>
                  </a:lnTo>
                  <a:lnTo>
                    <a:pt x="1234" y="374"/>
                  </a:lnTo>
                  <a:lnTo>
                    <a:pt x="1237" y="369"/>
                  </a:lnTo>
                  <a:lnTo>
                    <a:pt x="1238" y="366"/>
                  </a:lnTo>
                  <a:lnTo>
                    <a:pt x="1240" y="362"/>
                  </a:lnTo>
                  <a:lnTo>
                    <a:pt x="1241" y="358"/>
                  </a:lnTo>
                  <a:lnTo>
                    <a:pt x="1243" y="354"/>
                  </a:lnTo>
                  <a:lnTo>
                    <a:pt x="1243" y="349"/>
                  </a:lnTo>
                  <a:lnTo>
                    <a:pt x="1245" y="344"/>
                  </a:lnTo>
                  <a:lnTo>
                    <a:pt x="1246" y="339"/>
                  </a:lnTo>
                  <a:lnTo>
                    <a:pt x="1246" y="335"/>
                  </a:lnTo>
                  <a:lnTo>
                    <a:pt x="1246" y="328"/>
                  </a:lnTo>
                  <a:lnTo>
                    <a:pt x="1248" y="324"/>
                  </a:lnTo>
                  <a:lnTo>
                    <a:pt x="1248" y="319"/>
                  </a:lnTo>
                  <a:lnTo>
                    <a:pt x="1246" y="308"/>
                  </a:lnTo>
                  <a:lnTo>
                    <a:pt x="1246" y="295"/>
                  </a:lnTo>
                  <a:lnTo>
                    <a:pt x="1245" y="291"/>
                  </a:lnTo>
                  <a:lnTo>
                    <a:pt x="1243" y="284"/>
                  </a:lnTo>
                  <a:lnTo>
                    <a:pt x="1241" y="278"/>
                  </a:lnTo>
                  <a:lnTo>
                    <a:pt x="1240" y="273"/>
                  </a:lnTo>
                  <a:lnTo>
                    <a:pt x="1235" y="261"/>
                  </a:lnTo>
                  <a:lnTo>
                    <a:pt x="1230" y="246"/>
                  </a:lnTo>
                  <a:lnTo>
                    <a:pt x="1229" y="240"/>
                  </a:lnTo>
                  <a:lnTo>
                    <a:pt x="1226" y="231"/>
                  </a:lnTo>
                  <a:lnTo>
                    <a:pt x="1224" y="221"/>
                  </a:lnTo>
                  <a:lnTo>
                    <a:pt x="1222" y="212"/>
                  </a:lnTo>
                  <a:lnTo>
                    <a:pt x="1221" y="201"/>
                  </a:lnTo>
                  <a:lnTo>
                    <a:pt x="1221" y="190"/>
                  </a:lnTo>
                  <a:lnTo>
                    <a:pt x="1221" y="177"/>
                  </a:lnTo>
                  <a:lnTo>
                    <a:pt x="1221" y="163"/>
                  </a:lnTo>
                  <a:lnTo>
                    <a:pt x="1218" y="158"/>
                  </a:lnTo>
                  <a:lnTo>
                    <a:pt x="1215" y="153"/>
                  </a:lnTo>
                  <a:lnTo>
                    <a:pt x="1210" y="150"/>
                  </a:lnTo>
                  <a:lnTo>
                    <a:pt x="1210" y="145"/>
                  </a:lnTo>
                  <a:lnTo>
                    <a:pt x="1205" y="141"/>
                  </a:lnTo>
                  <a:lnTo>
                    <a:pt x="1205" y="134"/>
                  </a:lnTo>
                  <a:lnTo>
                    <a:pt x="1204" y="128"/>
                  </a:lnTo>
                  <a:lnTo>
                    <a:pt x="1200" y="122"/>
                  </a:lnTo>
                  <a:lnTo>
                    <a:pt x="1197" y="117"/>
                  </a:lnTo>
                  <a:lnTo>
                    <a:pt x="1196" y="114"/>
                  </a:lnTo>
                  <a:lnTo>
                    <a:pt x="1192" y="109"/>
                  </a:lnTo>
                  <a:lnTo>
                    <a:pt x="1189" y="104"/>
                  </a:lnTo>
                  <a:lnTo>
                    <a:pt x="1173" y="103"/>
                  </a:lnTo>
                  <a:lnTo>
                    <a:pt x="1161" y="101"/>
                  </a:lnTo>
                  <a:lnTo>
                    <a:pt x="1153" y="100"/>
                  </a:lnTo>
                  <a:lnTo>
                    <a:pt x="1148" y="98"/>
                  </a:lnTo>
                  <a:lnTo>
                    <a:pt x="1147" y="98"/>
                  </a:lnTo>
                  <a:lnTo>
                    <a:pt x="1147" y="97"/>
                  </a:lnTo>
                  <a:lnTo>
                    <a:pt x="1148" y="97"/>
                  </a:lnTo>
                  <a:lnTo>
                    <a:pt x="1151" y="95"/>
                  </a:lnTo>
                  <a:lnTo>
                    <a:pt x="1155" y="93"/>
                  </a:lnTo>
                  <a:lnTo>
                    <a:pt x="1159" y="92"/>
                  </a:lnTo>
                  <a:lnTo>
                    <a:pt x="1166" y="92"/>
                  </a:lnTo>
                  <a:lnTo>
                    <a:pt x="1169" y="89"/>
                  </a:lnTo>
                  <a:lnTo>
                    <a:pt x="1173" y="87"/>
                  </a:lnTo>
                  <a:lnTo>
                    <a:pt x="1175" y="85"/>
                  </a:lnTo>
                  <a:lnTo>
                    <a:pt x="1175" y="84"/>
                  </a:lnTo>
                  <a:lnTo>
                    <a:pt x="1177" y="84"/>
                  </a:lnTo>
                  <a:lnTo>
                    <a:pt x="1177" y="81"/>
                  </a:lnTo>
                  <a:lnTo>
                    <a:pt x="1175" y="81"/>
                  </a:lnTo>
                  <a:lnTo>
                    <a:pt x="1173" y="79"/>
                  </a:lnTo>
                  <a:lnTo>
                    <a:pt x="1170" y="76"/>
                  </a:lnTo>
                  <a:lnTo>
                    <a:pt x="1167" y="74"/>
                  </a:lnTo>
                  <a:lnTo>
                    <a:pt x="1167" y="62"/>
                  </a:lnTo>
                  <a:lnTo>
                    <a:pt x="1167" y="52"/>
                  </a:lnTo>
                  <a:lnTo>
                    <a:pt x="1167" y="49"/>
                  </a:lnTo>
                  <a:lnTo>
                    <a:pt x="1167" y="46"/>
                  </a:lnTo>
                  <a:lnTo>
                    <a:pt x="1167" y="44"/>
                  </a:lnTo>
                  <a:lnTo>
                    <a:pt x="1169" y="43"/>
                  </a:lnTo>
                  <a:lnTo>
                    <a:pt x="1169" y="41"/>
                  </a:lnTo>
                  <a:lnTo>
                    <a:pt x="1170" y="43"/>
                  </a:lnTo>
                  <a:lnTo>
                    <a:pt x="1172" y="43"/>
                  </a:lnTo>
                  <a:lnTo>
                    <a:pt x="1173" y="46"/>
                  </a:lnTo>
                  <a:lnTo>
                    <a:pt x="1175" y="48"/>
                  </a:lnTo>
                  <a:lnTo>
                    <a:pt x="1181" y="57"/>
                  </a:lnTo>
                  <a:lnTo>
                    <a:pt x="1186" y="67"/>
                  </a:lnTo>
                  <a:lnTo>
                    <a:pt x="1189" y="68"/>
                  </a:lnTo>
                  <a:lnTo>
                    <a:pt x="1191" y="71"/>
                  </a:lnTo>
                  <a:lnTo>
                    <a:pt x="1192" y="71"/>
                  </a:lnTo>
                  <a:lnTo>
                    <a:pt x="1194" y="71"/>
                  </a:lnTo>
                  <a:lnTo>
                    <a:pt x="1196" y="68"/>
                  </a:lnTo>
                  <a:lnTo>
                    <a:pt x="1192" y="65"/>
                  </a:lnTo>
                  <a:lnTo>
                    <a:pt x="1192" y="60"/>
                  </a:lnTo>
                  <a:lnTo>
                    <a:pt x="1191" y="57"/>
                  </a:lnTo>
                  <a:lnTo>
                    <a:pt x="1189" y="54"/>
                  </a:lnTo>
                  <a:lnTo>
                    <a:pt x="1188" y="46"/>
                  </a:lnTo>
                  <a:lnTo>
                    <a:pt x="1185" y="38"/>
                  </a:lnTo>
                  <a:lnTo>
                    <a:pt x="1183" y="35"/>
                  </a:lnTo>
                  <a:lnTo>
                    <a:pt x="1183" y="33"/>
                  </a:lnTo>
                  <a:lnTo>
                    <a:pt x="1180" y="30"/>
                  </a:lnTo>
                  <a:lnTo>
                    <a:pt x="1177" y="27"/>
                  </a:lnTo>
                  <a:lnTo>
                    <a:pt x="1175" y="26"/>
                  </a:lnTo>
                  <a:lnTo>
                    <a:pt x="1170" y="26"/>
                  </a:lnTo>
                  <a:lnTo>
                    <a:pt x="1167" y="24"/>
                  </a:lnTo>
                  <a:lnTo>
                    <a:pt x="1162" y="24"/>
                  </a:lnTo>
                  <a:lnTo>
                    <a:pt x="1159" y="26"/>
                  </a:lnTo>
                  <a:lnTo>
                    <a:pt x="1156" y="26"/>
                  </a:lnTo>
                  <a:lnTo>
                    <a:pt x="1155" y="26"/>
                  </a:lnTo>
                  <a:lnTo>
                    <a:pt x="1151" y="26"/>
                  </a:lnTo>
                  <a:lnTo>
                    <a:pt x="1148" y="26"/>
                  </a:lnTo>
                  <a:lnTo>
                    <a:pt x="1145" y="24"/>
                  </a:lnTo>
                  <a:lnTo>
                    <a:pt x="1142" y="22"/>
                  </a:lnTo>
                  <a:lnTo>
                    <a:pt x="1136" y="19"/>
                  </a:lnTo>
                  <a:lnTo>
                    <a:pt x="1132" y="18"/>
                  </a:lnTo>
                  <a:lnTo>
                    <a:pt x="1125" y="13"/>
                  </a:lnTo>
                  <a:lnTo>
                    <a:pt x="1117" y="8"/>
                  </a:lnTo>
                  <a:lnTo>
                    <a:pt x="1113" y="7"/>
                  </a:lnTo>
                  <a:lnTo>
                    <a:pt x="1110" y="5"/>
                  </a:lnTo>
                  <a:lnTo>
                    <a:pt x="1107" y="3"/>
                  </a:lnTo>
                  <a:lnTo>
                    <a:pt x="1104" y="2"/>
                  </a:lnTo>
                  <a:lnTo>
                    <a:pt x="1093" y="0"/>
                  </a:lnTo>
                  <a:lnTo>
                    <a:pt x="1082" y="0"/>
                  </a:lnTo>
                  <a:lnTo>
                    <a:pt x="1072" y="0"/>
                  </a:lnTo>
                  <a:lnTo>
                    <a:pt x="1063" y="2"/>
                  </a:lnTo>
                  <a:lnTo>
                    <a:pt x="1060" y="2"/>
                  </a:lnTo>
                  <a:lnTo>
                    <a:pt x="1055" y="3"/>
                  </a:lnTo>
                  <a:lnTo>
                    <a:pt x="1052" y="3"/>
                  </a:lnTo>
                  <a:lnTo>
                    <a:pt x="1049" y="5"/>
                  </a:lnTo>
                  <a:lnTo>
                    <a:pt x="1046" y="7"/>
                  </a:lnTo>
                  <a:lnTo>
                    <a:pt x="1042" y="8"/>
                  </a:lnTo>
                  <a:lnTo>
                    <a:pt x="1039" y="10"/>
                  </a:lnTo>
                  <a:lnTo>
                    <a:pt x="1036" y="13"/>
                  </a:lnTo>
                  <a:lnTo>
                    <a:pt x="1034" y="15"/>
                  </a:lnTo>
                  <a:lnTo>
                    <a:pt x="1033" y="18"/>
                  </a:lnTo>
                  <a:lnTo>
                    <a:pt x="1031" y="19"/>
                  </a:lnTo>
                  <a:lnTo>
                    <a:pt x="1028" y="22"/>
                  </a:lnTo>
                  <a:lnTo>
                    <a:pt x="1027" y="26"/>
                  </a:lnTo>
                  <a:lnTo>
                    <a:pt x="1027" y="29"/>
                  </a:lnTo>
                  <a:lnTo>
                    <a:pt x="1023" y="33"/>
                  </a:lnTo>
                  <a:lnTo>
                    <a:pt x="1023" y="35"/>
                  </a:lnTo>
                  <a:lnTo>
                    <a:pt x="1020" y="43"/>
                  </a:lnTo>
                  <a:lnTo>
                    <a:pt x="1020" y="52"/>
                  </a:lnTo>
                  <a:lnTo>
                    <a:pt x="1020" y="60"/>
                  </a:lnTo>
                  <a:lnTo>
                    <a:pt x="1020" y="71"/>
                  </a:lnTo>
                  <a:lnTo>
                    <a:pt x="1020" y="76"/>
                  </a:lnTo>
                  <a:lnTo>
                    <a:pt x="1020" y="79"/>
                  </a:lnTo>
                  <a:lnTo>
                    <a:pt x="1019" y="84"/>
                  </a:lnTo>
                  <a:lnTo>
                    <a:pt x="1019" y="87"/>
                  </a:lnTo>
                  <a:lnTo>
                    <a:pt x="1019" y="89"/>
                  </a:lnTo>
                  <a:lnTo>
                    <a:pt x="1017" y="92"/>
                  </a:lnTo>
                  <a:lnTo>
                    <a:pt x="1016" y="93"/>
                  </a:lnTo>
                  <a:lnTo>
                    <a:pt x="1014" y="97"/>
                  </a:lnTo>
                  <a:lnTo>
                    <a:pt x="1012" y="100"/>
                  </a:lnTo>
                  <a:lnTo>
                    <a:pt x="1011" y="100"/>
                  </a:lnTo>
                  <a:lnTo>
                    <a:pt x="1009" y="101"/>
                  </a:lnTo>
                  <a:lnTo>
                    <a:pt x="1008" y="103"/>
                  </a:lnTo>
                  <a:lnTo>
                    <a:pt x="1003" y="104"/>
                  </a:lnTo>
                  <a:lnTo>
                    <a:pt x="998" y="108"/>
                  </a:lnTo>
                  <a:lnTo>
                    <a:pt x="985" y="108"/>
                  </a:lnTo>
                  <a:lnTo>
                    <a:pt x="974" y="109"/>
                  </a:lnTo>
                  <a:lnTo>
                    <a:pt x="970" y="111"/>
                  </a:lnTo>
                  <a:lnTo>
                    <a:pt x="963" y="112"/>
                  </a:lnTo>
                  <a:lnTo>
                    <a:pt x="957" y="112"/>
                  </a:lnTo>
                  <a:lnTo>
                    <a:pt x="952" y="115"/>
                  </a:lnTo>
                  <a:lnTo>
                    <a:pt x="949" y="119"/>
                  </a:lnTo>
                  <a:lnTo>
                    <a:pt x="948" y="122"/>
                  </a:lnTo>
                  <a:lnTo>
                    <a:pt x="944" y="125"/>
                  </a:lnTo>
                  <a:lnTo>
                    <a:pt x="943" y="130"/>
                  </a:lnTo>
                  <a:lnTo>
                    <a:pt x="940" y="138"/>
                  </a:lnTo>
                  <a:lnTo>
                    <a:pt x="937" y="144"/>
                  </a:lnTo>
                  <a:lnTo>
                    <a:pt x="930" y="156"/>
                  </a:lnTo>
                  <a:lnTo>
                    <a:pt x="924" y="168"/>
                  </a:lnTo>
                  <a:lnTo>
                    <a:pt x="921" y="174"/>
                  </a:lnTo>
                  <a:lnTo>
                    <a:pt x="919" y="179"/>
                  </a:lnTo>
                  <a:lnTo>
                    <a:pt x="916" y="183"/>
                  </a:lnTo>
                  <a:lnTo>
                    <a:pt x="911" y="186"/>
                  </a:lnTo>
                  <a:lnTo>
                    <a:pt x="908" y="191"/>
                  </a:lnTo>
                  <a:lnTo>
                    <a:pt x="905" y="194"/>
                  </a:lnTo>
                  <a:lnTo>
                    <a:pt x="900" y="197"/>
                  </a:lnTo>
                  <a:lnTo>
                    <a:pt x="895" y="199"/>
                  </a:lnTo>
                  <a:lnTo>
                    <a:pt x="891" y="201"/>
                  </a:lnTo>
                  <a:lnTo>
                    <a:pt x="886" y="202"/>
                  </a:lnTo>
                  <a:lnTo>
                    <a:pt x="880" y="202"/>
                  </a:lnTo>
                  <a:lnTo>
                    <a:pt x="875" y="201"/>
                  </a:lnTo>
                  <a:lnTo>
                    <a:pt x="872" y="201"/>
                  </a:lnTo>
                  <a:lnTo>
                    <a:pt x="872" y="202"/>
                  </a:lnTo>
                  <a:lnTo>
                    <a:pt x="870" y="204"/>
                  </a:lnTo>
                  <a:lnTo>
                    <a:pt x="870" y="205"/>
                  </a:lnTo>
                  <a:lnTo>
                    <a:pt x="869" y="209"/>
                  </a:lnTo>
                  <a:lnTo>
                    <a:pt x="867" y="215"/>
                  </a:lnTo>
                  <a:lnTo>
                    <a:pt x="865" y="216"/>
                  </a:lnTo>
                  <a:lnTo>
                    <a:pt x="864" y="220"/>
                  </a:lnTo>
                  <a:lnTo>
                    <a:pt x="862" y="221"/>
                  </a:lnTo>
                  <a:lnTo>
                    <a:pt x="859" y="223"/>
                  </a:lnTo>
                  <a:lnTo>
                    <a:pt x="858" y="224"/>
                  </a:lnTo>
                  <a:lnTo>
                    <a:pt x="854" y="227"/>
                  </a:lnTo>
                  <a:lnTo>
                    <a:pt x="850" y="227"/>
                  </a:lnTo>
                  <a:lnTo>
                    <a:pt x="846" y="227"/>
                  </a:lnTo>
                  <a:lnTo>
                    <a:pt x="846" y="234"/>
                  </a:lnTo>
                  <a:lnTo>
                    <a:pt x="846" y="240"/>
                  </a:lnTo>
                  <a:lnTo>
                    <a:pt x="846" y="245"/>
                  </a:lnTo>
                  <a:lnTo>
                    <a:pt x="845" y="250"/>
                  </a:lnTo>
                  <a:lnTo>
                    <a:pt x="845" y="253"/>
                  </a:lnTo>
                  <a:lnTo>
                    <a:pt x="843" y="256"/>
                  </a:lnTo>
                  <a:lnTo>
                    <a:pt x="842" y="257"/>
                  </a:lnTo>
                  <a:lnTo>
                    <a:pt x="842" y="261"/>
                  </a:lnTo>
                  <a:lnTo>
                    <a:pt x="839" y="262"/>
                  </a:lnTo>
                  <a:lnTo>
                    <a:pt x="839" y="264"/>
                  </a:lnTo>
                  <a:lnTo>
                    <a:pt x="835" y="265"/>
                  </a:lnTo>
                  <a:lnTo>
                    <a:pt x="834" y="265"/>
                  </a:lnTo>
                  <a:lnTo>
                    <a:pt x="829" y="267"/>
                  </a:lnTo>
                  <a:lnTo>
                    <a:pt x="824" y="267"/>
                  </a:lnTo>
                  <a:lnTo>
                    <a:pt x="824" y="275"/>
                  </a:lnTo>
                  <a:lnTo>
                    <a:pt x="823" y="281"/>
                  </a:lnTo>
                  <a:lnTo>
                    <a:pt x="821" y="287"/>
                  </a:lnTo>
                  <a:lnTo>
                    <a:pt x="821" y="294"/>
                  </a:lnTo>
                  <a:lnTo>
                    <a:pt x="820" y="297"/>
                  </a:lnTo>
                  <a:lnTo>
                    <a:pt x="818" y="300"/>
                  </a:lnTo>
                  <a:lnTo>
                    <a:pt x="816" y="303"/>
                  </a:lnTo>
                  <a:lnTo>
                    <a:pt x="813" y="305"/>
                  </a:lnTo>
                  <a:lnTo>
                    <a:pt x="812" y="306"/>
                  </a:lnTo>
                  <a:lnTo>
                    <a:pt x="807" y="308"/>
                  </a:lnTo>
                  <a:lnTo>
                    <a:pt x="804" y="308"/>
                  </a:lnTo>
                  <a:lnTo>
                    <a:pt x="801" y="309"/>
                  </a:lnTo>
                  <a:lnTo>
                    <a:pt x="793" y="311"/>
                  </a:lnTo>
                  <a:lnTo>
                    <a:pt x="783" y="311"/>
                  </a:lnTo>
                  <a:lnTo>
                    <a:pt x="783" y="322"/>
                  </a:lnTo>
                  <a:lnTo>
                    <a:pt x="783" y="335"/>
                  </a:lnTo>
                  <a:lnTo>
                    <a:pt x="785" y="344"/>
                  </a:lnTo>
                  <a:lnTo>
                    <a:pt x="783" y="352"/>
                  </a:lnTo>
                  <a:lnTo>
                    <a:pt x="783" y="362"/>
                  </a:lnTo>
                  <a:lnTo>
                    <a:pt x="783" y="368"/>
                  </a:lnTo>
                  <a:lnTo>
                    <a:pt x="780" y="374"/>
                  </a:lnTo>
                  <a:lnTo>
                    <a:pt x="780" y="380"/>
                  </a:lnTo>
                  <a:lnTo>
                    <a:pt x="777" y="385"/>
                  </a:lnTo>
                  <a:lnTo>
                    <a:pt x="775" y="388"/>
                  </a:lnTo>
                  <a:lnTo>
                    <a:pt x="775" y="391"/>
                  </a:lnTo>
                  <a:lnTo>
                    <a:pt x="772" y="393"/>
                  </a:lnTo>
                  <a:lnTo>
                    <a:pt x="771" y="395"/>
                  </a:lnTo>
                  <a:lnTo>
                    <a:pt x="769" y="396"/>
                  </a:lnTo>
                  <a:lnTo>
                    <a:pt x="767" y="398"/>
                  </a:lnTo>
                  <a:lnTo>
                    <a:pt x="764" y="398"/>
                  </a:lnTo>
                  <a:lnTo>
                    <a:pt x="763" y="398"/>
                  </a:lnTo>
                  <a:lnTo>
                    <a:pt x="753" y="399"/>
                  </a:lnTo>
                  <a:lnTo>
                    <a:pt x="739" y="401"/>
                  </a:lnTo>
                  <a:lnTo>
                    <a:pt x="722" y="404"/>
                  </a:lnTo>
                  <a:lnTo>
                    <a:pt x="703" y="406"/>
                  </a:lnTo>
                  <a:lnTo>
                    <a:pt x="681" y="409"/>
                  </a:lnTo>
                  <a:lnTo>
                    <a:pt x="668" y="410"/>
                  </a:lnTo>
                  <a:lnTo>
                    <a:pt x="655" y="410"/>
                  </a:lnTo>
                  <a:lnTo>
                    <a:pt x="644" y="410"/>
                  </a:lnTo>
                  <a:lnTo>
                    <a:pt x="628" y="412"/>
                  </a:lnTo>
                  <a:lnTo>
                    <a:pt x="632" y="412"/>
                  </a:lnTo>
                  <a:lnTo>
                    <a:pt x="635" y="412"/>
                  </a:lnTo>
                  <a:lnTo>
                    <a:pt x="636" y="412"/>
                  </a:lnTo>
                  <a:lnTo>
                    <a:pt x="636" y="410"/>
                  </a:lnTo>
                  <a:lnTo>
                    <a:pt x="628" y="410"/>
                  </a:lnTo>
                  <a:lnTo>
                    <a:pt x="622" y="410"/>
                  </a:lnTo>
                  <a:lnTo>
                    <a:pt x="614" y="410"/>
                  </a:lnTo>
                  <a:lnTo>
                    <a:pt x="606" y="410"/>
                  </a:lnTo>
                  <a:lnTo>
                    <a:pt x="598" y="409"/>
                  </a:lnTo>
                  <a:lnTo>
                    <a:pt x="592" y="409"/>
                  </a:lnTo>
                  <a:lnTo>
                    <a:pt x="586" y="406"/>
                  </a:lnTo>
                  <a:lnTo>
                    <a:pt x="578" y="406"/>
                  </a:lnTo>
                  <a:lnTo>
                    <a:pt x="572" y="403"/>
                  </a:lnTo>
                  <a:lnTo>
                    <a:pt x="567" y="415"/>
                  </a:lnTo>
                  <a:lnTo>
                    <a:pt x="562" y="429"/>
                  </a:lnTo>
                  <a:lnTo>
                    <a:pt x="560" y="434"/>
                  </a:lnTo>
                  <a:lnTo>
                    <a:pt x="560" y="440"/>
                  </a:lnTo>
                  <a:lnTo>
                    <a:pt x="559" y="447"/>
                  </a:lnTo>
                  <a:lnTo>
                    <a:pt x="557" y="451"/>
                  </a:lnTo>
                  <a:lnTo>
                    <a:pt x="557" y="456"/>
                  </a:lnTo>
                  <a:lnTo>
                    <a:pt x="557" y="459"/>
                  </a:lnTo>
                  <a:lnTo>
                    <a:pt x="559" y="464"/>
                  </a:lnTo>
                  <a:lnTo>
                    <a:pt x="560" y="467"/>
                  </a:lnTo>
                  <a:lnTo>
                    <a:pt x="565" y="474"/>
                  </a:lnTo>
                  <a:lnTo>
                    <a:pt x="570" y="480"/>
                  </a:lnTo>
                  <a:lnTo>
                    <a:pt x="572" y="483"/>
                  </a:lnTo>
                  <a:lnTo>
                    <a:pt x="573" y="486"/>
                  </a:lnTo>
                  <a:lnTo>
                    <a:pt x="575" y="489"/>
                  </a:lnTo>
                  <a:lnTo>
                    <a:pt x="576" y="492"/>
                  </a:lnTo>
                  <a:lnTo>
                    <a:pt x="578" y="497"/>
                  </a:lnTo>
                  <a:lnTo>
                    <a:pt x="578" y="502"/>
                  </a:lnTo>
                  <a:lnTo>
                    <a:pt x="576" y="503"/>
                  </a:lnTo>
                  <a:lnTo>
                    <a:pt x="576" y="505"/>
                  </a:lnTo>
                  <a:lnTo>
                    <a:pt x="573" y="507"/>
                  </a:lnTo>
                  <a:lnTo>
                    <a:pt x="570" y="508"/>
                  </a:lnTo>
                  <a:lnTo>
                    <a:pt x="567" y="508"/>
                  </a:lnTo>
                  <a:lnTo>
                    <a:pt x="565" y="510"/>
                  </a:lnTo>
                  <a:lnTo>
                    <a:pt x="564" y="513"/>
                  </a:lnTo>
                  <a:close/>
                </a:path>
              </a:pathLst>
            </a:custGeom>
            <a:solidFill>
              <a:srgbClr val="0070C0">
                <a:alpha val="10000"/>
              </a:srgbClr>
            </a:solidFill>
            <a:ln w="9525">
              <a:solidFill>
                <a:srgbClr val="FFFFFF">
                  <a:alpha val="0"/>
                </a:srgbClr>
              </a:solidFill>
              <a:round/>
              <a:headEnd/>
              <a:tailEnd/>
            </a:ln>
          </p:spPr>
          <p:txBody>
            <a:bodyPr lIns="91413" tIns="45707" rIns="91413" bIns="45707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372">
                <a:defRPr/>
              </a:pPr>
              <a:endParaRPr lang="ru-RU" sz="1700" dirty="0">
                <a:solidFill>
                  <a:srgbClr val="000000"/>
                </a:solidFill>
                <a:latin typeface="Arial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56" name="Freeform 10">
              <a:extLst>
                <a:ext uri="{FF2B5EF4-FFF2-40B4-BE49-F238E27FC236}">
                  <a16:creationId xmlns:a16="http://schemas.microsoft.com/office/drawing/2014/main" id="{810D7837-1F85-4C66-80F2-B35B7775A918}"/>
                </a:ext>
              </a:extLst>
            </p:cNvPr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 rot="389746">
              <a:off x="5735556" y="5827592"/>
              <a:ext cx="2391961" cy="1813938"/>
            </a:xfrm>
            <a:custGeom>
              <a:avLst/>
              <a:gdLst>
                <a:gd name="T0" fmla="*/ 2147483647 w 869"/>
                <a:gd name="T1" fmla="*/ 2147483647 h 717"/>
                <a:gd name="T2" fmla="*/ 2147483647 w 869"/>
                <a:gd name="T3" fmla="*/ 2147483647 h 717"/>
                <a:gd name="T4" fmla="*/ 2147483647 w 869"/>
                <a:gd name="T5" fmla="*/ 2147483647 h 717"/>
                <a:gd name="T6" fmla="*/ 2147483647 w 869"/>
                <a:gd name="T7" fmla="*/ 2147483647 h 717"/>
                <a:gd name="T8" fmla="*/ 2147483647 w 869"/>
                <a:gd name="T9" fmla="*/ 2147483647 h 717"/>
                <a:gd name="T10" fmla="*/ 2147483647 w 869"/>
                <a:gd name="T11" fmla="*/ 2147483647 h 717"/>
                <a:gd name="T12" fmla="*/ 2147483647 w 869"/>
                <a:gd name="T13" fmla="*/ 2147483647 h 717"/>
                <a:gd name="T14" fmla="*/ 2147483647 w 869"/>
                <a:gd name="T15" fmla="*/ 2147483647 h 717"/>
                <a:gd name="T16" fmla="*/ 2147483647 w 869"/>
                <a:gd name="T17" fmla="*/ 2147483647 h 717"/>
                <a:gd name="T18" fmla="*/ 0 w 869"/>
                <a:gd name="T19" fmla="*/ 2147483647 h 717"/>
                <a:gd name="T20" fmla="*/ 2147483647 w 869"/>
                <a:gd name="T21" fmla="*/ 2147483647 h 717"/>
                <a:gd name="T22" fmla="*/ 2147483647 w 869"/>
                <a:gd name="T23" fmla="*/ 2147483647 h 717"/>
                <a:gd name="T24" fmla="*/ 2147483647 w 869"/>
                <a:gd name="T25" fmla="*/ 2147483647 h 717"/>
                <a:gd name="T26" fmla="*/ 2147483647 w 869"/>
                <a:gd name="T27" fmla="*/ 2147483647 h 717"/>
                <a:gd name="T28" fmla="*/ 2147483647 w 869"/>
                <a:gd name="T29" fmla="*/ 2147483647 h 717"/>
                <a:gd name="T30" fmla="*/ 2147483647 w 869"/>
                <a:gd name="T31" fmla="*/ 2147483647 h 717"/>
                <a:gd name="T32" fmla="*/ 2147483647 w 869"/>
                <a:gd name="T33" fmla="*/ 2147483647 h 717"/>
                <a:gd name="T34" fmla="*/ 2147483647 w 869"/>
                <a:gd name="T35" fmla="*/ 2147483647 h 717"/>
                <a:gd name="T36" fmla="*/ 2147483647 w 869"/>
                <a:gd name="T37" fmla="*/ 2147483647 h 717"/>
                <a:gd name="T38" fmla="*/ 2147483647 w 869"/>
                <a:gd name="T39" fmla="*/ 2147483647 h 717"/>
                <a:gd name="T40" fmla="*/ 2147483647 w 869"/>
                <a:gd name="T41" fmla="*/ 2147483647 h 717"/>
                <a:gd name="T42" fmla="*/ 2147483647 w 869"/>
                <a:gd name="T43" fmla="*/ 2147483647 h 717"/>
                <a:gd name="T44" fmla="*/ 2147483647 w 869"/>
                <a:gd name="T45" fmla="*/ 2147483647 h 717"/>
                <a:gd name="T46" fmla="*/ 2147483647 w 869"/>
                <a:gd name="T47" fmla="*/ 2147483647 h 717"/>
                <a:gd name="T48" fmla="*/ 2147483647 w 869"/>
                <a:gd name="T49" fmla="*/ 2147483647 h 717"/>
                <a:gd name="T50" fmla="*/ 2147483647 w 869"/>
                <a:gd name="T51" fmla="*/ 2147483647 h 717"/>
                <a:gd name="T52" fmla="*/ 2147483647 w 869"/>
                <a:gd name="T53" fmla="*/ 2147483647 h 717"/>
                <a:gd name="T54" fmla="*/ 2147483647 w 869"/>
                <a:gd name="T55" fmla="*/ 2147483647 h 717"/>
                <a:gd name="T56" fmla="*/ 2147483647 w 869"/>
                <a:gd name="T57" fmla="*/ 2147483647 h 717"/>
                <a:gd name="T58" fmla="*/ 2147483647 w 869"/>
                <a:gd name="T59" fmla="*/ 2147483647 h 717"/>
                <a:gd name="T60" fmla="*/ 2147483647 w 869"/>
                <a:gd name="T61" fmla="*/ 2147483647 h 717"/>
                <a:gd name="T62" fmla="*/ 2147483647 w 869"/>
                <a:gd name="T63" fmla="*/ 2147483647 h 717"/>
                <a:gd name="T64" fmla="*/ 2147483647 w 869"/>
                <a:gd name="T65" fmla="*/ 2147483647 h 717"/>
                <a:gd name="T66" fmla="*/ 2147483647 w 869"/>
                <a:gd name="T67" fmla="*/ 2147483647 h 717"/>
                <a:gd name="T68" fmla="*/ 2147483647 w 869"/>
                <a:gd name="T69" fmla="*/ 2147483647 h 717"/>
                <a:gd name="T70" fmla="*/ 2147483647 w 869"/>
                <a:gd name="T71" fmla="*/ 2147483647 h 717"/>
                <a:gd name="T72" fmla="*/ 2147483647 w 869"/>
                <a:gd name="T73" fmla="*/ 2147483647 h 717"/>
                <a:gd name="T74" fmla="*/ 2147483647 w 869"/>
                <a:gd name="T75" fmla="*/ 2147483647 h 717"/>
                <a:gd name="T76" fmla="*/ 2147483647 w 869"/>
                <a:gd name="T77" fmla="*/ 2147483647 h 717"/>
                <a:gd name="T78" fmla="*/ 2147483647 w 869"/>
                <a:gd name="T79" fmla="*/ 2147483647 h 717"/>
                <a:gd name="T80" fmla="*/ 2147483647 w 869"/>
                <a:gd name="T81" fmla="*/ 2147483647 h 717"/>
                <a:gd name="T82" fmla="*/ 2147483647 w 869"/>
                <a:gd name="T83" fmla="*/ 2147483647 h 717"/>
                <a:gd name="T84" fmla="*/ 2147483647 w 869"/>
                <a:gd name="T85" fmla="*/ 2147483647 h 717"/>
                <a:gd name="T86" fmla="*/ 2147483647 w 869"/>
                <a:gd name="T87" fmla="*/ 2147483647 h 717"/>
                <a:gd name="T88" fmla="*/ 2147483647 w 869"/>
                <a:gd name="T89" fmla="*/ 2147483647 h 717"/>
                <a:gd name="T90" fmla="*/ 2147483647 w 869"/>
                <a:gd name="T91" fmla="*/ 2147483647 h 717"/>
                <a:gd name="T92" fmla="*/ 2147483647 w 869"/>
                <a:gd name="T93" fmla="*/ 2147483647 h 717"/>
                <a:gd name="T94" fmla="*/ 2147483647 w 869"/>
                <a:gd name="T95" fmla="*/ 2147483647 h 717"/>
                <a:gd name="T96" fmla="*/ 2147483647 w 869"/>
                <a:gd name="T97" fmla="*/ 2147483647 h 717"/>
                <a:gd name="T98" fmla="*/ 2147483647 w 869"/>
                <a:gd name="T99" fmla="*/ 2147483647 h 717"/>
                <a:gd name="T100" fmla="*/ 2147483647 w 869"/>
                <a:gd name="T101" fmla="*/ 2147483647 h 717"/>
                <a:gd name="T102" fmla="*/ 2147483647 w 869"/>
                <a:gd name="T103" fmla="*/ 2147483647 h 717"/>
                <a:gd name="T104" fmla="*/ 2147483647 w 869"/>
                <a:gd name="T105" fmla="*/ 2147483647 h 717"/>
                <a:gd name="T106" fmla="*/ 2147483647 w 869"/>
                <a:gd name="T107" fmla="*/ 2147483647 h 717"/>
                <a:gd name="T108" fmla="*/ 2147483647 w 869"/>
                <a:gd name="T109" fmla="*/ 2147483647 h 717"/>
                <a:gd name="T110" fmla="*/ 2147483647 w 869"/>
                <a:gd name="T111" fmla="*/ 2147483647 h 717"/>
                <a:gd name="T112" fmla="*/ 2147483647 w 869"/>
                <a:gd name="T113" fmla="*/ 2147483647 h 717"/>
                <a:gd name="T114" fmla="*/ 2147483647 w 869"/>
                <a:gd name="T115" fmla="*/ 2147483647 h 717"/>
                <a:gd name="T116" fmla="*/ 2147483647 w 869"/>
                <a:gd name="T117" fmla="*/ 2147483647 h 717"/>
                <a:gd name="T118" fmla="*/ 2147483647 w 869"/>
                <a:gd name="T119" fmla="*/ 2147483647 h 717"/>
                <a:gd name="T120" fmla="*/ 2147483647 w 869"/>
                <a:gd name="T121" fmla="*/ 2147483647 h 717"/>
                <a:gd name="T122" fmla="*/ 2147483647 w 869"/>
                <a:gd name="T123" fmla="*/ 2147483647 h 717"/>
                <a:gd name="T124" fmla="*/ 2147483647 w 869"/>
                <a:gd name="T125" fmla="*/ 2147483647 h 71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69"/>
                <a:gd name="T190" fmla="*/ 0 h 717"/>
                <a:gd name="T191" fmla="*/ 869 w 869"/>
                <a:gd name="T192" fmla="*/ 717 h 71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69" h="717">
                  <a:moveTo>
                    <a:pt x="484" y="419"/>
                  </a:moveTo>
                  <a:lnTo>
                    <a:pt x="485" y="419"/>
                  </a:lnTo>
                  <a:lnTo>
                    <a:pt x="487" y="421"/>
                  </a:lnTo>
                  <a:lnTo>
                    <a:pt x="485" y="429"/>
                  </a:lnTo>
                  <a:lnTo>
                    <a:pt x="485" y="425"/>
                  </a:lnTo>
                  <a:lnTo>
                    <a:pt x="487" y="421"/>
                  </a:lnTo>
                  <a:lnTo>
                    <a:pt x="484" y="419"/>
                  </a:lnTo>
                  <a:close/>
                  <a:moveTo>
                    <a:pt x="190" y="67"/>
                  </a:moveTo>
                  <a:lnTo>
                    <a:pt x="193" y="71"/>
                  </a:lnTo>
                  <a:lnTo>
                    <a:pt x="190" y="71"/>
                  </a:lnTo>
                  <a:lnTo>
                    <a:pt x="190" y="67"/>
                  </a:lnTo>
                  <a:lnTo>
                    <a:pt x="188" y="67"/>
                  </a:lnTo>
                  <a:lnTo>
                    <a:pt x="187" y="66"/>
                  </a:lnTo>
                  <a:lnTo>
                    <a:pt x="185" y="63"/>
                  </a:lnTo>
                  <a:lnTo>
                    <a:pt x="182" y="61"/>
                  </a:lnTo>
                  <a:lnTo>
                    <a:pt x="177" y="66"/>
                  </a:lnTo>
                  <a:lnTo>
                    <a:pt x="174" y="67"/>
                  </a:lnTo>
                  <a:lnTo>
                    <a:pt x="172" y="71"/>
                  </a:lnTo>
                  <a:lnTo>
                    <a:pt x="169" y="74"/>
                  </a:lnTo>
                  <a:lnTo>
                    <a:pt x="169" y="75"/>
                  </a:lnTo>
                  <a:lnTo>
                    <a:pt x="166" y="75"/>
                  </a:lnTo>
                  <a:lnTo>
                    <a:pt x="161" y="78"/>
                  </a:lnTo>
                  <a:lnTo>
                    <a:pt x="155" y="82"/>
                  </a:lnTo>
                  <a:lnTo>
                    <a:pt x="152" y="82"/>
                  </a:lnTo>
                  <a:lnTo>
                    <a:pt x="152" y="83"/>
                  </a:lnTo>
                  <a:lnTo>
                    <a:pt x="149" y="86"/>
                  </a:lnTo>
                  <a:lnTo>
                    <a:pt x="149" y="88"/>
                  </a:lnTo>
                  <a:lnTo>
                    <a:pt x="145" y="93"/>
                  </a:lnTo>
                  <a:lnTo>
                    <a:pt x="144" y="97"/>
                  </a:lnTo>
                  <a:lnTo>
                    <a:pt x="142" y="101"/>
                  </a:lnTo>
                  <a:lnTo>
                    <a:pt x="141" y="102"/>
                  </a:lnTo>
                  <a:lnTo>
                    <a:pt x="139" y="104"/>
                  </a:lnTo>
                  <a:lnTo>
                    <a:pt x="136" y="105"/>
                  </a:lnTo>
                  <a:lnTo>
                    <a:pt x="133" y="107"/>
                  </a:lnTo>
                  <a:lnTo>
                    <a:pt x="128" y="108"/>
                  </a:lnTo>
                  <a:lnTo>
                    <a:pt x="125" y="108"/>
                  </a:lnTo>
                  <a:lnTo>
                    <a:pt x="120" y="108"/>
                  </a:lnTo>
                  <a:lnTo>
                    <a:pt x="119" y="116"/>
                  </a:lnTo>
                  <a:lnTo>
                    <a:pt x="115" y="123"/>
                  </a:lnTo>
                  <a:lnTo>
                    <a:pt x="114" y="129"/>
                  </a:lnTo>
                  <a:lnTo>
                    <a:pt x="114" y="135"/>
                  </a:lnTo>
                  <a:lnTo>
                    <a:pt x="109" y="145"/>
                  </a:lnTo>
                  <a:lnTo>
                    <a:pt x="106" y="157"/>
                  </a:lnTo>
                  <a:lnTo>
                    <a:pt x="106" y="160"/>
                  </a:lnTo>
                  <a:lnTo>
                    <a:pt x="106" y="165"/>
                  </a:lnTo>
                  <a:lnTo>
                    <a:pt x="108" y="168"/>
                  </a:lnTo>
                  <a:lnTo>
                    <a:pt x="108" y="170"/>
                  </a:lnTo>
                  <a:lnTo>
                    <a:pt x="108" y="173"/>
                  </a:lnTo>
                  <a:lnTo>
                    <a:pt x="109" y="175"/>
                  </a:lnTo>
                  <a:lnTo>
                    <a:pt x="109" y="178"/>
                  </a:lnTo>
                  <a:lnTo>
                    <a:pt x="108" y="183"/>
                  </a:lnTo>
                  <a:lnTo>
                    <a:pt x="104" y="186"/>
                  </a:lnTo>
                  <a:lnTo>
                    <a:pt x="103" y="186"/>
                  </a:lnTo>
                  <a:lnTo>
                    <a:pt x="100" y="186"/>
                  </a:lnTo>
                  <a:lnTo>
                    <a:pt x="95" y="186"/>
                  </a:lnTo>
                  <a:lnTo>
                    <a:pt x="92" y="186"/>
                  </a:lnTo>
                  <a:lnTo>
                    <a:pt x="92" y="189"/>
                  </a:lnTo>
                  <a:lnTo>
                    <a:pt x="93" y="190"/>
                  </a:lnTo>
                  <a:lnTo>
                    <a:pt x="93" y="192"/>
                  </a:lnTo>
                  <a:lnTo>
                    <a:pt x="93" y="194"/>
                  </a:lnTo>
                  <a:lnTo>
                    <a:pt x="97" y="197"/>
                  </a:lnTo>
                  <a:lnTo>
                    <a:pt x="98" y="200"/>
                  </a:lnTo>
                  <a:lnTo>
                    <a:pt x="101" y="203"/>
                  </a:lnTo>
                  <a:lnTo>
                    <a:pt x="104" y="206"/>
                  </a:lnTo>
                  <a:lnTo>
                    <a:pt x="106" y="209"/>
                  </a:lnTo>
                  <a:lnTo>
                    <a:pt x="106" y="211"/>
                  </a:lnTo>
                  <a:lnTo>
                    <a:pt x="106" y="214"/>
                  </a:lnTo>
                  <a:lnTo>
                    <a:pt x="106" y="216"/>
                  </a:lnTo>
                  <a:lnTo>
                    <a:pt x="106" y="219"/>
                  </a:lnTo>
                  <a:lnTo>
                    <a:pt x="104" y="224"/>
                  </a:lnTo>
                  <a:lnTo>
                    <a:pt x="103" y="227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1" y="236"/>
                  </a:lnTo>
                  <a:lnTo>
                    <a:pt x="98" y="236"/>
                  </a:lnTo>
                  <a:lnTo>
                    <a:pt x="98" y="239"/>
                  </a:lnTo>
                  <a:lnTo>
                    <a:pt x="97" y="243"/>
                  </a:lnTo>
                  <a:lnTo>
                    <a:pt x="95" y="243"/>
                  </a:lnTo>
                  <a:lnTo>
                    <a:pt x="95" y="244"/>
                  </a:lnTo>
                  <a:lnTo>
                    <a:pt x="93" y="244"/>
                  </a:lnTo>
                  <a:lnTo>
                    <a:pt x="92" y="246"/>
                  </a:lnTo>
                  <a:lnTo>
                    <a:pt x="87" y="244"/>
                  </a:lnTo>
                  <a:lnTo>
                    <a:pt x="82" y="244"/>
                  </a:lnTo>
                  <a:lnTo>
                    <a:pt x="79" y="243"/>
                  </a:lnTo>
                  <a:lnTo>
                    <a:pt x="76" y="241"/>
                  </a:lnTo>
                  <a:lnTo>
                    <a:pt x="73" y="238"/>
                  </a:lnTo>
                  <a:lnTo>
                    <a:pt x="70" y="235"/>
                  </a:lnTo>
                  <a:lnTo>
                    <a:pt x="68" y="231"/>
                  </a:lnTo>
                  <a:lnTo>
                    <a:pt x="65" y="228"/>
                  </a:lnTo>
                  <a:lnTo>
                    <a:pt x="60" y="224"/>
                  </a:lnTo>
                  <a:lnTo>
                    <a:pt x="54" y="217"/>
                  </a:lnTo>
                  <a:lnTo>
                    <a:pt x="52" y="214"/>
                  </a:lnTo>
                  <a:lnTo>
                    <a:pt x="49" y="214"/>
                  </a:lnTo>
                  <a:lnTo>
                    <a:pt x="46" y="213"/>
                  </a:lnTo>
                  <a:lnTo>
                    <a:pt x="43" y="213"/>
                  </a:lnTo>
                  <a:lnTo>
                    <a:pt x="41" y="213"/>
                  </a:lnTo>
                  <a:lnTo>
                    <a:pt x="40" y="214"/>
                  </a:lnTo>
                  <a:lnTo>
                    <a:pt x="38" y="214"/>
                  </a:lnTo>
                  <a:lnTo>
                    <a:pt x="36" y="217"/>
                  </a:lnTo>
                  <a:lnTo>
                    <a:pt x="36" y="220"/>
                  </a:lnTo>
                  <a:lnTo>
                    <a:pt x="36" y="227"/>
                  </a:lnTo>
                  <a:lnTo>
                    <a:pt x="36" y="231"/>
                  </a:lnTo>
                  <a:lnTo>
                    <a:pt x="36" y="235"/>
                  </a:lnTo>
                  <a:lnTo>
                    <a:pt x="36" y="236"/>
                  </a:lnTo>
                  <a:lnTo>
                    <a:pt x="35" y="236"/>
                  </a:lnTo>
                  <a:lnTo>
                    <a:pt x="33" y="239"/>
                  </a:lnTo>
                  <a:lnTo>
                    <a:pt x="32" y="243"/>
                  </a:lnTo>
                  <a:lnTo>
                    <a:pt x="25" y="247"/>
                  </a:lnTo>
                  <a:lnTo>
                    <a:pt x="19" y="252"/>
                  </a:lnTo>
                  <a:lnTo>
                    <a:pt x="16" y="254"/>
                  </a:lnTo>
                  <a:lnTo>
                    <a:pt x="11" y="255"/>
                  </a:lnTo>
                  <a:lnTo>
                    <a:pt x="8" y="258"/>
                  </a:lnTo>
                  <a:lnTo>
                    <a:pt x="5" y="261"/>
                  </a:lnTo>
                  <a:lnTo>
                    <a:pt x="3" y="265"/>
                  </a:lnTo>
                  <a:lnTo>
                    <a:pt x="2" y="268"/>
                  </a:lnTo>
                  <a:lnTo>
                    <a:pt x="0" y="271"/>
                  </a:lnTo>
                  <a:lnTo>
                    <a:pt x="0" y="272"/>
                  </a:lnTo>
                  <a:lnTo>
                    <a:pt x="0" y="276"/>
                  </a:lnTo>
                  <a:lnTo>
                    <a:pt x="0" y="277"/>
                  </a:lnTo>
                  <a:lnTo>
                    <a:pt x="0" y="282"/>
                  </a:lnTo>
                  <a:lnTo>
                    <a:pt x="0" y="285"/>
                  </a:lnTo>
                  <a:lnTo>
                    <a:pt x="2" y="288"/>
                  </a:lnTo>
                  <a:lnTo>
                    <a:pt x="3" y="290"/>
                  </a:lnTo>
                  <a:lnTo>
                    <a:pt x="5" y="293"/>
                  </a:lnTo>
                  <a:lnTo>
                    <a:pt x="8" y="293"/>
                  </a:lnTo>
                  <a:lnTo>
                    <a:pt x="11" y="293"/>
                  </a:lnTo>
                  <a:lnTo>
                    <a:pt x="14" y="295"/>
                  </a:lnTo>
                  <a:lnTo>
                    <a:pt x="18" y="293"/>
                  </a:lnTo>
                  <a:lnTo>
                    <a:pt x="19" y="293"/>
                  </a:lnTo>
                  <a:lnTo>
                    <a:pt x="21" y="293"/>
                  </a:lnTo>
                  <a:lnTo>
                    <a:pt x="24" y="291"/>
                  </a:lnTo>
                  <a:lnTo>
                    <a:pt x="24" y="290"/>
                  </a:lnTo>
                  <a:lnTo>
                    <a:pt x="25" y="290"/>
                  </a:lnTo>
                  <a:lnTo>
                    <a:pt x="27" y="288"/>
                  </a:lnTo>
                  <a:lnTo>
                    <a:pt x="29" y="287"/>
                  </a:lnTo>
                  <a:lnTo>
                    <a:pt x="33" y="295"/>
                  </a:lnTo>
                  <a:lnTo>
                    <a:pt x="38" y="302"/>
                  </a:lnTo>
                  <a:lnTo>
                    <a:pt x="43" y="310"/>
                  </a:lnTo>
                  <a:lnTo>
                    <a:pt x="46" y="317"/>
                  </a:lnTo>
                  <a:lnTo>
                    <a:pt x="49" y="318"/>
                  </a:lnTo>
                  <a:lnTo>
                    <a:pt x="52" y="318"/>
                  </a:lnTo>
                  <a:lnTo>
                    <a:pt x="54" y="321"/>
                  </a:lnTo>
                  <a:lnTo>
                    <a:pt x="57" y="321"/>
                  </a:lnTo>
                  <a:lnTo>
                    <a:pt x="62" y="323"/>
                  </a:lnTo>
                  <a:lnTo>
                    <a:pt x="68" y="325"/>
                  </a:lnTo>
                  <a:lnTo>
                    <a:pt x="71" y="325"/>
                  </a:lnTo>
                  <a:lnTo>
                    <a:pt x="74" y="326"/>
                  </a:lnTo>
                  <a:lnTo>
                    <a:pt x="76" y="328"/>
                  </a:lnTo>
                  <a:lnTo>
                    <a:pt x="78" y="329"/>
                  </a:lnTo>
                  <a:lnTo>
                    <a:pt x="79" y="331"/>
                  </a:lnTo>
                  <a:lnTo>
                    <a:pt x="81" y="334"/>
                  </a:lnTo>
                  <a:lnTo>
                    <a:pt x="82" y="337"/>
                  </a:lnTo>
                  <a:lnTo>
                    <a:pt x="82" y="342"/>
                  </a:lnTo>
                  <a:lnTo>
                    <a:pt x="82" y="343"/>
                  </a:lnTo>
                  <a:lnTo>
                    <a:pt x="81" y="347"/>
                  </a:lnTo>
                  <a:lnTo>
                    <a:pt x="79" y="351"/>
                  </a:lnTo>
                  <a:lnTo>
                    <a:pt x="78" y="354"/>
                  </a:lnTo>
                  <a:lnTo>
                    <a:pt x="74" y="359"/>
                  </a:lnTo>
                  <a:lnTo>
                    <a:pt x="73" y="364"/>
                  </a:lnTo>
                  <a:lnTo>
                    <a:pt x="76" y="383"/>
                  </a:lnTo>
                  <a:lnTo>
                    <a:pt x="74" y="384"/>
                  </a:lnTo>
                  <a:lnTo>
                    <a:pt x="71" y="388"/>
                  </a:lnTo>
                  <a:lnTo>
                    <a:pt x="70" y="388"/>
                  </a:lnTo>
                  <a:lnTo>
                    <a:pt x="70" y="389"/>
                  </a:lnTo>
                  <a:lnTo>
                    <a:pt x="68" y="389"/>
                  </a:lnTo>
                  <a:lnTo>
                    <a:pt x="66" y="389"/>
                  </a:lnTo>
                  <a:lnTo>
                    <a:pt x="65" y="388"/>
                  </a:lnTo>
                  <a:lnTo>
                    <a:pt x="65" y="386"/>
                  </a:lnTo>
                  <a:lnTo>
                    <a:pt x="62" y="384"/>
                  </a:lnTo>
                  <a:lnTo>
                    <a:pt x="62" y="383"/>
                  </a:lnTo>
                  <a:lnTo>
                    <a:pt x="57" y="384"/>
                  </a:lnTo>
                  <a:lnTo>
                    <a:pt x="54" y="388"/>
                  </a:lnTo>
                  <a:lnTo>
                    <a:pt x="49" y="391"/>
                  </a:lnTo>
                  <a:lnTo>
                    <a:pt x="46" y="396"/>
                  </a:lnTo>
                  <a:lnTo>
                    <a:pt x="43" y="397"/>
                  </a:lnTo>
                  <a:lnTo>
                    <a:pt x="40" y="402"/>
                  </a:lnTo>
                  <a:lnTo>
                    <a:pt x="40" y="403"/>
                  </a:lnTo>
                  <a:lnTo>
                    <a:pt x="38" y="405"/>
                  </a:lnTo>
                  <a:lnTo>
                    <a:pt x="38" y="408"/>
                  </a:lnTo>
                  <a:lnTo>
                    <a:pt x="36" y="410"/>
                  </a:lnTo>
                  <a:lnTo>
                    <a:pt x="38" y="413"/>
                  </a:lnTo>
                  <a:lnTo>
                    <a:pt x="38" y="414"/>
                  </a:lnTo>
                  <a:lnTo>
                    <a:pt x="40" y="418"/>
                  </a:lnTo>
                  <a:lnTo>
                    <a:pt x="41" y="422"/>
                  </a:lnTo>
                  <a:lnTo>
                    <a:pt x="44" y="425"/>
                  </a:lnTo>
                  <a:lnTo>
                    <a:pt x="51" y="430"/>
                  </a:lnTo>
                  <a:lnTo>
                    <a:pt x="57" y="437"/>
                  </a:lnTo>
                  <a:lnTo>
                    <a:pt x="59" y="438"/>
                  </a:lnTo>
                  <a:lnTo>
                    <a:pt x="59" y="440"/>
                  </a:lnTo>
                  <a:lnTo>
                    <a:pt x="59" y="441"/>
                  </a:lnTo>
                  <a:lnTo>
                    <a:pt x="60" y="446"/>
                  </a:lnTo>
                  <a:lnTo>
                    <a:pt x="60" y="449"/>
                  </a:lnTo>
                  <a:lnTo>
                    <a:pt x="59" y="451"/>
                  </a:lnTo>
                  <a:lnTo>
                    <a:pt x="59" y="454"/>
                  </a:lnTo>
                  <a:lnTo>
                    <a:pt x="59" y="457"/>
                  </a:lnTo>
                  <a:lnTo>
                    <a:pt x="59" y="460"/>
                  </a:lnTo>
                  <a:lnTo>
                    <a:pt x="60" y="460"/>
                  </a:lnTo>
                  <a:lnTo>
                    <a:pt x="59" y="462"/>
                  </a:lnTo>
                  <a:lnTo>
                    <a:pt x="57" y="463"/>
                  </a:lnTo>
                  <a:lnTo>
                    <a:pt x="55" y="466"/>
                  </a:lnTo>
                  <a:lnTo>
                    <a:pt x="54" y="470"/>
                  </a:lnTo>
                  <a:lnTo>
                    <a:pt x="52" y="474"/>
                  </a:lnTo>
                  <a:lnTo>
                    <a:pt x="51" y="479"/>
                  </a:lnTo>
                  <a:lnTo>
                    <a:pt x="49" y="482"/>
                  </a:lnTo>
                  <a:lnTo>
                    <a:pt x="46" y="484"/>
                  </a:lnTo>
                  <a:lnTo>
                    <a:pt x="44" y="487"/>
                  </a:lnTo>
                  <a:lnTo>
                    <a:pt x="40" y="489"/>
                  </a:lnTo>
                  <a:lnTo>
                    <a:pt x="38" y="490"/>
                  </a:lnTo>
                  <a:lnTo>
                    <a:pt x="35" y="492"/>
                  </a:lnTo>
                  <a:lnTo>
                    <a:pt x="35" y="493"/>
                  </a:lnTo>
                  <a:lnTo>
                    <a:pt x="33" y="495"/>
                  </a:lnTo>
                  <a:lnTo>
                    <a:pt x="33" y="496"/>
                  </a:lnTo>
                  <a:lnTo>
                    <a:pt x="33" y="498"/>
                  </a:lnTo>
                  <a:lnTo>
                    <a:pt x="33" y="501"/>
                  </a:lnTo>
                  <a:lnTo>
                    <a:pt x="33" y="504"/>
                  </a:lnTo>
                  <a:lnTo>
                    <a:pt x="35" y="506"/>
                  </a:lnTo>
                  <a:lnTo>
                    <a:pt x="36" y="507"/>
                  </a:lnTo>
                  <a:lnTo>
                    <a:pt x="36" y="511"/>
                  </a:lnTo>
                  <a:lnTo>
                    <a:pt x="38" y="511"/>
                  </a:lnTo>
                  <a:lnTo>
                    <a:pt x="40" y="512"/>
                  </a:lnTo>
                  <a:lnTo>
                    <a:pt x="41" y="512"/>
                  </a:lnTo>
                  <a:lnTo>
                    <a:pt x="44" y="514"/>
                  </a:lnTo>
                  <a:lnTo>
                    <a:pt x="49" y="515"/>
                  </a:lnTo>
                  <a:lnTo>
                    <a:pt x="52" y="515"/>
                  </a:lnTo>
                  <a:lnTo>
                    <a:pt x="52" y="517"/>
                  </a:lnTo>
                  <a:lnTo>
                    <a:pt x="54" y="519"/>
                  </a:lnTo>
                  <a:lnTo>
                    <a:pt x="55" y="520"/>
                  </a:lnTo>
                  <a:lnTo>
                    <a:pt x="57" y="523"/>
                  </a:lnTo>
                  <a:lnTo>
                    <a:pt x="57" y="525"/>
                  </a:lnTo>
                  <a:lnTo>
                    <a:pt x="57" y="528"/>
                  </a:lnTo>
                  <a:lnTo>
                    <a:pt x="57" y="533"/>
                  </a:lnTo>
                  <a:lnTo>
                    <a:pt x="57" y="536"/>
                  </a:lnTo>
                  <a:lnTo>
                    <a:pt x="59" y="541"/>
                  </a:lnTo>
                  <a:lnTo>
                    <a:pt x="59" y="544"/>
                  </a:lnTo>
                  <a:lnTo>
                    <a:pt x="59" y="545"/>
                  </a:lnTo>
                  <a:lnTo>
                    <a:pt x="60" y="549"/>
                  </a:lnTo>
                  <a:lnTo>
                    <a:pt x="62" y="549"/>
                  </a:lnTo>
                  <a:lnTo>
                    <a:pt x="63" y="550"/>
                  </a:lnTo>
                  <a:lnTo>
                    <a:pt x="66" y="552"/>
                  </a:lnTo>
                  <a:lnTo>
                    <a:pt x="71" y="553"/>
                  </a:lnTo>
                  <a:lnTo>
                    <a:pt x="78" y="555"/>
                  </a:lnTo>
                  <a:lnTo>
                    <a:pt x="82" y="556"/>
                  </a:lnTo>
                  <a:lnTo>
                    <a:pt x="87" y="558"/>
                  </a:lnTo>
                  <a:lnTo>
                    <a:pt x="92" y="560"/>
                  </a:lnTo>
                  <a:lnTo>
                    <a:pt x="93" y="561"/>
                  </a:lnTo>
                  <a:lnTo>
                    <a:pt x="95" y="561"/>
                  </a:lnTo>
                  <a:lnTo>
                    <a:pt x="95" y="564"/>
                  </a:lnTo>
                  <a:lnTo>
                    <a:pt x="95" y="566"/>
                  </a:lnTo>
                  <a:lnTo>
                    <a:pt x="95" y="571"/>
                  </a:lnTo>
                  <a:lnTo>
                    <a:pt x="95" y="577"/>
                  </a:lnTo>
                  <a:lnTo>
                    <a:pt x="95" y="582"/>
                  </a:lnTo>
                  <a:lnTo>
                    <a:pt x="95" y="586"/>
                  </a:lnTo>
                  <a:lnTo>
                    <a:pt x="95" y="591"/>
                  </a:lnTo>
                  <a:lnTo>
                    <a:pt x="93" y="597"/>
                  </a:lnTo>
                  <a:lnTo>
                    <a:pt x="93" y="601"/>
                  </a:lnTo>
                  <a:lnTo>
                    <a:pt x="95" y="604"/>
                  </a:lnTo>
                  <a:lnTo>
                    <a:pt x="95" y="607"/>
                  </a:lnTo>
                  <a:lnTo>
                    <a:pt x="98" y="610"/>
                  </a:lnTo>
                  <a:lnTo>
                    <a:pt x="98" y="612"/>
                  </a:lnTo>
                  <a:lnTo>
                    <a:pt x="100" y="613"/>
                  </a:lnTo>
                  <a:lnTo>
                    <a:pt x="101" y="615"/>
                  </a:lnTo>
                  <a:lnTo>
                    <a:pt x="103" y="615"/>
                  </a:lnTo>
                  <a:lnTo>
                    <a:pt x="106" y="616"/>
                  </a:lnTo>
                  <a:lnTo>
                    <a:pt x="109" y="618"/>
                  </a:lnTo>
                  <a:lnTo>
                    <a:pt x="112" y="618"/>
                  </a:lnTo>
                  <a:lnTo>
                    <a:pt x="114" y="619"/>
                  </a:lnTo>
                  <a:lnTo>
                    <a:pt x="115" y="621"/>
                  </a:lnTo>
                  <a:lnTo>
                    <a:pt x="115" y="623"/>
                  </a:lnTo>
                  <a:lnTo>
                    <a:pt x="122" y="635"/>
                  </a:lnTo>
                  <a:lnTo>
                    <a:pt x="128" y="648"/>
                  </a:lnTo>
                  <a:lnTo>
                    <a:pt x="133" y="659"/>
                  </a:lnTo>
                  <a:lnTo>
                    <a:pt x="136" y="662"/>
                  </a:lnTo>
                  <a:lnTo>
                    <a:pt x="136" y="664"/>
                  </a:lnTo>
                  <a:lnTo>
                    <a:pt x="136" y="667"/>
                  </a:lnTo>
                  <a:lnTo>
                    <a:pt x="138" y="672"/>
                  </a:lnTo>
                  <a:lnTo>
                    <a:pt x="139" y="678"/>
                  </a:lnTo>
                  <a:lnTo>
                    <a:pt x="141" y="684"/>
                  </a:lnTo>
                  <a:lnTo>
                    <a:pt x="144" y="692"/>
                  </a:lnTo>
                  <a:lnTo>
                    <a:pt x="145" y="697"/>
                  </a:lnTo>
                  <a:lnTo>
                    <a:pt x="147" y="702"/>
                  </a:lnTo>
                  <a:lnTo>
                    <a:pt x="149" y="705"/>
                  </a:lnTo>
                  <a:lnTo>
                    <a:pt x="149" y="703"/>
                  </a:lnTo>
                  <a:lnTo>
                    <a:pt x="150" y="702"/>
                  </a:lnTo>
                  <a:lnTo>
                    <a:pt x="150" y="700"/>
                  </a:lnTo>
                  <a:lnTo>
                    <a:pt x="152" y="700"/>
                  </a:lnTo>
                  <a:lnTo>
                    <a:pt x="153" y="698"/>
                  </a:lnTo>
                  <a:lnTo>
                    <a:pt x="155" y="698"/>
                  </a:lnTo>
                  <a:lnTo>
                    <a:pt x="158" y="700"/>
                  </a:lnTo>
                  <a:lnTo>
                    <a:pt x="161" y="700"/>
                  </a:lnTo>
                  <a:lnTo>
                    <a:pt x="164" y="702"/>
                  </a:lnTo>
                  <a:lnTo>
                    <a:pt x="166" y="702"/>
                  </a:lnTo>
                  <a:lnTo>
                    <a:pt x="171" y="705"/>
                  </a:lnTo>
                  <a:lnTo>
                    <a:pt x="174" y="709"/>
                  </a:lnTo>
                  <a:lnTo>
                    <a:pt x="179" y="713"/>
                  </a:lnTo>
                  <a:lnTo>
                    <a:pt x="183" y="714"/>
                  </a:lnTo>
                  <a:lnTo>
                    <a:pt x="185" y="717"/>
                  </a:lnTo>
                  <a:lnTo>
                    <a:pt x="190" y="717"/>
                  </a:lnTo>
                  <a:lnTo>
                    <a:pt x="193" y="717"/>
                  </a:lnTo>
                  <a:lnTo>
                    <a:pt x="196" y="717"/>
                  </a:lnTo>
                  <a:lnTo>
                    <a:pt x="201" y="717"/>
                  </a:lnTo>
                  <a:lnTo>
                    <a:pt x="202" y="717"/>
                  </a:lnTo>
                  <a:lnTo>
                    <a:pt x="207" y="717"/>
                  </a:lnTo>
                  <a:lnTo>
                    <a:pt x="210" y="716"/>
                  </a:lnTo>
                  <a:lnTo>
                    <a:pt x="213" y="714"/>
                  </a:lnTo>
                  <a:lnTo>
                    <a:pt x="215" y="714"/>
                  </a:lnTo>
                  <a:lnTo>
                    <a:pt x="218" y="713"/>
                  </a:lnTo>
                  <a:lnTo>
                    <a:pt x="221" y="713"/>
                  </a:lnTo>
                  <a:lnTo>
                    <a:pt x="226" y="713"/>
                  </a:lnTo>
                  <a:lnTo>
                    <a:pt x="228" y="714"/>
                  </a:lnTo>
                  <a:lnTo>
                    <a:pt x="231" y="716"/>
                  </a:lnTo>
                  <a:lnTo>
                    <a:pt x="231" y="717"/>
                  </a:lnTo>
                  <a:lnTo>
                    <a:pt x="232" y="713"/>
                  </a:lnTo>
                  <a:lnTo>
                    <a:pt x="234" y="709"/>
                  </a:lnTo>
                  <a:lnTo>
                    <a:pt x="234" y="706"/>
                  </a:lnTo>
                  <a:lnTo>
                    <a:pt x="236" y="703"/>
                  </a:lnTo>
                  <a:lnTo>
                    <a:pt x="240" y="697"/>
                  </a:lnTo>
                  <a:lnTo>
                    <a:pt x="245" y="690"/>
                  </a:lnTo>
                  <a:lnTo>
                    <a:pt x="250" y="684"/>
                  </a:lnTo>
                  <a:lnTo>
                    <a:pt x="255" y="676"/>
                  </a:lnTo>
                  <a:lnTo>
                    <a:pt x="258" y="673"/>
                  </a:lnTo>
                  <a:lnTo>
                    <a:pt x="259" y="670"/>
                  </a:lnTo>
                  <a:lnTo>
                    <a:pt x="261" y="665"/>
                  </a:lnTo>
                  <a:lnTo>
                    <a:pt x="262" y="662"/>
                  </a:lnTo>
                  <a:lnTo>
                    <a:pt x="275" y="662"/>
                  </a:lnTo>
                  <a:lnTo>
                    <a:pt x="283" y="662"/>
                  </a:lnTo>
                  <a:lnTo>
                    <a:pt x="292" y="662"/>
                  </a:lnTo>
                  <a:lnTo>
                    <a:pt x="300" y="662"/>
                  </a:lnTo>
                  <a:lnTo>
                    <a:pt x="302" y="662"/>
                  </a:lnTo>
                  <a:lnTo>
                    <a:pt x="305" y="664"/>
                  </a:lnTo>
                  <a:lnTo>
                    <a:pt x="307" y="664"/>
                  </a:lnTo>
                  <a:lnTo>
                    <a:pt x="308" y="665"/>
                  </a:lnTo>
                  <a:lnTo>
                    <a:pt x="313" y="668"/>
                  </a:lnTo>
                  <a:lnTo>
                    <a:pt x="316" y="673"/>
                  </a:lnTo>
                  <a:lnTo>
                    <a:pt x="321" y="678"/>
                  </a:lnTo>
                  <a:lnTo>
                    <a:pt x="326" y="683"/>
                  </a:lnTo>
                  <a:lnTo>
                    <a:pt x="329" y="684"/>
                  </a:lnTo>
                  <a:lnTo>
                    <a:pt x="330" y="686"/>
                  </a:lnTo>
                  <a:lnTo>
                    <a:pt x="334" y="687"/>
                  </a:lnTo>
                  <a:lnTo>
                    <a:pt x="337" y="689"/>
                  </a:lnTo>
                  <a:lnTo>
                    <a:pt x="338" y="686"/>
                  </a:lnTo>
                  <a:lnTo>
                    <a:pt x="340" y="681"/>
                  </a:lnTo>
                  <a:lnTo>
                    <a:pt x="340" y="678"/>
                  </a:lnTo>
                  <a:lnTo>
                    <a:pt x="341" y="673"/>
                  </a:lnTo>
                  <a:lnTo>
                    <a:pt x="341" y="672"/>
                  </a:lnTo>
                  <a:lnTo>
                    <a:pt x="343" y="667"/>
                  </a:lnTo>
                  <a:lnTo>
                    <a:pt x="343" y="665"/>
                  </a:lnTo>
                  <a:lnTo>
                    <a:pt x="343" y="664"/>
                  </a:lnTo>
                  <a:lnTo>
                    <a:pt x="343" y="659"/>
                  </a:lnTo>
                  <a:lnTo>
                    <a:pt x="343" y="653"/>
                  </a:lnTo>
                  <a:lnTo>
                    <a:pt x="343" y="651"/>
                  </a:lnTo>
                  <a:lnTo>
                    <a:pt x="376" y="627"/>
                  </a:lnTo>
                  <a:lnTo>
                    <a:pt x="382" y="626"/>
                  </a:lnTo>
                  <a:lnTo>
                    <a:pt x="387" y="624"/>
                  </a:lnTo>
                  <a:lnTo>
                    <a:pt x="389" y="624"/>
                  </a:lnTo>
                  <a:lnTo>
                    <a:pt x="390" y="623"/>
                  </a:lnTo>
                  <a:lnTo>
                    <a:pt x="394" y="623"/>
                  </a:lnTo>
                  <a:lnTo>
                    <a:pt x="397" y="623"/>
                  </a:lnTo>
                  <a:lnTo>
                    <a:pt x="397" y="621"/>
                  </a:lnTo>
                  <a:lnTo>
                    <a:pt x="398" y="619"/>
                  </a:lnTo>
                  <a:lnTo>
                    <a:pt x="400" y="618"/>
                  </a:lnTo>
                  <a:lnTo>
                    <a:pt x="403" y="616"/>
                  </a:lnTo>
                  <a:lnTo>
                    <a:pt x="408" y="613"/>
                  </a:lnTo>
                  <a:lnTo>
                    <a:pt x="411" y="610"/>
                  </a:lnTo>
                  <a:lnTo>
                    <a:pt x="412" y="608"/>
                  </a:lnTo>
                  <a:lnTo>
                    <a:pt x="416" y="607"/>
                  </a:lnTo>
                  <a:lnTo>
                    <a:pt x="417" y="604"/>
                  </a:lnTo>
                  <a:lnTo>
                    <a:pt x="419" y="602"/>
                  </a:lnTo>
                  <a:lnTo>
                    <a:pt x="420" y="599"/>
                  </a:lnTo>
                  <a:lnTo>
                    <a:pt x="422" y="597"/>
                  </a:lnTo>
                  <a:lnTo>
                    <a:pt x="422" y="594"/>
                  </a:lnTo>
                  <a:lnTo>
                    <a:pt x="422" y="591"/>
                  </a:lnTo>
                  <a:lnTo>
                    <a:pt x="422" y="574"/>
                  </a:lnTo>
                  <a:lnTo>
                    <a:pt x="422" y="560"/>
                  </a:lnTo>
                  <a:lnTo>
                    <a:pt x="422" y="545"/>
                  </a:lnTo>
                  <a:lnTo>
                    <a:pt x="422" y="531"/>
                  </a:lnTo>
                  <a:lnTo>
                    <a:pt x="422" y="528"/>
                  </a:lnTo>
                  <a:lnTo>
                    <a:pt x="424" y="525"/>
                  </a:lnTo>
                  <a:lnTo>
                    <a:pt x="425" y="522"/>
                  </a:lnTo>
                  <a:lnTo>
                    <a:pt x="425" y="520"/>
                  </a:lnTo>
                  <a:lnTo>
                    <a:pt x="428" y="517"/>
                  </a:lnTo>
                  <a:lnTo>
                    <a:pt x="430" y="515"/>
                  </a:lnTo>
                  <a:lnTo>
                    <a:pt x="435" y="512"/>
                  </a:lnTo>
                  <a:lnTo>
                    <a:pt x="438" y="511"/>
                  </a:lnTo>
                  <a:lnTo>
                    <a:pt x="436" y="511"/>
                  </a:lnTo>
                  <a:lnTo>
                    <a:pt x="444" y="507"/>
                  </a:lnTo>
                  <a:lnTo>
                    <a:pt x="454" y="503"/>
                  </a:lnTo>
                  <a:lnTo>
                    <a:pt x="463" y="498"/>
                  </a:lnTo>
                  <a:lnTo>
                    <a:pt x="473" y="492"/>
                  </a:lnTo>
                  <a:lnTo>
                    <a:pt x="477" y="490"/>
                  </a:lnTo>
                  <a:lnTo>
                    <a:pt x="482" y="487"/>
                  </a:lnTo>
                  <a:lnTo>
                    <a:pt x="485" y="484"/>
                  </a:lnTo>
                  <a:lnTo>
                    <a:pt x="490" y="479"/>
                  </a:lnTo>
                  <a:lnTo>
                    <a:pt x="491" y="476"/>
                  </a:lnTo>
                  <a:lnTo>
                    <a:pt x="493" y="471"/>
                  </a:lnTo>
                  <a:lnTo>
                    <a:pt x="493" y="470"/>
                  </a:lnTo>
                  <a:lnTo>
                    <a:pt x="495" y="466"/>
                  </a:lnTo>
                  <a:lnTo>
                    <a:pt x="495" y="463"/>
                  </a:lnTo>
                  <a:lnTo>
                    <a:pt x="495" y="462"/>
                  </a:lnTo>
                  <a:lnTo>
                    <a:pt x="495" y="459"/>
                  </a:lnTo>
                  <a:lnTo>
                    <a:pt x="496" y="457"/>
                  </a:lnTo>
                  <a:lnTo>
                    <a:pt x="498" y="455"/>
                  </a:lnTo>
                  <a:lnTo>
                    <a:pt x="499" y="454"/>
                  </a:lnTo>
                  <a:lnTo>
                    <a:pt x="499" y="446"/>
                  </a:lnTo>
                  <a:lnTo>
                    <a:pt x="496" y="444"/>
                  </a:lnTo>
                  <a:lnTo>
                    <a:pt x="493" y="443"/>
                  </a:lnTo>
                  <a:lnTo>
                    <a:pt x="490" y="443"/>
                  </a:lnTo>
                  <a:lnTo>
                    <a:pt x="488" y="441"/>
                  </a:lnTo>
                  <a:lnTo>
                    <a:pt x="487" y="440"/>
                  </a:lnTo>
                  <a:lnTo>
                    <a:pt x="485" y="437"/>
                  </a:lnTo>
                  <a:lnTo>
                    <a:pt x="485" y="433"/>
                  </a:lnTo>
                  <a:lnTo>
                    <a:pt x="485" y="429"/>
                  </a:lnTo>
                  <a:lnTo>
                    <a:pt x="487" y="421"/>
                  </a:lnTo>
                  <a:lnTo>
                    <a:pt x="487" y="418"/>
                  </a:lnTo>
                  <a:lnTo>
                    <a:pt x="490" y="416"/>
                  </a:lnTo>
                  <a:lnTo>
                    <a:pt x="491" y="413"/>
                  </a:lnTo>
                  <a:lnTo>
                    <a:pt x="493" y="411"/>
                  </a:lnTo>
                  <a:lnTo>
                    <a:pt x="496" y="410"/>
                  </a:lnTo>
                  <a:lnTo>
                    <a:pt x="499" y="408"/>
                  </a:lnTo>
                  <a:lnTo>
                    <a:pt x="506" y="405"/>
                  </a:lnTo>
                  <a:lnTo>
                    <a:pt x="512" y="403"/>
                  </a:lnTo>
                  <a:lnTo>
                    <a:pt x="520" y="402"/>
                  </a:lnTo>
                  <a:lnTo>
                    <a:pt x="529" y="400"/>
                  </a:lnTo>
                  <a:lnTo>
                    <a:pt x="537" y="399"/>
                  </a:lnTo>
                  <a:lnTo>
                    <a:pt x="545" y="397"/>
                  </a:lnTo>
                  <a:lnTo>
                    <a:pt x="550" y="396"/>
                  </a:lnTo>
                  <a:lnTo>
                    <a:pt x="553" y="396"/>
                  </a:lnTo>
                  <a:lnTo>
                    <a:pt x="556" y="392"/>
                  </a:lnTo>
                  <a:lnTo>
                    <a:pt x="559" y="391"/>
                  </a:lnTo>
                  <a:lnTo>
                    <a:pt x="564" y="389"/>
                  </a:lnTo>
                  <a:lnTo>
                    <a:pt x="566" y="388"/>
                  </a:lnTo>
                  <a:lnTo>
                    <a:pt x="569" y="384"/>
                  </a:lnTo>
                  <a:lnTo>
                    <a:pt x="572" y="383"/>
                  </a:lnTo>
                  <a:lnTo>
                    <a:pt x="574" y="378"/>
                  </a:lnTo>
                  <a:lnTo>
                    <a:pt x="575" y="375"/>
                  </a:lnTo>
                  <a:lnTo>
                    <a:pt x="577" y="372"/>
                  </a:lnTo>
                  <a:lnTo>
                    <a:pt x="577" y="367"/>
                  </a:lnTo>
                  <a:lnTo>
                    <a:pt x="575" y="367"/>
                  </a:lnTo>
                  <a:lnTo>
                    <a:pt x="577" y="367"/>
                  </a:lnTo>
                  <a:lnTo>
                    <a:pt x="578" y="367"/>
                  </a:lnTo>
                  <a:lnTo>
                    <a:pt x="580" y="366"/>
                  </a:lnTo>
                  <a:lnTo>
                    <a:pt x="582" y="366"/>
                  </a:lnTo>
                  <a:lnTo>
                    <a:pt x="585" y="364"/>
                  </a:lnTo>
                  <a:lnTo>
                    <a:pt x="586" y="362"/>
                  </a:lnTo>
                  <a:lnTo>
                    <a:pt x="589" y="359"/>
                  </a:lnTo>
                  <a:lnTo>
                    <a:pt x="593" y="356"/>
                  </a:lnTo>
                  <a:lnTo>
                    <a:pt x="594" y="354"/>
                  </a:lnTo>
                  <a:lnTo>
                    <a:pt x="594" y="353"/>
                  </a:lnTo>
                  <a:lnTo>
                    <a:pt x="596" y="351"/>
                  </a:lnTo>
                  <a:lnTo>
                    <a:pt x="597" y="351"/>
                  </a:lnTo>
                  <a:lnTo>
                    <a:pt x="599" y="351"/>
                  </a:lnTo>
                  <a:lnTo>
                    <a:pt x="601" y="351"/>
                  </a:lnTo>
                  <a:lnTo>
                    <a:pt x="602" y="351"/>
                  </a:lnTo>
                  <a:lnTo>
                    <a:pt x="602" y="353"/>
                  </a:lnTo>
                  <a:lnTo>
                    <a:pt x="604" y="354"/>
                  </a:lnTo>
                  <a:lnTo>
                    <a:pt x="605" y="356"/>
                  </a:lnTo>
                  <a:lnTo>
                    <a:pt x="607" y="358"/>
                  </a:lnTo>
                  <a:lnTo>
                    <a:pt x="610" y="361"/>
                  </a:lnTo>
                  <a:lnTo>
                    <a:pt x="610" y="362"/>
                  </a:lnTo>
                  <a:lnTo>
                    <a:pt x="612" y="364"/>
                  </a:lnTo>
                  <a:lnTo>
                    <a:pt x="613" y="364"/>
                  </a:lnTo>
                  <a:lnTo>
                    <a:pt x="615" y="364"/>
                  </a:lnTo>
                  <a:lnTo>
                    <a:pt x="621" y="364"/>
                  </a:lnTo>
                  <a:lnTo>
                    <a:pt x="626" y="362"/>
                  </a:lnTo>
                  <a:lnTo>
                    <a:pt x="627" y="362"/>
                  </a:lnTo>
                  <a:lnTo>
                    <a:pt x="629" y="362"/>
                  </a:lnTo>
                  <a:lnTo>
                    <a:pt x="631" y="361"/>
                  </a:lnTo>
                  <a:lnTo>
                    <a:pt x="634" y="359"/>
                  </a:lnTo>
                  <a:lnTo>
                    <a:pt x="634" y="356"/>
                  </a:lnTo>
                  <a:lnTo>
                    <a:pt x="635" y="356"/>
                  </a:lnTo>
                  <a:lnTo>
                    <a:pt x="635" y="353"/>
                  </a:lnTo>
                  <a:lnTo>
                    <a:pt x="637" y="351"/>
                  </a:lnTo>
                  <a:lnTo>
                    <a:pt x="638" y="347"/>
                  </a:lnTo>
                  <a:lnTo>
                    <a:pt x="638" y="340"/>
                  </a:lnTo>
                  <a:lnTo>
                    <a:pt x="659" y="340"/>
                  </a:lnTo>
                  <a:lnTo>
                    <a:pt x="661" y="340"/>
                  </a:lnTo>
                  <a:lnTo>
                    <a:pt x="662" y="340"/>
                  </a:lnTo>
                  <a:lnTo>
                    <a:pt x="664" y="342"/>
                  </a:lnTo>
                  <a:lnTo>
                    <a:pt x="667" y="342"/>
                  </a:lnTo>
                  <a:lnTo>
                    <a:pt x="668" y="342"/>
                  </a:lnTo>
                  <a:lnTo>
                    <a:pt x="672" y="342"/>
                  </a:lnTo>
                  <a:lnTo>
                    <a:pt x="680" y="343"/>
                  </a:lnTo>
                  <a:lnTo>
                    <a:pt x="684" y="343"/>
                  </a:lnTo>
                  <a:lnTo>
                    <a:pt x="691" y="343"/>
                  </a:lnTo>
                  <a:lnTo>
                    <a:pt x="694" y="343"/>
                  </a:lnTo>
                  <a:lnTo>
                    <a:pt x="697" y="343"/>
                  </a:lnTo>
                  <a:lnTo>
                    <a:pt x="700" y="343"/>
                  </a:lnTo>
                  <a:lnTo>
                    <a:pt x="702" y="342"/>
                  </a:lnTo>
                  <a:lnTo>
                    <a:pt x="705" y="339"/>
                  </a:lnTo>
                  <a:lnTo>
                    <a:pt x="710" y="336"/>
                  </a:lnTo>
                  <a:lnTo>
                    <a:pt x="713" y="331"/>
                  </a:lnTo>
                  <a:lnTo>
                    <a:pt x="717" y="329"/>
                  </a:lnTo>
                  <a:lnTo>
                    <a:pt x="719" y="328"/>
                  </a:lnTo>
                  <a:lnTo>
                    <a:pt x="721" y="326"/>
                  </a:lnTo>
                  <a:lnTo>
                    <a:pt x="722" y="326"/>
                  </a:lnTo>
                  <a:lnTo>
                    <a:pt x="724" y="326"/>
                  </a:lnTo>
                  <a:lnTo>
                    <a:pt x="727" y="326"/>
                  </a:lnTo>
                  <a:lnTo>
                    <a:pt x="730" y="326"/>
                  </a:lnTo>
                  <a:lnTo>
                    <a:pt x="730" y="328"/>
                  </a:lnTo>
                  <a:lnTo>
                    <a:pt x="733" y="329"/>
                  </a:lnTo>
                  <a:lnTo>
                    <a:pt x="733" y="331"/>
                  </a:lnTo>
                  <a:lnTo>
                    <a:pt x="735" y="332"/>
                  </a:lnTo>
                  <a:lnTo>
                    <a:pt x="735" y="334"/>
                  </a:lnTo>
                  <a:lnTo>
                    <a:pt x="735" y="336"/>
                  </a:lnTo>
                  <a:lnTo>
                    <a:pt x="736" y="342"/>
                  </a:lnTo>
                  <a:lnTo>
                    <a:pt x="738" y="343"/>
                  </a:lnTo>
                  <a:lnTo>
                    <a:pt x="738" y="347"/>
                  </a:lnTo>
                  <a:lnTo>
                    <a:pt x="738" y="348"/>
                  </a:lnTo>
                  <a:lnTo>
                    <a:pt x="741" y="350"/>
                  </a:lnTo>
                  <a:lnTo>
                    <a:pt x="744" y="351"/>
                  </a:lnTo>
                  <a:lnTo>
                    <a:pt x="747" y="353"/>
                  </a:lnTo>
                  <a:lnTo>
                    <a:pt x="751" y="354"/>
                  </a:lnTo>
                  <a:lnTo>
                    <a:pt x="755" y="354"/>
                  </a:lnTo>
                  <a:lnTo>
                    <a:pt x="763" y="356"/>
                  </a:lnTo>
                  <a:lnTo>
                    <a:pt x="771" y="358"/>
                  </a:lnTo>
                  <a:lnTo>
                    <a:pt x="773" y="356"/>
                  </a:lnTo>
                  <a:lnTo>
                    <a:pt x="774" y="354"/>
                  </a:lnTo>
                  <a:lnTo>
                    <a:pt x="777" y="351"/>
                  </a:lnTo>
                  <a:lnTo>
                    <a:pt x="782" y="350"/>
                  </a:lnTo>
                  <a:lnTo>
                    <a:pt x="782" y="348"/>
                  </a:lnTo>
                  <a:lnTo>
                    <a:pt x="784" y="347"/>
                  </a:lnTo>
                  <a:lnTo>
                    <a:pt x="785" y="343"/>
                  </a:lnTo>
                  <a:lnTo>
                    <a:pt x="787" y="342"/>
                  </a:lnTo>
                  <a:lnTo>
                    <a:pt x="789" y="339"/>
                  </a:lnTo>
                  <a:lnTo>
                    <a:pt x="789" y="337"/>
                  </a:lnTo>
                  <a:lnTo>
                    <a:pt x="792" y="336"/>
                  </a:lnTo>
                  <a:lnTo>
                    <a:pt x="795" y="336"/>
                  </a:lnTo>
                  <a:lnTo>
                    <a:pt x="807" y="336"/>
                  </a:lnTo>
                  <a:lnTo>
                    <a:pt x="828" y="337"/>
                  </a:lnTo>
                  <a:lnTo>
                    <a:pt x="833" y="337"/>
                  </a:lnTo>
                  <a:lnTo>
                    <a:pt x="836" y="336"/>
                  </a:lnTo>
                  <a:lnTo>
                    <a:pt x="841" y="336"/>
                  </a:lnTo>
                  <a:lnTo>
                    <a:pt x="844" y="334"/>
                  </a:lnTo>
                  <a:lnTo>
                    <a:pt x="845" y="334"/>
                  </a:lnTo>
                  <a:lnTo>
                    <a:pt x="849" y="332"/>
                  </a:lnTo>
                  <a:lnTo>
                    <a:pt x="850" y="331"/>
                  </a:lnTo>
                  <a:lnTo>
                    <a:pt x="850" y="329"/>
                  </a:lnTo>
                  <a:lnTo>
                    <a:pt x="852" y="328"/>
                  </a:lnTo>
                  <a:lnTo>
                    <a:pt x="852" y="326"/>
                  </a:lnTo>
                  <a:lnTo>
                    <a:pt x="853" y="323"/>
                  </a:lnTo>
                  <a:lnTo>
                    <a:pt x="853" y="318"/>
                  </a:lnTo>
                  <a:lnTo>
                    <a:pt x="853" y="312"/>
                  </a:lnTo>
                  <a:lnTo>
                    <a:pt x="853" y="306"/>
                  </a:lnTo>
                  <a:lnTo>
                    <a:pt x="855" y="301"/>
                  </a:lnTo>
                  <a:lnTo>
                    <a:pt x="856" y="291"/>
                  </a:lnTo>
                  <a:lnTo>
                    <a:pt x="858" y="282"/>
                  </a:lnTo>
                  <a:lnTo>
                    <a:pt x="861" y="272"/>
                  </a:lnTo>
                  <a:lnTo>
                    <a:pt x="864" y="263"/>
                  </a:lnTo>
                  <a:lnTo>
                    <a:pt x="866" y="258"/>
                  </a:lnTo>
                  <a:lnTo>
                    <a:pt x="868" y="254"/>
                  </a:lnTo>
                  <a:lnTo>
                    <a:pt x="869" y="247"/>
                  </a:lnTo>
                  <a:lnTo>
                    <a:pt x="869" y="241"/>
                  </a:lnTo>
                  <a:lnTo>
                    <a:pt x="868" y="244"/>
                  </a:lnTo>
                  <a:lnTo>
                    <a:pt x="863" y="250"/>
                  </a:lnTo>
                  <a:lnTo>
                    <a:pt x="858" y="255"/>
                  </a:lnTo>
                  <a:lnTo>
                    <a:pt x="853" y="260"/>
                  </a:lnTo>
                  <a:lnTo>
                    <a:pt x="847" y="265"/>
                  </a:lnTo>
                  <a:lnTo>
                    <a:pt x="841" y="269"/>
                  </a:lnTo>
                  <a:lnTo>
                    <a:pt x="836" y="272"/>
                  </a:lnTo>
                  <a:lnTo>
                    <a:pt x="833" y="274"/>
                  </a:lnTo>
                  <a:lnTo>
                    <a:pt x="830" y="276"/>
                  </a:lnTo>
                  <a:lnTo>
                    <a:pt x="828" y="276"/>
                  </a:lnTo>
                  <a:lnTo>
                    <a:pt x="825" y="277"/>
                  </a:lnTo>
                  <a:lnTo>
                    <a:pt x="820" y="277"/>
                  </a:lnTo>
                  <a:lnTo>
                    <a:pt x="815" y="277"/>
                  </a:lnTo>
                  <a:lnTo>
                    <a:pt x="811" y="277"/>
                  </a:lnTo>
                  <a:lnTo>
                    <a:pt x="806" y="277"/>
                  </a:lnTo>
                  <a:lnTo>
                    <a:pt x="803" y="277"/>
                  </a:lnTo>
                  <a:lnTo>
                    <a:pt x="796" y="276"/>
                  </a:lnTo>
                  <a:lnTo>
                    <a:pt x="792" y="272"/>
                  </a:lnTo>
                  <a:lnTo>
                    <a:pt x="789" y="271"/>
                  </a:lnTo>
                  <a:lnTo>
                    <a:pt x="784" y="269"/>
                  </a:lnTo>
                  <a:lnTo>
                    <a:pt x="781" y="266"/>
                  </a:lnTo>
                  <a:lnTo>
                    <a:pt x="776" y="265"/>
                  </a:lnTo>
                  <a:lnTo>
                    <a:pt x="774" y="261"/>
                  </a:lnTo>
                  <a:lnTo>
                    <a:pt x="771" y="258"/>
                  </a:lnTo>
                  <a:lnTo>
                    <a:pt x="768" y="255"/>
                  </a:lnTo>
                  <a:lnTo>
                    <a:pt x="766" y="252"/>
                  </a:lnTo>
                  <a:lnTo>
                    <a:pt x="763" y="249"/>
                  </a:lnTo>
                  <a:lnTo>
                    <a:pt x="755" y="243"/>
                  </a:lnTo>
                  <a:lnTo>
                    <a:pt x="747" y="236"/>
                  </a:lnTo>
                  <a:lnTo>
                    <a:pt x="741" y="230"/>
                  </a:lnTo>
                  <a:lnTo>
                    <a:pt x="733" y="225"/>
                  </a:lnTo>
                  <a:lnTo>
                    <a:pt x="725" y="219"/>
                  </a:lnTo>
                  <a:lnTo>
                    <a:pt x="717" y="214"/>
                  </a:lnTo>
                  <a:lnTo>
                    <a:pt x="714" y="211"/>
                  </a:lnTo>
                  <a:lnTo>
                    <a:pt x="711" y="206"/>
                  </a:lnTo>
                  <a:lnTo>
                    <a:pt x="708" y="203"/>
                  </a:lnTo>
                  <a:lnTo>
                    <a:pt x="705" y="198"/>
                  </a:lnTo>
                  <a:lnTo>
                    <a:pt x="702" y="195"/>
                  </a:lnTo>
                  <a:lnTo>
                    <a:pt x="702" y="194"/>
                  </a:lnTo>
                  <a:lnTo>
                    <a:pt x="700" y="190"/>
                  </a:lnTo>
                  <a:lnTo>
                    <a:pt x="700" y="187"/>
                  </a:lnTo>
                  <a:lnTo>
                    <a:pt x="700" y="184"/>
                  </a:lnTo>
                  <a:lnTo>
                    <a:pt x="698" y="181"/>
                  </a:lnTo>
                  <a:lnTo>
                    <a:pt x="697" y="178"/>
                  </a:lnTo>
                  <a:lnTo>
                    <a:pt x="694" y="175"/>
                  </a:lnTo>
                  <a:lnTo>
                    <a:pt x="692" y="178"/>
                  </a:lnTo>
                  <a:lnTo>
                    <a:pt x="692" y="181"/>
                  </a:lnTo>
                  <a:lnTo>
                    <a:pt x="689" y="183"/>
                  </a:lnTo>
                  <a:lnTo>
                    <a:pt x="689" y="186"/>
                  </a:lnTo>
                  <a:lnTo>
                    <a:pt x="687" y="187"/>
                  </a:lnTo>
                  <a:lnTo>
                    <a:pt x="686" y="189"/>
                  </a:lnTo>
                  <a:lnTo>
                    <a:pt x="684" y="190"/>
                  </a:lnTo>
                  <a:lnTo>
                    <a:pt x="683" y="190"/>
                  </a:lnTo>
                  <a:lnTo>
                    <a:pt x="681" y="190"/>
                  </a:lnTo>
                  <a:lnTo>
                    <a:pt x="678" y="190"/>
                  </a:lnTo>
                  <a:lnTo>
                    <a:pt x="673" y="189"/>
                  </a:lnTo>
                  <a:lnTo>
                    <a:pt x="672" y="189"/>
                  </a:lnTo>
                  <a:lnTo>
                    <a:pt x="668" y="186"/>
                  </a:lnTo>
                  <a:lnTo>
                    <a:pt x="665" y="184"/>
                  </a:lnTo>
                  <a:lnTo>
                    <a:pt x="661" y="183"/>
                  </a:lnTo>
                  <a:lnTo>
                    <a:pt x="659" y="183"/>
                  </a:lnTo>
                  <a:lnTo>
                    <a:pt x="656" y="181"/>
                  </a:lnTo>
                  <a:lnTo>
                    <a:pt x="653" y="181"/>
                  </a:lnTo>
                  <a:lnTo>
                    <a:pt x="651" y="183"/>
                  </a:lnTo>
                  <a:lnTo>
                    <a:pt x="648" y="183"/>
                  </a:lnTo>
                  <a:lnTo>
                    <a:pt x="646" y="183"/>
                  </a:lnTo>
                  <a:lnTo>
                    <a:pt x="643" y="186"/>
                  </a:lnTo>
                  <a:lnTo>
                    <a:pt x="640" y="187"/>
                  </a:lnTo>
                  <a:lnTo>
                    <a:pt x="638" y="189"/>
                  </a:lnTo>
                  <a:lnTo>
                    <a:pt x="634" y="190"/>
                  </a:lnTo>
                  <a:lnTo>
                    <a:pt x="632" y="190"/>
                  </a:lnTo>
                  <a:lnTo>
                    <a:pt x="631" y="192"/>
                  </a:lnTo>
                  <a:lnTo>
                    <a:pt x="627" y="192"/>
                  </a:lnTo>
                  <a:lnTo>
                    <a:pt x="626" y="194"/>
                  </a:lnTo>
                  <a:lnTo>
                    <a:pt x="624" y="195"/>
                  </a:lnTo>
                  <a:lnTo>
                    <a:pt x="618" y="192"/>
                  </a:lnTo>
                  <a:lnTo>
                    <a:pt x="616" y="192"/>
                  </a:lnTo>
                  <a:lnTo>
                    <a:pt x="615" y="190"/>
                  </a:lnTo>
                  <a:lnTo>
                    <a:pt x="613" y="189"/>
                  </a:lnTo>
                  <a:lnTo>
                    <a:pt x="610" y="186"/>
                  </a:lnTo>
                  <a:lnTo>
                    <a:pt x="608" y="184"/>
                  </a:lnTo>
                  <a:lnTo>
                    <a:pt x="607" y="183"/>
                  </a:lnTo>
                  <a:lnTo>
                    <a:pt x="605" y="176"/>
                  </a:lnTo>
                  <a:lnTo>
                    <a:pt x="602" y="170"/>
                  </a:lnTo>
                  <a:lnTo>
                    <a:pt x="601" y="164"/>
                  </a:lnTo>
                  <a:lnTo>
                    <a:pt x="599" y="157"/>
                  </a:lnTo>
                  <a:lnTo>
                    <a:pt x="597" y="151"/>
                  </a:lnTo>
                  <a:lnTo>
                    <a:pt x="597" y="145"/>
                  </a:lnTo>
                  <a:lnTo>
                    <a:pt x="594" y="138"/>
                  </a:lnTo>
                  <a:lnTo>
                    <a:pt x="593" y="134"/>
                  </a:lnTo>
                  <a:lnTo>
                    <a:pt x="591" y="131"/>
                  </a:lnTo>
                  <a:lnTo>
                    <a:pt x="589" y="129"/>
                  </a:lnTo>
                  <a:lnTo>
                    <a:pt x="588" y="127"/>
                  </a:lnTo>
                  <a:lnTo>
                    <a:pt x="586" y="124"/>
                  </a:lnTo>
                  <a:lnTo>
                    <a:pt x="585" y="124"/>
                  </a:lnTo>
                  <a:lnTo>
                    <a:pt x="582" y="123"/>
                  </a:lnTo>
                  <a:lnTo>
                    <a:pt x="578" y="121"/>
                  </a:lnTo>
                  <a:lnTo>
                    <a:pt x="577" y="121"/>
                  </a:lnTo>
                  <a:lnTo>
                    <a:pt x="574" y="121"/>
                  </a:lnTo>
                  <a:lnTo>
                    <a:pt x="574" y="123"/>
                  </a:lnTo>
                  <a:lnTo>
                    <a:pt x="572" y="124"/>
                  </a:lnTo>
                  <a:lnTo>
                    <a:pt x="572" y="126"/>
                  </a:lnTo>
                  <a:lnTo>
                    <a:pt x="570" y="127"/>
                  </a:lnTo>
                  <a:lnTo>
                    <a:pt x="569" y="129"/>
                  </a:lnTo>
                  <a:lnTo>
                    <a:pt x="566" y="129"/>
                  </a:lnTo>
                  <a:lnTo>
                    <a:pt x="564" y="129"/>
                  </a:lnTo>
                  <a:lnTo>
                    <a:pt x="561" y="127"/>
                  </a:lnTo>
                  <a:lnTo>
                    <a:pt x="559" y="126"/>
                  </a:lnTo>
                  <a:lnTo>
                    <a:pt x="556" y="123"/>
                  </a:lnTo>
                  <a:lnTo>
                    <a:pt x="553" y="119"/>
                  </a:lnTo>
                  <a:lnTo>
                    <a:pt x="548" y="115"/>
                  </a:lnTo>
                  <a:lnTo>
                    <a:pt x="545" y="112"/>
                  </a:lnTo>
                  <a:lnTo>
                    <a:pt x="544" y="112"/>
                  </a:lnTo>
                  <a:lnTo>
                    <a:pt x="542" y="110"/>
                  </a:lnTo>
                  <a:lnTo>
                    <a:pt x="539" y="108"/>
                  </a:lnTo>
                  <a:lnTo>
                    <a:pt x="536" y="108"/>
                  </a:lnTo>
                  <a:lnTo>
                    <a:pt x="533" y="108"/>
                  </a:lnTo>
                  <a:lnTo>
                    <a:pt x="528" y="110"/>
                  </a:lnTo>
                  <a:lnTo>
                    <a:pt x="526" y="110"/>
                  </a:lnTo>
                  <a:lnTo>
                    <a:pt x="525" y="110"/>
                  </a:lnTo>
                  <a:lnTo>
                    <a:pt x="523" y="108"/>
                  </a:lnTo>
                  <a:lnTo>
                    <a:pt x="522" y="107"/>
                  </a:lnTo>
                  <a:lnTo>
                    <a:pt x="520" y="105"/>
                  </a:lnTo>
                  <a:lnTo>
                    <a:pt x="520" y="99"/>
                  </a:lnTo>
                  <a:lnTo>
                    <a:pt x="520" y="94"/>
                  </a:lnTo>
                  <a:lnTo>
                    <a:pt x="520" y="83"/>
                  </a:lnTo>
                  <a:lnTo>
                    <a:pt x="520" y="82"/>
                  </a:lnTo>
                  <a:lnTo>
                    <a:pt x="518" y="78"/>
                  </a:lnTo>
                  <a:lnTo>
                    <a:pt x="518" y="77"/>
                  </a:lnTo>
                  <a:lnTo>
                    <a:pt x="517" y="75"/>
                  </a:lnTo>
                  <a:lnTo>
                    <a:pt x="517" y="74"/>
                  </a:lnTo>
                  <a:lnTo>
                    <a:pt x="515" y="74"/>
                  </a:lnTo>
                  <a:lnTo>
                    <a:pt x="512" y="72"/>
                  </a:lnTo>
                  <a:lnTo>
                    <a:pt x="510" y="72"/>
                  </a:lnTo>
                  <a:lnTo>
                    <a:pt x="507" y="72"/>
                  </a:lnTo>
                  <a:lnTo>
                    <a:pt x="506" y="74"/>
                  </a:lnTo>
                  <a:lnTo>
                    <a:pt x="503" y="75"/>
                  </a:lnTo>
                  <a:lnTo>
                    <a:pt x="501" y="75"/>
                  </a:lnTo>
                  <a:lnTo>
                    <a:pt x="498" y="78"/>
                  </a:lnTo>
                  <a:lnTo>
                    <a:pt x="496" y="80"/>
                  </a:lnTo>
                  <a:lnTo>
                    <a:pt x="493" y="82"/>
                  </a:lnTo>
                  <a:lnTo>
                    <a:pt x="490" y="82"/>
                  </a:lnTo>
                  <a:lnTo>
                    <a:pt x="488" y="82"/>
                  </a:lnTo>
                  <a:lnTo>
                    <a:pt x="487" y="80"/>
                  </a:lnTo>
                  <a:lnTo>
                    <a:pt x="485" y="78"/>
                  </a:lnTo>
                  <a:lnTo>
                    <a:pt x="485" y="77"/>
                  </a:lnTo>
                  <a:lnTo>
                    <a:pt x="485" y="75"/>
                  </a:lnTo>
                  <a:lnTo>
                    <a:pt x="485" y="74"/>
                  </a:lnTo>
                  <a:lnTo>
                    <a:pt x="485" y="72"/>
                  </a:lnTo>
                  <a:lnTo>
                    <a:pt x="482" y="67"/>
                  </a:lnTo>
                  <a:lnTo>
                    <a:pt x="479" y="67"/>
                  </a:lnTo>
                  <a:lnTo>
                    <a:pt x="477" y="67"/>
                  </a:lnTo>
                  <a:lnTo>
                    <a:pt x="474" y="67"/>
                  </a:lnTo>
                  <a:lnTo>
                    <a:pt x="473" y="66"/>
                  </a:lnTo>
                  <a:lnTo>
                    <a:pt x="469" y="63"/>
                  </a:lnTo>
                  <a:lnTo>
                    <a:pt x="465" y="61"/>
                  </a:lnTo>
                  <a:lnTo>
                    <a:pt x="461" y="58"/>
                  </a:lnTo>
                  <a:lnTo>
                    <a:pt x="457" y="55"/>
                  </a:lnTo>
                  <a:lnTo>
                    <a:pt x="454" y="53"/>
                  </a:lnTo>
                  <a:lnTo>
                    <a:pt x="452" y="53"/>
                  </a:lnTo>
                  <a:lnTo>
                    <a:pt x="450" y="53"/>
                  </a:lnTo>
                  <a:lnTo>
                    <a:pt x="446" y="55"/>
                  </a:lnTo>
                  <a:lnTo>
                    <a:pt x="441" y="58"/>
                  </a:lnTo>
                  <a:lnTo>
                    <a:pt x="439" y="58"/>
                  </a:lnTo>
                  <a:lnTo>
                    <a:pt x="438" y="58"/>
                  </a:lnTo>
                  <a:lnTo>
                    <a:pt x="436" y="56"/>
                  </a:lnTo>
                  <a:lnTo>
                    <a:pt x="435" y="55"/>
                  </a:lnTo>
                  <a:lnTo>
                    <a:pt x="433" y="53"/>
                  </a:lnTo>
                  <a:lnTo>
                    <a:pt x="431" y="50"/>
                  </a:lnTo>
                  <a:lnTo>
                    <a:pt x="430" y="48"/>
                  </a:lnTo>
                  <a:lnTo>
                    <a:pt x="430" y="45"/>
                  </a:lnTo>
                  <a:lnTo>
                    <a:pt x="427" y="47"/>
                  </a:lnTo>
                  <a:lnTo>
                    <a:pt x="424" y="48"/>
                  </a:lnTo>
                  <a:lnTo>
                    <a:pt x="422" y="50"/>
                  </a:lnTo>
                  <a:lnTo>
                    <a:pt x="420" y="50"/>
                  </a:lnTo>
                  <a:lnTo>
                    <a:pt x="419" y="52"/>
                  </a:lnTo>
                  <a:lnTo>
                    <a:pt x="417" y="52"/>
                  </a:lnTo>
                  <a:lnTo>
                    <a:pt x="416" y="52"/>
                  </a:lnTo>
                  <a:lnTo>
                    <a:pt x="414" y="50"/>
                  </a:lnTo>
                  <a:lnTo>
                    <a:pt x="412" y="48"/>
                  </a:lnTo>
                  <a:lnTo>
                    <a:pt x="411" y="47"/>
                  </a:lnTo>
                  <a:lnTo>
                    <a:pt x="411" y="42"/>
                  </a:lnTo>
                  <a:lnTo>
                    <a:pt x="408" y="37"/>
                  </a:lnTo>
                  <a:lnTo>
                    <a:pt x="408" y="34"/>
                  </a:lnTo>
                  <a:lnTo>
                    <a:pt x="406" y="33"/>
                  </a:lnTo>
                  <a:lnTo>
                    <a:pt x="405" y="30"/>
                  </a:lnTo>
                  <a:lnTo>
                    <a:pt x="403" y="28"/>
                  </a:lnTo>
                  <a:lnTo>
                    <a:pt x="401" y="26"/>
                  </a:lnTo>
                  <a:lnTo>
                    <a:pt x="398" y="25"/>
                  </a:lnTo>
                  <a:lnTo>
                    <a:pt x="395" y="23"/>
                  </a:lnTo>
                  <a:lnTo>
                    <a:pt x="392" y="23"/>
                  </a:lnTo>
                  <a:lnTo>
                    <a:pt x="389" y="23"/>
                  </a:lnTo>
                  <a:lnTo>
                    <a:pt x="386" y="25"/>
                  </a:lnTo>
                  <a:lnTo>
                    <a:pt x="384" y="25"/>
                  </a:lnTo>
                  <a:lnTo>
                    <a:pt x="381" y="26"/>
                  </a:lnTo>
                  <a:lnTo>
                    <a:pt x="375" y="30"/>
                  </a:lnTo>
                  <a:lnTo>
                    <a:pt x="370" y="33"/>
                  </a:lnTo>
                  <a:lnTo>
                    <a:pt x="364" y="36"/>
                  </a:lnTo>
                  <a:lnTo>
                    <a:pt x="356" y="39"/>
                  </a:lnTo>
                  <a:lnTo>
                    <a:pt x="354" y="41"/>
                  </a:lnTo>
                  <a:lnTo>
                    <a:pt x="351" y="42"/>
                  </a:lnTo>
                  <a:lnTo>
                    <a:pt x="346" y="42"/>
                  </a:lnTo>
                  <a:lnTo>
                    <a:pt x="343" y="42"/>
                  </a:lnTo>
                  <a:lnTo>
                    <a:pt x="340" y="42"/>
                  </a:lnTo>
                  <a:lnTo>
                    <a:pt x="338" y="41"/>
                  </a:lnTo>
                  <a:lnTo>
                    <a:pt x="337" y="39"/>
                  </a:lnTo>
                  <a:lnTo>
                    <a:pt x="334" y="37"/>
                  </a:lnTo>
                  <a:lnTo>
                    <a:pt x="334" y="34"/>
                  </a:lnTo>
                  <a:lnTo>
                    <a:pt x="330" y="33"/>
                  </a:lnTo>
                  <a:lnTo>
                    <a:pt x="329" y="30"/>
                  </a:lnTo>
                  <a:lnTo>
                    <a:pt x="326" y="30"/>
                  </a:lnTo>
                  <a:lnTo>
                    <a:pt x="321" y="28"/>
                  </a:lnTo>
                  <a:lnTo>
                    <a:pt x="318" y="26"/>
                  </a:lnTo>
                  <a:lnTo>
                    <a:pt x="313" y="25"/>
                  </a:lnTo>
                  <a:lnTo>
                    <a:pt x="310" y="25"/>
                  </a:lnTo>
                  <a:lnTo>
                    <a:pt x="303" y="25"/>
                  </a:lnTo>
                  <a:lnTo>
                    <a:pt x="297" y="23"/>
                  </a:lnTo>
                  <a:lnTo>
                    <a:pt x="289" y="23"/>
                  </a:lnTo>
                  <a:lnTo>
                    <a:pt x="283" y="22"/>
                  </a:lnTo>
                  <a:lnTo>
                    <a:pt x="275" y="20"/>
                  </a:lnTo>
                  <a:lnTo>
                    <a:pt x="264" y="17"/>
                  </a:lnTo>
                  <a:lnTo>
                    <a:pt x="262" y="17"/>
                  </a:lnTo>
                  <a:lnTo>
                    <a:pt x="261" y="15"/>
                  </a:lnTo>
                  <a:lnTo>
                    <a:pt x="259" y="14"/>
                  </a:lnTo>
                  <a:lnTo>
                    <a:pt x="259" y="12"/>
                  </a:lnTo>
                  <a:lnTo>
                    <a:pt x="256" y="9"/>
                  </a:lnTo>
                  <a:lnTo>
                    <a:pt x="256" y="7"/>
                  </a:lnTo>
                  <a:lnTo>
                    <a:pt x="255" y="4"/>
                  </a:lnTo>
                  <a:lnTo>
                    <a:pt x="251" y="4"/>
                  </a:lnTo>
                  <a:lnTo>
                    <a:pt x="251" y="3"/>
                  </a:lnTo>
                  <a:lnTo>
                    <a:pt x="248" y="1"/>
                  </a:lnTo>
                  <a:lnTo>
                    <a:pt x="247" y="1"/>
                  </a:lnTo>
                  <a:lnTo>
                    <a:pt x="243" y="0"/>
                  </a:lnTo>
                  <a:lnTo>
                    <a:pt x="242" y="1"/>
                  </a:lnTo>
                  <a:lnTo>
                    <a:pt x="239" y="1"/>
                  </a:lnTo>
                  <a:lnTo>
                    <a:pt x="236" y="1"/>
                  </a:lnTo>
                  <a:lnTo>
                    <a:pt x="234" y="9"/>
                  </a:lnTo>
                  <a:lnTo>
                    <a:pt x="232" y="17"/>
                  </a:lnTo>
                  <a:lnTo>
                    <a:pt x="231" y="23"/>
                  </a:lnTo>
                  <a:lnTo>
                    <a:pt x="231" y="30"/>
                  </a:lnTo>
                  <a:lnTo>
                    <a:pt x="231" y="33"/>
                  </a:lnTo>
                  <a:lnTo>
                    <a:pt x="231" y="34"/>
                  </a:lnTo>
                  <a:lnTo>
                    <a:pt x="231" y="37"/>
                  </a:lnTo>
                  <a:lnTo>
                    <a:pt x="231" y="42"/>
                  </a:lnTo>
                  <a:lnTo>
                    <a:pt x="231" y="44"/>
                  </a:lnTo>
                  <a:lnTo>
                    <a:pt x="229" y="45"/>
                  </a:lnTo>
                  <a:lnTo>
                    <a:pt x="228" y="48"/>
                  </a:lnTo>
                  <a:lnTo>
                    <a:pt x="226" y="50"/>
                  </a:lnTo>
                  <a:lnTo>
                    <a:pt x="221" y="55"/>
                  </a:lnTo>
                  <a:lnTo>
                    <a:pt x="215" y="61"/>
                  </a:lnTo>
                  <a:lnTo>
                    <a:pt x="210" y="64"/>
                  </a:lnTo>
                  <a:lnTo>
                    <a:pt x="204" y="69"/>
                  </a:lnTo>
                  <a:lnTo>
                    <a:pt x="201" y="71"/>
                  </a:lnTo>
                  <a:lnTo>
                    <a:pt x="196" y="71"/>
                  </a:lnTo>
                  <a:lnTo>
                    <a:pt x="190" y="67"/>
                  </a:lnTo>
                  <a:close/>
                </a:path>
              </a:pathLst>
            </a:custGeom>
            <a:solidFill>
              <a:srgbClr val="0070C0">
                <a:alpha val="10000"/>
              </a:srgbClr>
            </a:solidFill>
            <a:ln w="9525">
              <a:solidFill>
                <a:srgbClr val="FFFFFF">
                  <a:alpha val="0"/>
                </a:srgbClr>
              </a:solidFill>
              <a:round/>
              <a:headEnd/>
              <a:tailEnd/>
            </a:ln>
          </p:spPr>
          <p:txBody>
            <a:bodyPr lIns="91413" tIns="45707" rIns="91413" bIns="45707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372">
                <a:defRPr/>
              </a:pPr>
              <a:endParaRPr lang="ru-RU" sz="1700" dirty="0">
                <a:solidFill>
                  <a:srgbClr val="C7E0FB"/>
                </a:solidFill>
                <a:latin typeface="Arial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57" name="Freeform 4">
              <a:extLst>
                <a:ext uri="{FF2B5EF4-FFF2-40B4-BE49-F238E27FC236}">
                  <a16:creationId xmlns:a16="http://schemas.microsoft.com/office/drawing/2014/main" id="{ADCD3862-2560-4E27-B9B8-20E5009D6C68}"/>
                </a:ext>
              </a:extLst>
            </p:cNvPr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 rot="389746">
              <a:off x="10050918" y="3975866"/>
              <a:ext cx="6042084" cy="6513441"/>
            </a:xfrm>
            <a:custGeom>
              <a:avLst/>
              <a:gdLst>
                <a:gd name="T0" fmla="*/ 2147483647 w 2198"/>
                <a:gd name="T1" fmla="*/ 2147483647 h 2583"/>
                <a:gd name="T2" fmla="*/ 2147483647 w 2198"/>
                <a:gd name="T3" fmla="*/ 2147483647 h 2583"/>
                <a:gd name="T4" fmla="*/ 2147483647 w 2198"/>
                <a:gd name="T5" fmla="*/ 2147483647 h 2583"/>
                <a:gd name="T6" fmla="*/ 2147483647 w 2198"/>
                <a:gd name="T7" fmla="*/ 2147483647 h 2583"/>
                <a:gd name="T8" fmla="*/ 2147483647 w 2198"/>
                <a:gd name="T9" fmla="*/ 2147483647 h 2583"/>
                <a:gd name="T10" fmla="*/ 2147483647 w 2198"/>
                <a:gd name="T11" fmla="*/ 2147483647 h 2583"/>
                <a:gd name="T12" fmla="*/ 2147483647 w 2198"/>
                <a:gd name="T13" fmla="*/ 2147483647 h 2583"/>
                <a:gd name="T14" fmla="*/ 2147483647 w 2198"/>
                <a:gd name="T15" fmla="*/ 2147483647 h 2583"/>
                <a:gd name="T16" fmla="*/ 2147483647 w 2198"/>
                <a:gd name="T17" fmla="*/ 2147483647 h 2583"/>
                <a:gd name="T18" fmla="*/ 2147483647 w 2198"/>
                <a:gd name="T19" fmla="*/ 2147483647 h 2583"/>
                <a:gd name="T20" fmla="*/ 2147483647 w 2198"/>
                <a:gd name="T21" fmla="*/ 2147483647 h 2583"/>
                <a:gd name="T22" fmla="*/ 2147483647 w 2198"/>
                <a:gd name="T23" fmla="*/ 2147483647 h 2583"/>
                <a:gd name="T24" fmla="*/ 2147483647 w 2198"/>
                <a:gd name="T25" fmla="*/ 2147483647 h 2583"/>
                <a:gd name="T26" fmla="*/ 2147483647 w 2198"/>
                <a:gd name="T27" fmla="*/ 2147483647 h 2583"/>
                <a:gd name="T28" fmla="*/ 2147483647 w 2198"/>
                <a:gd name="T29" fmla="*/ 2147483647 h 2583"/>
                <a:gd name="T30" fmla="*/ 2147483647 w 2198"/>
                <a:gd name="T31" fmla="*/ 2147483647 h 2583"/>
                <a:gd name="T32" fmla="*/ 2147483647 w 2198"/>
                <a:gd name="T33" fmla="*/ 2147483647 h 2583"/>
                <a:gd name="T34" fmla="*/ 2147483647 w 2198"/>
                <a:gd name="T35" fmla="*/ 2147483647 h 2583"/>
                <a:gd name="T36" fmla="*/ 2147483647 w 2198"/>
                <a:gd name="T37" fmla="*/ 2147483647 h 2583"/>
                <a:gd name="T38" fmla="*/ 2147483647 w 2198"/>
                <a:gd name="T39" fmla="*/ 2147483647 h 2583"/>
                <a:gd name="T40" fmla="*/ 2147483647 w 2198"/>
                <a:gd name="T41" fmla="*/ 2147483647 h 2583"/>
                <a:gd name="T42" fmla="*/ 2147483647 w 2198"/>
                <a:gd name="T43" fmla="*/ 2147483647 h 2583"/>
                <a:gd name="T44" fmla="*/ 2147483647 w 2198"/>
                <a:gd name="T45" fmla="*/ 2147483647 h 2583"/>
                <a:gd name="T46" fmla="*/ 2147483647 w 2198"/>
                <a:gd name="T47" fmla="*/ 2147483647 h 2583"/>
                <a:gd name="T48" fmla="*/ 2147483647 w 2198"/>
                <a:gd name="T49" fmla="*/ 2147483647 h 2583"/>
                <a:gd name="T50" fmla="*/ 2147483647 w 2198"/>
                <a:gd name="T51" fmla="*/ 2147483647 h 2583"/>
                <a:gd name="T52" fmla="*/ 2147483647 w 2198"/>
                <a:gd name="T53" fmla="*/ 2147483647 h 2583"/>
                <a:gd name="T54" fmla="*/ 2147483647 w 2198"/>
                <a:gd name="T55" fmla="*/ 2147483647 h 2583"/>
                <a:gd name="T56" fmla="*/ 2147483647 w 2198"/>
                <a:gd name="T57" fmla="*/ 2147483647 h 2583"/>
                <a:gd name="T58" fmla="*/ 2147483647 w 2198"/>
                <a:gd name="T59" fmla="*/ 2147483647 h 2583"/>
                <a:gd name="T60" fmla="*/ 2147483647 w 2198"/>
                <a:gd name="T61" fmla="*/ 2147483647 h 2583"/>
                <a:gd name="T62" fmla="*/ 2147483647 w 2198"/>
                <a:gd name="T63" fmla="*/ 2147483647 h 2583"/>
                <a:gd name="T64" fmla="*/ 2147483647 w 2198"/>
                <a:gd name="T65" fmla="*/ 2147483647 h 2583"/>
                <a:gd name="T66" fmla="*/ 2147483647 w 2198"/>
                <a:gd name="T67" fmla="*/ 2147483647 h 2583"/>
                <a:gd name="T68" fmla="*/ 2147483647 w 2198"/>
                <a:gd name="T69" fmla="*/ 2147483647 h 2583"/>
                <a:gd name="T70" fmla="*/ 2147483647 w 2198"/>
                <a:gd name="T71" fmla="*/ 2147483647 h 2583"/>
                <a:gd name="T72" fmla="*/ 2147483647 w 2198"/>
                <a:gd name="T73" fmla="*/ 2147483647 h 2583"/>
                <a:gd name="T74" fmla="*/ 2147483647 w 2198"/>
                <a:gd name="T75" fmla="*/ 2147483647 h 2583"/>
                <a:gd name="T76" fmla="*/ 2147483647 w 2198"/>
                <a:gd name="T77" fmla="*/ 2147483647 h 2583"/>
                <a:gd name="T78" fmla="*/ 2147483647 w 2198"/>
                <a:gd name="T79" fmla="*/ 2147483647 h 2583"/>
                <a:gd name="T80" fmla="*/ 2147483647 w 2198"/>
                <a:gd name="T81" fmla="*/ 2147483647 h 2583"/>
                <a:gd name="T82" fmla="*/ 2147483647 w 2198"/>
                <a:gd name="T83" fmla="*/ 2147483647 h 2583"/>
                <a:gd name="T84" fmla="*/ 2147483647 w 2198"/>
                <a:gd name="T85" fmla="*/ 2147483647 h 2583"/>
                <a:gd name="T86" fmla="*/ 2147483647 w 2198"/>
                <a:gd name="T87" fmla="*/ 2147483647 h 2583"/>
                <a:gd name="T88" fmla="*/ 2147483647 w 2198"/>
                <a:gd name="T89" fmla="*/ 2147483647 h 2583"/>
                <a:gd name="T90" fmla="*/ 2147483647 w 2198"/>
                <a:gd name="T91" fmla="*/ 2147483647 h 2583"/>
                <a:gd name="T92" fmla="*/ 2147483647 w 2198"/>
                <a:gd name="T93" fmla="*/ 2147483647 h 2583"/>
                <a:gd name="T94" fmla="*/ 2147483647 w 2198"/>
                <a:gd name="T95" fmla="*/ 2147483647 h 2583"/>
                <a:gd name="T96" fmla="*/ 2147483647 w 2198"/>
                <a:gd name="T97" fmla="*/ 2147483647 h 2583"/>
                <a:gd name="T98" fmla="*/ 2147483647 w 2198"/>
                <a:gd name="T99" fmla="*/ 2147483647 h 2583"/>
                <a:gd name="T100" fmla="*/ 2147483647 w 2198"/>
                <a:gd name="T101" fmla="*/ 2147483647 h 2583"/>
                <a:gd name="T102" fmla="*/ 2147483647 w 2198"/>
                <a:gd name="T103" fmla="*/ 2147483647 h 2583"/>
                <a:gd name="T104" fmla="*/ 2147483647 w 2198"/>
                <a:gd name="T105" fmla="*/ 2147483647 h 2583"/>
                <a:gd name="T106" fmla="*/ 2147483647 w 2198"/>
                <a:gd name="T107" fmla="*/ 2147483647 h 2583"/>
                <a:gd name="T108" fmla="*/ 2147483647 w 2198"/>
                <a:gd name="T109" fmla="*/ 2147483647 h 2583"/>
                <a:gd name="T110" fmla="*/ 2147483647 w 2198"/>
                <a:gd name="T111" fmla="*/ 2147483647 h 2583"/>
                <a:gd name="T112" fmla="*/ 2147483647 w 2198"/>
                <a:gd name="T113" fmla="*/ 2147483647 h 2583"/>
                <a:gd name="T114" fmla="*/ 2147483647 w 2198"/>
                <a:gd name="T115" fmla="*/ 2147483647 h 2583"/>
                <a:gd name="T116" fmla="*/ 2147483647 w 2198"/>
                <a:gd name="T117" fmla="*/ 2147483647 h 2583"/>
                <a:gd name="T118" fmla="*/ 2147483647 w 2198"/>
                <a:gd name="T119" fmla="*/ 2147483647 h 2583"/>
                <a:gd name="T120" fmla="*/ 2147483647 w 2198"/>
                <a:gd name="T121" fmla="*/ 2147483647 h 2583"/>
                <a:gd name="T122" fmla="*/ 2147483647 w 2198"/>
                <a:gd name="T123" fmla="*/ 2147483647 h 2583"/>
                <a:gd name="T124" fmla="*/ 2147483647 w 2198"/>
                <a:gd name="T125" fmla="*/ 2147483647 h 258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198"/>
                <a:gd name="T190" fmla="*/ 0 h 2583"/>
                <a:gd name="T191" fmla="*/ 2198 w 2198"/>
                <a:gd name="T192" fmla="*/ 2583 h 258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198" h="2583">
                  <a:moveTo>
                    <a:pt x="1934" y="1637"/>
                  </a:moveTo>
                  <a:lnTo>
                    <a:pt x="1934" y="1639"/>
                  </a:lnTo>
                  <a:lnTo>
                    <a:pt x="1932" y="1637"/>
                  </a:lnTo>
                  <a:lnTo>
                    <a:pt x="1929" y="1634"/>
                  </a:lnTo>
                  <a:lnTo>
                    <a:pt x="1924" y="1631"/>
                  </a:lnTo>
                  <a:lnTo>
                    <a:pt x="1918" y="1628"/>
                  </a:lnTo>
                  <a:lnTo>
                    <a:pt x="1912" y="1623"/>
                  </a:lnTo>
                  <a:lnTo>
                    <a:pt x="1905" y="1618"/>
                  </a:lnTo>
                  <a:lnTo>
                    <a:pt x="1901" y="1615"/>
                  </a:lnTo>
                  <a:lnTo>
                    <a:pt x="1899" y="1612"/>
                  </a:lnTo>
                  <a:lnTo>
                    <a:pt x="1896" y="1609"/>
                  </a:lnTo>
                  <a:lnTo>
                    <a:pt x="1894" y="1607"/>
                  </a:lnTo>
                  <a:lnTo>
                    <a:pt x="1893" y="1604"/>
                  </a:lnTo>
                  <a:lnTo>
                    <a:pt x="1891" y="1593"/>
                  </a:lnTo>
                  <a:lnTo>
                    <a:pt x="1888" y="1583"/>
                  </a:lnTo>
                  <a:lnTo>
                    <a:pt x="1885" y="1579"/>
                  </a:lnTo>
                  <a:lnTo>
                    <a:pt x="1885" y="1574"/>
                  </a:lnTo>
                  <a:lnTo>
                    <a:pt x="1883" y="1572"/>
                  </a:lnTo>
                  <a:lnTo>
                    <a:pt x="1880" y="1571"/>
                  </a:lnTo>
                  <a:lnTo>
                    <a:pt x="1880" y="1569"/>
                  </a:lnTo>
                  <a:lnTo>
                    <a:pt x="1877" y="1566"/>
                  </a:lnTo>
                  <a:lnTo>
                    <a:pt x="1858" y="1566"/>
                  </a:lnTo>
                  <a:lnTo>
                    <a:pt x="1858" y="1571"/>
                  </a:lnTo>
                  <a:lnTo>
                    <a:pt x="1856" y="1574"/>
                  </a:lnTo>
                  <a:lnTo>
                    <a:pt x="1855" y="1577"/>
                  </a:lnTo>
                  <a:lnTo>
                    <a:pt x="1853" y="1580"/>
                  </a:lnTo>
                  <a:lnTo>
                    <a:pt x="1852" y="1582"/>
                  </a:lnTo>
                  <a:lnTo>
                    <a:pt x="1850" y="1583"/>
                  </a:lnTo>
                  <a:lnTo>
                    <a:pt x="1845" y="1583"/>
                  </a:lnTo>
                  <a:lnTo>
                    <a:pt x="1841" y="1583"/>
                  </a:lnTo>
                  <a:lnTo>
                    <a:pt x="1839" y="1583"/>
                  </a:lnTo>
                  <a:lnTo>
                    <a:pt x="1834" y="1583"/>
                  </a:lnTo>
                  <a:lnTo>
                    <a:pt x="1833" y="1583"/>
                  </a:lnTo>
                  <a:lnTo>
                    <a:pt x="1829" y="1582"/>
                  </a:lnTo>
                  <a:lnTo>
                    <a:pt x="1826" y="1580"/>
                  </a:lnTo>
                  <a:lnTo>
                    <a:pt x="1826" y="1579"/>
                  </a:lnTo>
                  <a:lnTo>
                    <a:pt x="1825" y="1577"/>
                  </a:lnTo>
                  <a:lnTo>
                    <a:pt x="1822" y="1575"/>
                  </a:lnTo>
                  <a:lnTo>
                    <a:pt x="1818" y="1572"/>
                  </a:lnTo>
                  <a:lnTo>
                    <a:pt x="1817" y="1568"/>
                  </a:lnTo>
                  <a:lnTo>
                    <a:pt x="1814" y="1563"/>
                  </a:lnTo>
                  <a:lnTo>
                    <a:pt x="1811" y="1558"/>
                  </a:lnTo>
                  <a:lnTo>
                    <a:pt x="1809" y="1553"/>
                  </a:lnTo>
                  <a:lnTo>
                    <a:pt x="1806" y="1549"/>
                  </a:lnTo>
                  <a:lnTo>
                    <a:pt x="1803" y="1546"/>
                  </a:lnTo>
                  <a:lnTo>
                    <a:pt x="1798" y="1541"/>
                  </a:lnTo>
                  <a:lnTo>
                    <a:pt x="1796" y="1539"/>
                  </a:lnTo>
                  <a:lnTo>
                    <a:pt x="1793" y="1538"/>
                  </a:lnTo>
                  <a:lnTo>
                    <a:pt x="1792" y="1536"/>
                  </a:lnTo>
                  <a:lnTo>
                    <a:pt x="1788" y="1534"/>
                  </a:lnTo>
                  <a:lnTo>
                    <a:pt x="1785" y="1534"/>
                  </a:lnTo>
                  <a:lnTo>
                    <a:pt x="1784" y="1534"/>
                  </a:lnTo>
                  <a:lnTo>
                    <a:pt x="1781" y="1533"/>
                  </a:lnTo>
                  <a:lnTo>
                    <a:pt x="1776" y="1533"/>
                  </a:lnTo>
                  <a:lnTo>
                    <a:pt x="1765" y="1534"/>
                  </a:lnTo>
                  <a:lnTo>
                    <a:pt x="1757" y="1534"/>
                  </a:lnTo>
                  <a:lnTo>
                    <a:pt x="1752" y="1534"/>
                  </a:lnTo>
                  <a:lnTo>
                    <a:pt x="1750" y="1536"/>
                  </a:lnTo>
                  <a:lnTo>
                    <a:pt x="1747" y="1538"/>
                  </a:lnTo>
                  <a:lnTo>
                    <a:pt x="1744" y="1539"/>
                  </a:lnTo>
                  <a:lnTo>
                    <a:pt x="1741" y="1541"/>
                  </a:lnTo>
                  <a:lnTo>
                    <a:pt x="1739" y="1542"/>
                  </a:lnTo>
                  <a:lnTo>
                    <a:pt x="1736" y="1544"/>
                  </a:lnTo>
                  <a:lnTo>
                    <a:pt x="1735" y="1546"/>
                  </a:lnTo>
                  <a:lnTo>
                    <a:pt x="1735" y="1547"/>
                  </a:lnTo>
                  <a:lnTo>
                    <a:pt x="1732" y="1550"/>
                  </a:lnTo>
                  <a:lnTo>
                    <a:pt x="1732" y="1552"/>
                  </a:lnTo>
                  <a:lnTo>
                    <a:pt x="1730" y="1555"/>
                  </a:lnTo>
                  <a:lnTo>
                    <a:pt x="1730" y="1561"/>
                  </a:lnTo>
                  <a:lnTo>
                    <a:pt x="1727" y="1566"/>
                  </a:lnTo>
                  <a:lnTo>
                    <a:pt x="1727" y="1572"/>
                  </a:lnTo>
                  <a:lnTo>
                    <a:pt x="1725" y="1580"/>
                  </a:lnTo>
                  <a:lnTo>
                    <a:pt x="1724" y="1588"/>
                  </a:lnTo>
                  <a:lnTo>
                    <a:pt x="1724" y="1596"/>
                  </a:lnTo>
                  <a:lnTo>
                    <a:pt x="1722" y="1604"/>
                  </a:lnTo>
                  <a:lnTo>
                    <a:pt x="1720" y="1613"/>
                  </a:lnTo>
                  <a:lnTo>
                    <a:pt x="1719" y="1620"/>
                  </a:lnTo>
                  <a:lnTo>
                    <a:pt x="1716" y="1624"/>
                  </a:lnTo>
                  <a:lnTo>
                    <a:pt x="1714" y="1628"/>
                  </a:lnTo>
                  <a:lnTo>
                    <a:pt x="1711" y="1632"/>
                  </a:lnTo>
                  <a:lnTo>
                    <a:pt x="1706" y="1640"/>
                  </a:lnTo>
                  <a:lnTo>
                    <a:pt x="1702" y="1648"/>
                  </a:lnTo>
                  <a:lnTo>
                    <a:pt x="1695" y="1656"/>
                  </a:lnTo>
                  <a:lnTo>
                    <a:pt x="1690" y="1662"/>
                  </a:lnTo>
                  <a:lnTo>
                    <a:pt x="1689" y="1667"/>
                  </a:lnTo>
                  <a:lnTo>
                    <a:pt x="1686" y="1672"/>
                  </a:lnTo>
                  <a:lnTo>
                    <a:pt x="1686" y="1676"/>
                  </a:lnTo>
                  <a:lnTo>
                    <a:pt x="1684" y="1681"/>
                  </a:lnTo>
                  <a:lnTo>
                    <a:pt x="1681" y="1681"/>
                  </a:lnTo>
                  <a:lnTo>
                    <a:pt x="1678" y="1680"/>
                  </a:lnTo>
                  <a:lnTo>
                    <a:pt x="1676" y="1678"/>
                  </a:lnTo>
                  <a:lnTo>
                    <a:pt x="1673" y="1678"/>
                  </a:lnTo>
                  <a:lnTo>
                    <a:pt x="1670" y="1675"/>
                  </a:lnTo>
                  <a:lnTo>
                    <a:pt x="1667" y="1670"/>
                  </a:lnTo>
                  <a:lnTo>
                    <a:pt x="1664" y="1667"/>
                  </a:lnTo>
                  <a:lnTo>
                    <a:pt x="1660" y="1664"/>
                  </a:lnTo>
                  <a:lnTo>
                    <a:pt x="1659" y="1662"/>
                  </a:lnTo>
                  <a:lnTo>
                    <a:pt x="1657" y="1661"/>
                  </a:lnTo>
                  <a:lnTo>
                    <a:pt x="1656" y="1661"/>
                  </a:lnTo>
                  <a:lnTo>
                    <a:pt x="1654" y="1661"/>
                  </a:lnTo>
                  <a:lnTo>
                    <a:pt x="1651" y="1661"/>
                  </a:lnTo>
                  <a:lnTo>
                    <a:pt x="1649" y="1661"/>
                  </a:lnTo>
                  <a:lnTo>
                    <a:pt x="1646" y="1662"/>
                  </a:lnTo>
                  <a:lnTo>
                    <a:pt x="1643" y="1662"/>
                  </a:lnTo>
                  <a:lnTo>
                    <a:pt x="1638" y="1665"/>
                  </a:lnTo>
                  <a:lnTo>
                    <a:pt x="1634" y="1669"/>
                  </a:lnTo>
                  <a:lnTo>
                    <a:pt x="1629" y="1673"/>
                  </a:lnTo>
                  <a:lnTo>
                    <a:pt x="1624" y="1678"/>
                  </a:lnTo>
                  <a:lnTo>
                    <a:pt x="1619" y="1683"/>
                  </a:lnTo>
                  <a:lnTo>
                    <a:pt x="1616" y="1687"/>
                  </a:lnTo>
                  <a:lnTo>
                    <a:pt x="1611" y="1692"/>
                  </a:lnTo>
                  <a:lnTo>
                    <a:pt x="1607" y="1697"/>
                  </a:lnTo>
                  <a:lnTo>
                    <a:pt x="1602" y="1702"/>
                  </a:lnTo>
                  <a:lnTo>
                    <a:pt x="1597" y="1706"/>
                  </a:lnTo>
                  <a:lnTo>
                    <a:pt x="1594" y="1708"/>
                  </a:lnTo>
                  <a:lnTo>
                    <a:pt x="1593" y="1710"/>
                  </a:lnTo>
                  <a:lnTo>
                    <a:pt x="1588" y="1711"/>
                  </a:lnTo>
                  <a:lnTo>
                    <a:pt x="1586" y="1713"/>
                  </a:lnTo>
                  <a:lnTo>
                    <a:pt x="1583" y="1714"/>
                  </a:lnTo>
                  <a:lnTo>
                    <a:pt x="1580" y="1714"/>
                  </a:lnTo>
                  <a:lnTo>
                    <a:pt x="1575" y="1714"/>
                  </a:lnTo>
                  <a:lnTo>
                    <a:pt x="1574" y="1714"/>
                  </a:lnTo>
                  <a:lnTo>
                    <a:pt x="1567" y="1714"/>
                  </a:lnTo>
                  <a:lnTo>
                    <a:pt x="1566" y="1714"/>
                  </a:lnTo>
                  <a:lnTo>
                    <a:pt x="1562" y="1713"/>
                  </a:lnTo>
                  <a:lnTo>
                    <a:pt x="1559" y="1711"/>
                  </a:lnTo>
                  <a:lnTo>
                    <a:pt x="1558" y="1711"/>
                  </a:lnTo>
                  <a:lnTo>
                    <a:pt x="1555" y="1710"/>
                  </a:lnTo>
                  <a:lnTo>
                    <a:pt x="1555" y="1706"/>
                  </a:lnTo>
                  <a:lnTo>
                    <a:pt x="1553" y="1705"/>
                  </a:lnTo>
                  <a:lnTo>
                    <a:pt x="1551" y="1702"/>
                  </a:lnTo>
                  <a:lnTo>
                    <a:pt x="1551" y="1700"/>
                  </a:lnTo>
                  <a:lnTo>
                    <a:pt x="1550" y="1697"/>
                  </a:lnTo>
                  <a:lnTo>
                    <a:pt x="1550" y="1695"/>
                  </a:lnTo>
                  <a:lnTo>
                    <a:pt x="1550" y="1689"/>
                  </a:lnTo>
                  <a:lnTo>
                    <a:pt x="1550" y="1684"/>
                  </a:lnTo>
                  <a:lnTo>
                    <a:pt x="1550" y="1673"/>
                  </a:lnTo>
                  <a:lnTo>
                    <a:pt x="1550" y="1661"/>
                  </a:lnTo>
                  <a:lnTo>
                    <a:pt x="1550" y="1651"/>
                  </a:lnTo>
                  <a:lnTo>
                    <a:pt x="1550" y="1642"/>
                  </a:lnTo>
                  <a:lnTo>
                    <a:pt x="1550" y="1632"/>
                  </a:lnTo>
                  <a:lnTo>
                    <a:pt x="1550" y="1621"/>
                  </a:lnTo>
                  <a:lnTo>
                    <a:pt x="1550" y="1610"/>
                  </a:lnTo>
                  <a:lnTo>
                    <a:pt x="1550" y="1596"/>
                  </a:lnTo>
                  <a:lnTo>
                    <a:pt x="1550" y="1591"/>
                  </a:lnTo>
                  <a:lnTo>
                    <a:pt x="1551" y="1585"/>
                  </a:lnTo>
                  <a:lnTo>
                    <a:pt x="1553" y="1580"/>
                  </a:lnTo>
                  <a:lnTo>
                    <a:pt x="1555" y="1575"/>
                  </a:lnTo>
                  <a:lnTo>
                    <a:pt x="1555" y="1571"/>
                  </a:lnTo>
                  <a:lnTo>
                    <a:pt x="1558" y="1566"/>
                  </a:lnTo>
                  <a:lnTo>
                    <a:pt x="1558" y="1561"/>
                  </a:lnTo>
                  <a:lnTo>
                    <a:pt x="1559" y="1555"/>
                  </a:lnTo>
                  <a:lnTo>
                    <a:pt x="1550" y="1550"/>
                  </a:lnTo>
                  <a:lnTo>
                    <a:pt x="1540" y="1546"/>
                  </a:lnTo>
                  <a:lnTo>
                    <a:pt x="1536" y="1542"/>
                  </a:lnTo>
                  <a:lnTo>
                    <a:pt x="1532" y="1541"/>
                  </a:lnTo>
                  <a:lnTo>
                    <a:pt x="1529" y="1536"/>
                  </a:lnTo>
                  <a:lnTo>
                    <a:pt x="1525" y="1534"/>
                  </a:lnTo>
                  <a:lnTo>
                    <a:pt x="1521" y="1530"/>
                  </a:lnTo>
                  <a:lnTo>
                    <a:pt x="1520" y="1527"/>
                  </a:lnTo>
                  <a:lnTo>
                    <a:pt x="1518" y="1522"/>
                  </a:lnTo>
                  <a:lnTo>
                    <a:pt x="1515" y="1520"/>
                  </a:lnTo>
                  <a:lnTo>
                    <a:pt x="1514" y="1514"/>
                  </a:lnTo>
                  <a:lnTo>
                    <a:pt x="1514" y="1511"/>
                  </a:lnTo>
                  <a:lnTo>
                    <a:pt x="1514" y="1508"/>
                  </a:lnTo>
                  <a:lnTo>
                    <a:pt x="1512" y="1501"/>
                  </a:lnTo>
                  <a:lnTo>
                    <a:pt x="1512" y="1500"/>
                  </a:lnTo>
                  <a:lnTo>
                    <a:pt x="1512" y="1495"/>
                  </a:lnTo>
                  <a:lnTo>
                    <a:pt x="1512" y="1489"/>
                  </a:lnTo>
                  <a:lnTo>
                    <a:pt x="1512" y="1481"/>
                  </a:lnTo>
                  <a:lnTo>
                    <a:pt x="1512" y="1479"/>
                  </a:lnTo>
                  <a:lnTo>
                    <a:pt x="1512" y="1476"/>
                  </a:lnTo>
                  <a:lnTo>
                    <a:pt x="1510" y="1475"/>
                  </a:lnTo>
                  <a:lnTo>
                    <a:pt x="1509" y="1471"/>
                  </a:lnTo>
                  <a:lnTo>
                    <a:pt x="1507" y="1471"/>
                  </a:lnTo>
                  <a:lnTo>
                    <a:pt x="1506" y="1468"/>
                  </a:lnTo>
                  <a:lnTo>
                    <a:pt x="1502" y="1468"/>
                  </a:lnTo>
                  <a:lnTo>
                    <a:pt x="1501" y="1467"/>
                  </a:lnTo>
                  <a:lnTo>
                    <a:pt x="1496" y="1467"/>
                  </a:lnTo>
                  <a:lnTo>
                    <a:pt x="1491" y="1463"/>
                  </a:lnTo>
                  <a:lnTo>
                    <a:pt x="1490" y="1462"/>
                  </a:lnTo>
                  <a:lnTo>
                    <a:pt x="1487" y="1462"/>
                  </a:lnTo>
                  <a:lnTo>
                    <a:pt x="1487" y="1460"/>
                  </a:lnTo>
                  <a:lnTo>
                    <a:pt x="1483" y="1459"/>
                  </a:lnTo>
                  <a:lnTo>
                    <a:pt x="1483" y="1456"/>
                  </a:lnTo>
                  <a:lnTo>
                    <a:pt x="1482" y="1452"/>
                  </a:lnTo>
                  <a:lnTo>
                    <a:pt x="1480" y="1449"/>
                  </a:lnTo>
                  <a:lnTo>
                    <a:pt x="1480" y="1446"/>
                  </a:lnTo>
                  <a:lnTo>
                    <a:pt x="1479" y="1440"/>
                  </a:lnTo>
                  <a:lnTo>
                    <a:pt x="1479" y="1435"/>
                  </a:lnTo>
                  <a:lnTo>
                    <a:pt x="1477" y="1430"/>
                  </a:lnTo>
                  <a:lnTo>
                    <a:pt x="1476" y="1426"/>
                  </a:lnTo>
                  <a:lnTo>
                    <a:pt x="1476" y="1422"/>
                  </a:lnTo>
                  <a:lnTo>
                    <a:pt x="1474" y="1419"/>
                  </a:lnTo>
                  <a:lnTo>
                    <a:pt x="1474" y="1416"/>
                  </a:lnTo>
                  <a:lnTo>
                    <a:pt x="1471" y="1413"/>
                  </a:lnTo>
                  <a:lnTo>
                    <a:pt x="1471" y="1410"/>
                  </a:lnTo>
                  <a:lnTo>
                    <a:pt x="1468" y="1407"/>
                  </a:lnTo>
                  <a:lnTo>
                    <a:pt x="1466" y="1404"/>
                  </a:lnTo>
                  <a:lnTo>
                    <a:pt x="1465" y="1400"/>
                  </a:lnTo>
                  <a:lnTo>
                    <a:pt x="1463" y="1399"/>
                  </a:lnTo>
                  <a:lnTo>
                    <a:pt x="1460" y="1396"/>
                  </a:lnTo>
                  <a:lnTo>
                    <a:pt x="1458" y="1394"/>
                  </a:lnTo>
                  <a:lnTo>
                    <a:pt x="1455" y="1393"/>
                  </a:lnTo>
                  <a:lnTo>
                    <a:pt x="1452" y="1389"/>
                  </a:lnTo>
                  <a:lnTo>
                    <a:pt x="1450" y="1388"/>
                  </a:lnTo>
                  <a:lnTo>
                    <a:pt x="1446" y="1386"/>
                  </a:lnTo>
                  <a:lnTo>
                    <a:pt x="1442" y="1386"/>
                  </a:lnTo>
                  <a:lnTo>
                    <a:pt x="1435" y="1385"/>
                  </a:lnTo>
                  <a:lnTo>
                    <a:pt x="1425" y="1381"/>
                  </a:lnTo>
                  <a:lnTo>
                    <a:pt x="1425" y="1378"/>
                  </a:lnTo>
                  <a:lnTo>
                    <a:pt x="1427" y="1377"/>
                  </a:lnTo>
                  <a:lnTo>
                    <a:pt x="1428" y="1374"/>
                  </a:lnTo>
                  <a:lnTo>
                    <a:pt x="1430" y="1372"/>
                  </a:lnTo>
                  <a:lnTo>
                    <a:pt x="1431" y="1369"/>
                  </a:lnTo>
                  <a:lnTo>
                    <a:pt x="1433" y="1367"/>
                  </a:lnTo>
                  <a:lnTo>
                    <a:pt x="1435" y="1364"/>
                  </a:lnTo>
                  <a:lnTo>
                    <a:pt x="1435" y="1359"/>
                  </a:lnTo>
                  <a:lnTo>
                    <a:pt x="1435" y="1355"/>
                  </a:lnTo>
                  <a:lnTo>
                    <a:pt x="1435" y="1353"/>
                  </a:lnTo>
                  <a:lnTo>
                    <a:pt x="1433" y="1351"/>
                  </a:lnTo>
                  <a:lnTo>
                    <a:pt x="1430" y="1350"/>
                  </a:lnTo>
                  <a:lnTo>
                    <a:pt x="1417" y="1347"/>
                  </a:lnTo>
                  <a:lnTo>
                    <a:pt x="1417" y="1348"/>
                  </a:lnTo>
                  <a:lnTo>
                    <a:pt x="1417" y="1351"/>
                  </a:lnTo>
                  <a:lnTo>
                    <a:pt x="1414" y="1347"/>
                  </a:lnTo>
                  <a:lnTo>
                    <a:pt x="1412" y="1347"/>
                  </a:lnTo>
                  <a:lnTo>
                    <a:pt x="1404" y="1348"/>
                  </a:lnTo>
                  <a:lnTo>
                    <a:pt x="1398" y="1348"/>
                  </a:lnTo>
                  <a:lnTo>
                    <a:pt x="1395" y="1348"/>
                  </a:lnTo>
                  <a:lnTo>
                    <a:pt x="1392" y="1348"/>
                  </a:lnTo>
                  <a:lnTo>
                    <a:pt x="1389" y="1348"/>
                  </a:lnTo>
                  <a:lnTo>
                    <a:pt x="1386" y="1347"/>
                  </a:lnTo>
                  <a:lnTo>
                    <a:pt x="1379" y="1345"/>
                  </a:lnTo>
                  <a:lnTo>
                    <a:pt x="1373" y="1342"/>
                  </a:lnTo>
                  <a:lnTo>
                    <a:pt x="1371" y="1340"/>
                  </a:lnTo>
                  <a:lnTo>
                    <a:pt x="1368" y="1340"/>
                  </a:lnTo>
                  <a:lnTo>
                    <a:pt x="1365" y="1340"/>
                  </a:lnTo>
                  <a:lnTo>
                    <a:pt x="1363" y="1339"/>
                  </a:lnTo>
                  <a:lnTo>
                    <a:pt x="1354" y="1340"/>
                  </a:lnTo>
                  <a:lnTo>
                    <a:pt x="1346" y="1340"/>
                  </a:lnTo>
                  <a:lnTo>
                    <a:pt x="1343" y="1340"/>
                  </a:lnTo>
                  <a:lnTo>
                    <a:pt x="1338" y="1340"/>
                  </a:lnTo>
                  <a:lnTo>
                    <a:pt x="1333" y="1340"/>
                  </a:lnTo>
                  <a:lnTo>
                    <a:pt x="1329" y="1339"/>
                  </a:lnTo>
                  <a:lnTo>
                    <a:pt x="1329" y="1323"/>
                  </a:lnTo>
                  <a:lnTo>
                    <a:pt x="1329" y="1314"/>
                  </a:lnTo>
                  <a:lnTo>
                    <a:pt x="1329" y="1307"/>
                  </a:lnTo>
                  <a:lnTo>
                    <a:pt x="1329" y="1296"/>
                  </a:lnTo>
                  <a:lnTo>
                    <a:pt x="1330" y="1293"/>
                  </a:lnTo>
                  <a:lnTo>
                    <a:pt x="1330" y="1290"/>
                  </a:lnTo>
                  <a:lnTo>
                    <a:pt x="1330" y="1288"/>
                  </a:lnTo>
                  <a:lnTo>
                    <a:pt x="1332" y="1285"/>
                  </a:lnTo>
                  <a:lnTo>
                    <a:pt x="1335" y="1282"/>
                  </a:lnTo>
                  <a:lnTo>
                    <a:pt x="1338" y="1277"/>
                  </a:lnTo>
                  <a:lnTo>
                    <a:pt x="1340" y="1274"/>
                  </a:lnTo>
                  <a:lnTo>
                    <a:pt x="1343" y="1269"/>
                  </a:lnTo>
                  <a:lnTo>
                    <a:pt x="1344" y="1268"/>
                  </a:lnTo>
                  <a:lnTo>
                    <a:pt x="1344" y="1266"/>
                  </a:lnTo>
                  <a:lnTo>
                    <a:pt x="1346" y="1265"/>
                  </a:lnTo>
                  <a:lnTo>
                    <a:pt x="1346" y="1263"/>
                  </a:lnTo>
                  <a:lnTo>
                    <a:pt x="1344" y="1258"/>
                  </a:lnTo>
                  <a:lnTo>
                    <a:pt x="1344" y="1254"/>
                  </a:lnTo>
                  <a:lnTo>
                    <a:pt x="1343" y="1251"/>
                  </a:lnTo>
                  <a:lnTo>
                    <a:pt x="1341" y="1246"/>
                  </a:lnTo>
                  <a:lnTo>
                    <a:pt x="1338" y="1243"/>
                  </a:lnTo>
                  <a:lnTo>
                    <a:pt x="1335" y="1240"/>
                  </a:lnTo>
                  <a:lnTo>
                    <a:pt x="1332" y="1236"/>
                  </a:lnTo>
                  <a:lnTo>
                    <a:pt x="1330" y="1232"/>
                  </a:lnTo>
                  <a:lnTo>
                    <a:pt x="1324" y="1225"/>
                  </a:lnTo>
                  <a:lnTo>
                    <a:pt x="1318" y="1219"/>
                  </a:lnTo>
                  <a:lnTo>
                    <a:pt x="1314" y="1214"/>
                  </a:lnTo>
                  <a:lnTo>
                    <a:pt x="1313" y="1211"/>
                  </a:lnTo>
                  <a:lnTo>
                    <a:pt x="1311" y="1206"/>
                  </a:lnTo>
                  <a:lnTo>
                    <a:pt x="1310" y="1202"/>
                  </a:lnTo>
                  <a:lnTo>
                    <a:pt x="1310" y="1198"/>
                  </a:lnTo>
                  <a:lnTo>
                    <a:pt x="1310" y="1197"/>
                  </a:lnTo>
                  <a:lnTo>
                    <a:pt x="1310" y="1195"/>
                  </a:lnTo>
                  <a:lnTo>
                    <a:pt x="1310" y="1192"/>
                  </a:lnTo>
                  <a:lnTo>
                    <a:pt x="1310" y="1187"/>
                  </a:lnTo>
                  <a:lnTo>
                    <a:pt x="1311" y="1184"/>
                  </a:lnTo>
                  <a:lnTo>
                    <a:pt x="1311" y="1180"/>
                  </a:lnTo>
                  <a:lnTo>
                    <a:pt x="1313" y="1176"/>
                  </a:lnTo>
                  <a:lnTo>
                    <a:pt x="1313" y="1175"/>
                  </a:lnTo>
                  <a:lnTo>
                    <a:pt x="1313" y="1172"/>
                  </a:lnTo>
                  <a:lnTo>
                    <a:pt x="1313" y="1170"/>
                  </a:lnTo>
                  <a:lnTo>
                    <a:pt x="1311" y="1169"/>
                  </a:lnTo>
                  <a:lnTo>
                    <a:pt x="1311" y="1167"/>
                  </a:lnTo>
                  <a:lnTo>
                    <a:pt x="1311" y="1165"/>
                  </a:lnTo>
                  <a:lnTo>
                    <a:pt x="1310" y="1164"/>
                  </a:lnTo>
                  <a:lnTo>
                    <a:pt x="1308" y="1162"/>
                  </a:lnTo>
                  <a:lnTo>
                    <a:pt x="1305" y="1161"/>
                  </a:lnTo>
                  <a:lnTo>
                    <a:pt x="1302" y="1159"/>
                  </a:lnTo>
                  <a:lnTo>
                    <a:pt x="1291" y="1157"/>
                  </a:lnTo>
                  <a:lnTo>
                    <a:pt x="1283" y="1154"/>
                  </a:lnTo>
                  <a:lnTo>
                    <a:pt x="1284" y="1151"/>
                  </a:lnTo>
                  <a:lnTo>
                    <a:pt x="1284" y="1150"/>
                  </a:lnTo>
                  <a:lnTo>
                    <a:pt x="1286" y="1146"/>
                  </a:lnTo>
                  <a:lnTo>
                    <a:pt x="1289" y="1145"/>
                  </a:lnTo>
                  <a:lnTo>
                    <a:pt x="1292" y="1140"/>
                  </a:lnTo>
                  <a:lnTo>
                    <a:pt x="1297" y="1137"/>
                  </a:lnTo>
                  <a:lnTo>
                    <a:pt x="1302" y="1134"/>
                  </a:lnTo>
                  <a:lnTo>
                    <a:pt x="1307" y="1129"/>
                  </a:lnTo>
                  <a:lnTo>
                    <a:pt x="1308" y="1129"/>
                  </a:lnTo>
                  <a:lnTo>
                    <a:pt x="1310" y="1126"/>
                  </a:lnTo>
                  <a:lnTo>
                    <a:pt x="1310" y="1123"/>
                  </a:lnTo>
                  <a:lnTo>
                    <a:pt x="1310" y="1120"/>
                  </a:lnTo>
                  <a:lnTo>
                    <a:pt x="1310" y="1107"/>
                  </a:lnTo>
                  <a:lnTo>
                    <a:pt x="1310" y="1096"/>
                  </a:lnTo>
                  <a:lnTo>
                    <a:pt x="1308" y="1083"/>
                  </a:lnTo>
                  <a:lnTo>
                    <a:pt x="1307" y="1072"/>
                  </a:lnTo>
                  <a:lnTo>
                    <a:pt x="1305" y="1061"/>
                  </a:lnTo>
                  <a:lnTo>
                    <a:pt x="1302" y="1050"/>
                  </a:lnTo>
                  <a:lnTo>
                    <a:pt x="1297" y="1039"/>
                  </a:lnTo>
                  <a:lnTo>
                    <a:pt x="1294" y="1030"/>
                  </a:lnTo>
                  <a:lnTo>
                    <a:pt x="1291" y="1019"/>
                  </a:lnTo>
                  <a:lnTo>
                    <a:pt x="1286" y="1008"/>
                  </a:lnTo>
                  <a:lnTo>
                    <a:pt x="1283" y="998"/>
                  </a:lnTo>
                  <a:lnTo>
                    <a:pt x="1277" y="987"/>
                  </a:lnTo>
                  <a:lnTo>
                    <a:pt x="1272" y="978"/>
                  </a:lnTo>
                  <a:lnTo>
                    <a:pt x="1267" y="968"/>
                  </a:lnTo>
                  <a:lnTo>
                    <a:pt x="1261" y="959"/>
                  </a:lnTo>
                  <a:lnTo>
                    <a:pt x="1256" y="949"/>
                  </a:lnTo>
                  <a:lnTo>
                    <a:pt x="1259" y="948"/>
                  </a:lnTo>
                  <a:lnTo>
                    <a:pt x="1262" y="946"/>
                  </a:lnTo>
                  <a:lnTo>
                    <a:pt x="1265" y="943"/>
                  </a:lnTo>
                  <a:lnTo>
                    <a:pt x="1269" y="940"/>
                  </a:lnTo>
                  <a:lnTo>
                    <a:pt x="1273" y="935"/>
                  </a:lnTo>
                  <a:lnTo>
                    <a:pt x="1280" y="929"/>
                  </a:lnTo>
                  <a:lnTo>
                    <a:pt x="1284" y="922"/>
                  </a:lnTo>
                  <a:lnTo>
                    <a:pt x="1291" y="918"/>
                  </a:lnTo>
                  <a:lnTo>
                    <a:pt x="1292" y="915"/>
                  </a:lnTo>
                  <a:lnTo>
                    <a:pt x="1294" y="913"/>
                  </a:lnTo>
                  <a:lnTo>
                    <a:pt x="1297" y="911"/>
                  </a:lnTo>
                  <a:lnTo>
                    <a:pt x="1299" y="910"/>
                  </a:lnTo>
                  <a:lnTo>
                    <a:pt x="1302" y="910"/>
                  </a:lnTo>
                  <a:lnTo>
                    <a:pt x="1305" y="910"/>
                  </a:lnTo>
                  <a:lnTo>
                    <a:pt x="1307" y="908"/>
                  </a:lnTo>
                  <a:lnTo>
                    <a:pt x="1310" y="908"/>
                  </a:lnTo>
                  <a:lnTo>
                    <a:pt x="1314" y="908"/>
                  </a:lnTo>
                  <a:lnTo>
                    <a:pt x="1319" y="908"/>
                  </a:lnTo>
                  <a:lnTo>
                    <a:pt x="1321" y="908"/>
                  </a:lnTo>
                  <a:lnTo>
                    <a:pt x="1324" y="908"/>
                  </a:lnTo>
                  <a:lnTo>
                    <a:pt x="1325" y="907"/>
                  </a:lnTo>
                  <a:lnTo>
                    <a:pt x="1327" y="905"/>
                  </a:lnTo>
                  <a:lnTo>
                    <a:pt x="1329" y="902"/>
                  </a:lnTo>
                  <a:lnTo>
                    <a:pt x="1329" y="900"/>
                  </a:lnTo>
                  <a:lnTo>
                    <a:pt x="1329" y="897"/>
                  </a:lnTo>
                  <a:lnTo>
                    <a:pt x="1329" y="894"/>
                  </a:lnTo>
                  <a:lnTo>
                    <a:pt x="1327" y="891"/>
                  </a:lnTo>
                  <a:lnTo>
                    <a:pt x="1325" y="888"/>
                  </a:lnTo>
                  <a:lnTo>
                    <a:pt x="1325" y="885"/>
                  </a:lnTo>
                  <a:lnTo>
                    <a:pt x="1322" y="881"/>
                  </a:lnTo>
                  <a:lnTo>
                    <a:pt x="1321" y="878"/>
                  </a:lnTo>
                  <a:lnTo>
                    <a:pt x="1319" y="877"/>
                  </a:lnTo>
                  <a:lnTo>
                    <a:pt x="1319" y="874"/>
                  </a:lnTo>
                  <a:lnTo>
                    <a:pt x="1346" y="806"/>
                  </a:lnTo>
                  <a:lnTo>
                    <a:pt x="1349" y="803"/>
                  </a:lnTo>
                  <a:lnTo>
                    <a:pt x="1354" y="799"/>
                  </a:lnTo>
                  <a:lnTo>
                    <a:pt x="1359" y="798"/>
                  </a:lnTo>
                  <a:lnTo>
                    <a:pt x="1365" y="795"/>
                  </a:lnTo>
                  <a:lnTo>
                    <a:pt x="1367" y="793"/>
                  </a:lnTo>
                  <a:lnTo>
                    <a:pt x="1370" y="792"/>
                  </a:lnTo>
                  <a:lnTo>
                    <a:pt x="1373" y="790"/>
                  </a:lnTo>
                  <a:lnTo>
                    <a:pt x="1373" y="787"/>
                  </a:lnTo>
                  <a:lnTo>
                    <a:pt x="1376" y="785"/>
                  </a:lnTo>
                  <a:lnTo>
                    <a:pt x="1376" y="782"/>
                  </a:lnTo>
                  <a:lnTo>
                    <a:pt x="1378" y="779"/>
                  </a:lnTo>
                  <a:lnTo>
                    <a:pt x="1379" y="776"/>
                  </a:lnTo>
                  <a:lnTo>
                    <a:pt x="1378" y="773"/>
                  </a:lnTo>
                  <a:lnTo>
                    <a:pt x="1378" y="771"/>
                  </a:lnTo>
                  <a:lnTo>
                    <a:pt x="1376" y="769"/>
                  </a:lnTo>
                  <a:lnTo>
                    <a:pt x="1374" y="766"/>
                  </a:lnTo>
                  <a:lnTo>
                    <a:pt x="1373" y="763"/>
                  </a:lnTo>
                  <a:lnTo>
                    <a:pt x="1368" y="762"/>
                  </a:lnTo>
                  <a:lnTo>
                    <a:pt x="1365" y="758"/>
                  </a:lnTo>
                  <a:lnTo>
                    <a:pt x="1360" y="757"/>
                  </a:lnTo>
                  <a:lnTo>
                    <a:pt x="1359" y="754"/>
                  </a:lnTo>
                  <a:lnTo>
                    <a:pt x="1356" y="751"/>
                  </a:lnTo>
                  <a:lnTo>
                    <a:pt x="1354" y="749"/>
                  </a:lnTo>
                  <a:lnTo>
                    <a:pt x="1352" y="746"/>
                  </a:lnTo>
                  <a:lnTo>
                    <a:pt x="1352" y="743"/>
                  </a:lnTo>
                  <a:lnTo>
                    <a:pt x="1351" y="739"/>
                  </a:lnTo>
                  <a:lnTo>
                    <a:pt x="1351" y="733"/>
                  </a:lnTo>
                  <a:lnTo>
                    <a:pt x="1349" y="728"/>
                  </a:lnTo>
                  <a:lnTo>
                    <a:pt x="1349" y="721"/>
                  </a:lnTo>
                  <a:lnTo>
                    <a:pt x="1348" y="716"/>
                  </a:lnTo>
                  <a:lnTo>
                    <a:pt x="1348" y="713"/>
                  </a:lnTo>
                  <a:lnTo>
                    <a:pt x="1344" y="710"/>
                  </a:lnTo>
                  <a:lnTo>
                    <a:pt x="1344" y="708"/>
                  </a:lnTo>
                  <a:lnTo>
                    <a:pt x="1343" y="705"/>
                  </a:lnTo>
                  <a:lnTo>
                    <a:pt x="1340" y="702"/>
                  </a:lnTo>
                  <a:lnTo>
                    <a:pt x="1337" y="698"/>
                  </a:lnTo>
                  <a:lnTo>
                    <a:pt x="1333" y="695"/>
                  </a:lnTo>
                  <a:lnTo>
                    <a:pt x="1330" y="694"/>
                  </a:lnTo>
                  <a:lnTo>
                    <a:pt x="1325" y="689"/>
                  </a:lnTo>
                  <a:lnTo>
                    <a:pt x="1318" y="684"/>
                  </a:lnTo>
                  <a:lnTo>
                    <a:pt x="1311" y="680"/>
                  </a:lnTo>
                  <a:lnTo>
                    <a:pt x="1307" y="675"/>
                  </a:lnTo>
                  <a:lnTo>
                    <a:pt x="1305" y="672"/>
                  </a:lnTo>
                  <a:lnTo>
                    <a:pt x="1302" y="667"/>
                  </a:lnTo>
                  <a:lnTo>
                    <a:pt x="1299" y="664"/>
                  </a:lnTo>
                  <a:lnTo>
                    <a:pt x="1297" y="661"/>
                  </a:lnTo>
                  <a:lnTo>
                    <a:pt x="1295" y="656"/>
                  </a:lnTo>
                  <a:lnTo>
                    <a:pt x="1294" y="654"/>
                  </a:lnTo>
                  <a:lnTo>
                    <a:pt x="1292" y="651"/>
                  </a:lnTo>
                  <a:lnTo>
                    <a:pt x="1292" y="648"/>
                  </a:lnTo>
                  <a:lnTo>
                    <a:pt x="1291" y="642"/>
                  </a:lnTo>
                  <a:lnTo>
                    <a:pt x="1289" y="637"/>
                  </a:lnTo>
                  <a:lnTo>
                    <a:pt x="1289" y="635"/>
                  </a:lnTo>
                  <a:lnTo>
                    <a:pt x="1288" y="634"/>
                  </a:lnTo>
                  <a:lnTo>
                    <a:pt x="1286" y="631"/>
                  </a:lnTo>
                  <a:lnTo>
                    <a:pt x="1284" y="629"/>
                  </a:lnTo>
                  <a:lnTo>
                    <a:pt x="1283" y="628"/>
                  </a:lnTo>
                  <a:lnTo>
                    <a:pt x="1280" y="626"/>
                  </a:lnTo>
                  <a:lnTo>
                    <a:pt x="1277" y="624"/>
                  </a:lnTo>
                  <a:lnTo>
                    <a:pt x="1273" y="623"/>
                  </a:lnTo>
                  <a:lnTo>
                    <a:pt x="1277" y="615"/>
                  </a:lnTo>
                  <a:lnTo>
                    <a:pt x="1278" y="609"/>
                  </a:lnTo>
                  <a:lnTo>
                    <a:pt x="1281" y="605"/>
                  </a:lnTo>
                  <a:lnTo>
                    <a:pt x="1281" y="602"/>
                  </a:lnTo>
                  <a:lnTo>
                    <a:pt x="1283" y="599"/>
                  </a:lnTo>
                  <a:lnTo>
                    <a:pt x="1283" y="596"/>
                  </a:lnTo>
                  <a:lnTo>
                    <a:pt x="1283" y="593"/>
                  </a:lnTo>
                  <a:lnTo>
                    <a:pt x="1284" y="590"/>
                  </a:lnTo>
                  <a:lnTo>
                    <a:pt x="1284" y="586"/>
                  </a:lnTo>
                  <a:lnTo>
                    <a:pt x="1286" y="583"/>
                  </a:lnTo>
                  <a:lnTo>
                    <a:pt x="1286" y="580"/>
                  </a:lnTo>
                  <a:lnTo>
                    <a:pt x="1286" y="575"/>
                  </a:lnTo>
                  <a:lnTo>
                    <a:pt x="1281" y="575"/>
                  </a:lnTo>
                  <a:lnTo>
                    <a:pt x="1278" y="572"/>
                  </a:lnTo>
                  <a:lnTo>
                    <a:pt x="1275" y="571"/>
                  </a:lnTo>
                  <a:lnTo>
                    <a:pt x="1270" y="569"/>
                  </a:lnTo>
                  <a:lnTo>
                    <a:pt x="1267" y="568"/>
                  </a:lnTo>
                  <a:lnTo>
                    <a:pt x="1262" y="569"/>
                  </a:lnTo>
                  <a:lnTo>
                    <a:pt x="1258" y="569"/>
                  </a:lnTo>
                  <a:lnTo>
                    <a:pt x="1256" y="572"/>
                  </a:lnTo>
                  <a:lnTo>
                    <a:pt x="1251" y="572"/>
                  </a:lnTo>
                  <a:lnTo>
                    <a:pt x="1250" y="575"/>
                  </a:lnTo>
                  <a:lnTo>
                    <a:pt x="1248" y="575"/>
                  </a:lnTo>
                  <a:lnTo>
                    <a:pt x="1246" y="577"/>
                  </a:lnTo>
                  <a:lnTo>
                    <a:pt x="1245" y="580"/>
                  </a:lnTo>
                  <a:lnTo>
                    <a:pt x="1245" y="582"/>
                  </a:lnTo>
                  <a:lnTo>
                    <a:pt x="1245" y="583"/>
                  </a:lnTo>
                  <a:lnTo>
                    <a:pt x="1246" y="585"/>
                  </a:lnTo>
                  <a:lnTo>
                    <a:pt x="1248" y="588"/>
                  </a:lnTo>
                  <a:lnTo>
                    <a:pt x="1251" y="591"/>
                  </a:lnTo>
                  <a:lnTo>
                    <a:pt x="1258" y="598"/>
                  </a:lnTo>
                  <a:lnTo>
                    <a:pt x="1264" y="602"/>
                  </a:lnTo>
                  <a:lnTo>
                    <a:pt x="1265" y="604"/>
                  </a:lnTo>
                  <a:lnTo>
                    <a:pt x="1265" y="605"/>
                  </a:lnTo>
                  <a:lnTo>
                    <a:pt x="1267" y="607"/>
                  </a:lnTo>
                  <a:lnTo>
                    <a:pt x="1267" y="609"/>
                  </a:lnTo>
                  <a:lnTo>
                    <a:pt x="1265" y="610"/>
                  </a:lnTo>
                  <a:lnTo>
                    <a:pt x="1264" y="612"/>
                  </a:lnTo>
                  <a:lnTo>
                    <a:pt x="1262" y="615"/>
                  </a:lnTo>
                  <a:lnTo>
                    <a:pt x="1261" y="618"/>
                  </a:lnTo>
                  <a:lnTo>
                    <a:pt x="1258" y="623"/>
                  </a:lnTo>
                  <a:lnTo>
                    <a:pt x="1256" y="626"/>
                  </a:lnTo>
                  <a:lnTo>
                    <a:pt x="1251" y="631"/>
                  </a:lnTo>
                  <a:lnTo>
                    <a:pt x="1245" y="637"/>
                  </a:lnTo>
                  <a:lnTo>
                    <a:pt x="1240" y="642"/>
                  </a:lnTo>
                  <a:lnTo>
                    <a:pt x="1234" y="645"/>
                  </a:lnTo>
                  <a:lnTo>
                    <a:pt x="1228" y="650"/>
                  </a:lnTo>
                  <a:lnTo>
                    <a:pt x="1223" y="654"/>
                  </a:lnTo>
                  <a:lnTo>
                    <a:pt x="1210" y="659"/>
                  </a:lnTo>
                  <a:lnTo>
                    <a:pt x="1199" y="667"/>
                  </a:lnTo>
                  <a:lnTo>
                    <a:pt x="1194" y="669"/>
                  </a:lnTo>
                  <a:lnTo>
                    <a:pt x="1190" y="673"/>
                  </a:lnTo>
                  <a:lnTo>
                    <a:pt x="1185" y="676"/>
                  </a:lnTo>
                  <a:lnTo>
                    <a:pt x="1182" y="681"/>
                  </a:lnTo>
                  <a:lnTo>
                    <a:pt x="1182" y="676"/>
                  </a:lnTo>
                  <a:lnTo>
                    <a:pt x="1182" y="672"/>
                  </a:lnTo>
                  <a:lnTo>
                    <a:pt x="1183" y="667"/>
                  </a:lnTo>
                  <a:lnTo>
                    <a:pt x="1186" y="662"/>
                  </a:lnTo>
                  <a:lnTo>
                    <a:pt x="1188" y="656"/>
                  </a:lnTo>
                  <a:lnTo>
                    <a:pt x="1191" y="650"/>
                  </a:lnTo>
                  <a:lnTo>
                    <a:pt x="1194" y="643"/>
                  </a:lnTo>
                  <a:lnTo>
                    <a:pt x="1198" y="637"/>
                  </a:lnTo>
                  <a:lnTo>
                    <a:pt x="1215" y="609"/>
                  </a:lnTo>
                  <a:lnTo>
                    <a:pt x="1237" y="577"/>
                  </a:lnTo>
                  <a:lnTo>
                    <a:pt x="1248" y="561"/>
                  </a:lnTo>
                  <a:lnTo>
                    <a:pt x="1258" y="544"/>
                  </a:lnTo>
                  <a:lnTo>
                    <a:pt x="1262" y="536"/>
                  </a:lnTo>
                  <a:lnTo>
                    <a:pt x="1267" y="528"/>
                  </a:lnTo>
                  <a:lnTo>
                    <a:pt x="1270" y="519"/>
                  </a:lnTo>
                  <a:lnTo>
                    <a:pt x="1277" y="511"/>
                  </a:lnTo>
                  <a:lnTo>
                    <a:pt x="1280" y="503"/>
                  </a:lnTo>
                  <a:lnTo>
                    <a:pt x="1283" y="493"/>
                  </a:lnTo>
                  <a:lnTo>
                    <a:pt x="1286" y="486"/>
                  </a:lnTo>
                  <a:lnTo>
                    <a:pt x="1289" y="476"/>
                  </a:lnTo>
                  <a:lnTo>
                    <a:pt x="1291" y="468"/>
                  </a:lnTo>
                  <a:lnTo>
                    <a:pt x="1292" y="459"/>
                  </a:lnTo>
                  <a:lnTo>
                    <a:pt x="1294" y="449"/>
                  </a:lnTo>
                  <a:lnTo>
                    <a:pt x="1294" y="441"/>
                  </a:lnTo>
                  <a:lnTo>
                    <a:pt x="1294" y="438"/>
                  </a:lnTo>
                  <a:lnTo>
                    <a:pt x="1292" y="435"/>
                  </a:lnTo>
                  <a:lnTo>
                    <a:pt x="1292" y="432"/>
                  </a:lnTo>
                  <a:lnTo>
                    <a:pt x="1291" y="429"/>
                  </a:lnTo>
                  <a:lnTo>
                    <a:pt x="1288" y="421"/>
                  </a:lnTo>
                  <a:lnTo>
                    <a:pt x="1284" y="413"/>
                  </a:lnTo>
                  <a:lnTo>
                    <a:pt x="1280" y="405"/>
                  </a:lnTo>
                  <a:lnTo>
                    <a:pt x="1273" y="396"/>
                  </a:lnTo>
                  <a:lnTo>
                    <a:pt x="1269" y="388"/>
                  </a:lnTo>
                  <a:lnTo>
                    <a:pt x="1261" y="381"/>
                  </a:lnTo>
                  <a:lnTo>
                    <a:pt x="1254" y="374"/>
                  </a:lnTo>
                  <a:lnTo>
                    <a:pt x="1248" y="367"/>
                  </a:lnTo>
                  <a:lnTo>
                    <a:pt x="1240" y="363"/>
                  </a:lnTo>
                  <a:lnTo>
                    <a:pt x="1232" y="356"/>
                  </a:lnTo>
                  <a:lnTo>
                    <a:pt x="1229" y="355"/>
                  </a:lnTo>
                  <a:lnTo>
                    <a:pt x="1224" y="353"/>
                  </a:lnTo>
                  <a:lnTo>
                    <a:pt x="1223" y="350"/>
                  </a:lnTo>
                  <a:lnTo>
                    <a:pt x="1218" y="350"/>
                  </a:lnTo>
                  <a:lnTo>
                    <a:pt x="1215" y="347"/>
                  </a:lnTo>
                  <a:lnTo>
                    <a:pt x="1212" y="347"/>
                  </a:lnTo>
                  <a:lnTo>
                    <a:pt x="1209" y="347"/>
                  </a:lnTo>
                  <a:lnTo>
                    <a:pt x="1205" y="347"/>
                  </a:lnTo>
                  <a:lnTo>
                    <a:pt x="1196" y="347"/>
                  </a:lnTo>
                  <a:lnTo>
                    <a:pt x="1183" y="347"/>
                  </a:lnTo>
                  <a:lnTo>
                    <a:pt x="1177" y="348"/>
                  </a:lnTo>
                  <a:lnTo>
                    <a:pt x="1171" y="350"/>
                  </a:lnTo>
                  <a:lnTo>
                    <a:pt x="1167" y="350"/>
                  </a:lnTo>
                  <a:lnTo>
                    <a:pt x="1166" y="351"/>
                  </a:lnTo>
                  <a:lnTo>
                    <a:pt x="1163" y="353"/>
                  </a:lnTo>
                  <a:lnTo>
                    <a:pt x="1161" y="355"/>
                  </a:lnTo>
                  <a:lnTo>
                    <a:pt x="1160" y="361"/>
                  </a:lnTo>
                  <a:lnTo>
                    <a:pt x="1158" y="366"/>
                  </a:lnTo>
                  <a:lnTo>
                    <a:pt x="1158" y="369"/>
                  </a:lnTo>
                  <a:lnTo>
                    <a:pt x="1156" y="374"/>
                  </a:lnTo>
                  <a:lnTo>
                    <a:pt x="1153" y="375"/>
                  </a:lnTo>
                  <a:lnTo>
                    <a:pt x="1152" y="378"/>
                  </a:lnTo>
                  <a:lnTo>
                    <a:pt x="1150" y="380"/>
                  </a:lnTo>
                  <a:lnTo>
                    <a:pt x="1147" y="380"/>
                  </a:lnTo>
                  <a:lnTo>
                    <a:pt x="1145" y="381"/>
                  </a:lnTo>
                  <a:lnTo>
                    <a:pt x="1142" y="381"/>
                  </a:lnTo>
                  <a:lnTo>
                    <a:pt x="1141" y="381"/>
                  </a:lnTo>
                  <a:lnTo>
                    <a:pt x="1137" y="381"/>
                  </a:lnTo>
                  <a:lnTo>
                    <a:pt x="1133" y="381"/>
                  </a:lnTo>
                  <a:lnTo>
                    <a:pt x="1130" y="381"/>
                  </a:lnTo>
                  <a:lnTo>
                    <a:pt x="1128" y="381"/>
                  </a:lnTo>
                  <a:lnTo>
                    <a:pt x="1128" y="380"/>
                  </a:lnTo>
                  <a:lnTo>
                    <a:pt x="1130" y="377"/>
                  </a:lnTo>
                  <a:lnTo>
                    <a:pt x="1131" y="374"/>
                  </a:lnTo>
                  <a:lnTo>
                    <a:pt x="1134" y="367"/>
                  </a:lnTo>
                  <a:lnTo>
                    <a:pt x="1136" y="363"/>
                  </a:lnTo>
                  <a:lnTo>
                    <a:pt x="1137" y="358"/>
                  </a:lnTo>
                  <a:lnTo>
                    <a:pt x="1141" y="353"/>
                  </a:lnTo>
                  <a:lnTo>
                    <a:pt x="1141" y="350"/>
                  </a:lnTo>
                  <a:lnTo>
                    <a:pt x="1141" y="348"/>
                  </a:lnTo>
                  <a:lnTo>
                    <a:pt x="1141" y="347"/>
                  </a:lnTo>
                  <a:lnTo>
                    <a:pt x="1139" y="344"/>
                  </a:lnTo>
                  <a:lnTo>
                    <a:pt x="1137" y="342"/>
                  </a:lnTo>
                  <a:lnTo>
                    <a:pt x="1136" y="340"/>
                  </a:lnTo>
                  <a:lnTo>
                    <a:pt x="1134" y="339"/>
                  </a:lnTo>
                  <a:lnTo>
                    <a:pt x="1131" y="337"/>
                  </a:lnTo>
                  <a:lnTo>
                    <a:pt x="1128" y="336"/>
                  </a:lnTo>
                  <a:lnTo>
                    <a:pt x="1123" y="334"/>
                  </a:lnTo>
                  <a:lnTo>
                    <a:pt x="1120" y="334"/>
                  </a:lnTo>
                  <a:lnTo>
                    <a:pt x="1114" y="334"/>
                  </a:lnTo>
                  <a:lnTo>
                    <a:pt x="1107" y="334"/>
                  </a:lnTo>
                  <a:lnTo>
                    <a:pt x="1100" y="334"/>
                  </a:lnTo>
                  <a:lnTo>
                    <a:pt x="1092" y="336"/>
                  </a:lnTo>
                  <a:lnTo>
                    <a:pt x="1082" y="337"/>
                  </a:lnTo>
                  <a:lnTo>
                    <a:pt x="1082" y="336"/>
                  </a:lnTo>
                  <a:lnTo>
                    <a:pt x="1081" y="336"/>
                  </a:lnTo>
                  <a:lnTo>
                    <a:pt x="1081" y="334"/>
                  </a:lnTo>
                  <a:lnTo>
                    <a:pt x="1082" y="333"/>
                  </a:lnTo>
                  <a:lnTo>
                    <a:pt x="1084" y="333"/>
                  </a:lnTo>
                  <a:lnTo>
                    <a:pt x="1089" y="329"/>
                  </a:lnTo>
                  <a:lnTo>
                    <a:pt x="1096" y="325"/>
                  </a:lnTo>
                  <a:lnTo>
                    <a:pt x="1100" y="323"/>
                  </a:lnTo>
                  <a:lnTo>
                    <a:pt x="1101" y="320"/>
                  </a:lnTo>
                  <a:lnTo>
                    <a:pt x="1103" y="320"/>
                  </a:lnTo>
                  <a:lnTo>
                    <a:pt x="1103" y="318"/>
                  </a:lnTo>
                  <a:lnTo>
                    <a:pt x="1104" y="317"/>
                  </a:lnTo>
                  <a:lnTo>
                    <a:pt x="1104" y="314"/>
                  </a:lnTo>
                  <a:lnTo>
                    <a:pt x="1104" y="312"/>
                  </a:lnTo>
                  <a:lnTo>
                    <a:pt x="1104" y="309"/>
                  </a:lnTo>
                  <a:lnTo>
                    <a:pt x="1103" y="307"/>
                  </a:lnTo>
                  <a:lnTo>
                    <a:pt x="1103" y="306"/>
                  </a:lnTo>
                  <a:lnTo>
                    <a:pt x="1100" y="303"/>
                  </a:lnTo>
                  <a:lnTo>
                    <a:pt x="1098" y="301"/>
                  </a:lnTo>
                  <a:lnTo>
                    <a:pt x="1095" y="298"/>
                  </a:lnTo>
                  <a:lnTo>
                    <a:pt x="1092" y="296"/>
                  </a:lnTo>
                  <a:lnTo>
                    <a:pt x="1087" y="295"/>
                  </a:lnTo>
                  <a:lnTo>
                    <a:pt x="1082" y="293"/>
                  </a:lnTo>
                  <a:lnTo>
                    <a:pt x="1079" y="292"/>
                  </a:lnTo>
                  <a:lnTo>
                    <a:pt x="1074" y="292"/>
                  </a:lnTo>
                  <a:lnTo>
                    <a:pt x="1071" y="292"/>
                  </a:lnTo>
                  <a:lnTo>
                    <a:pt x="1068" y="292"/>
                  </a:lnTo>
                  <a:lnTo>
                    <a:pt x="1066" y="292"/>
                  </a:lnTo>
                  <a:lnTo>
                    <a:pt x="1063" y="292"/>
                  </a:lnTo>
                  <a:lnTo>
                    <a:pt x="1062" y="292"/>
                  </a:lnTo>
                  <a:lnTo>
                    <a:pt x="1058" y="293"/>
                  </a:lnTo>
                  <a:lnTo>
                    <a:pt x="1055" y="295"/>
                  </a:lnTo>
                  <a:lnTo>
                    <a:pt x="1055" y="296"/>
                  </a:lnTo>
                  <a:lnTo>
                    <a:pt x="1054" y="299"/>
                  </a:lnTo>
                  <a:lnTo>
                    <a:pt x="1052" y="301"/>
                  </a:lnTo>
                  <a:lnTo>
                    <a:pt x="1051" y="304"/>
                  </a:lnTo>
                  <a:lnTo>
                    <a:pt x="1047" y="307"/>
                  </a:lnTo>
                  <a:lnTo>
                    <a:pt x="1046" y="312"/>
                  </a:lnTo>
                  <a:lnTo>
                    <a:pt x="1043" y="318"/>
                  </a:lnTo>
                  <a:lnTo>
                    <a:pt x="1038" y="326"/>
                  </a:lnTo>
                  <a:lnTo>
                    <a:pt x="1033" y="334"/>
                  </a:lnTo>
                  <a:lnTo>
                    <a:pt x="1030" y="342"/>
                  </a:lnTo>
                  <a:lnTo>
                    <a:pt x="1025" y="350"/>
                  </a:lnTo>
                  <a:lnTo>
                    <a:pt x="1021" y="355"/>
                  </a:lnTo>
                  <a:lnTo>
                    <a:pt x="1019" y="358"/>
                  </a:lnTo>
                  <a:lnTo>
                    <a:pt x="1017" y="359"/>
                  </a:lnTo>
                  <a:lnTo>
                    <a:pt x="1017" y="361"/>
                  </a:lnTo>
                  <a:lnTo>
                    <a:pt x="1017" y="363"/>
                  </a:lnTo>
                  <a:lnTo>
                    <a:pt x="1017" y="366"/>
                  </a:lnTo>
                  <a:lnTo>
                    <a:pt x="1017" y="369"/>
                  </a:lnTo>
                  <a:lnTo>
                    <a:pt x="1021" y="377"/>
                  </a:lnTo>
                  <a:lnTo>
                    <a:pt x="1024" y="383"/>
                  </a:lnTo>
                  <a:lnTo>
                    <a:pt x="1025" y="388"/>
                  </a:lnTo>
                  <a:lnTo>
                    <a:pt x="1025" y="391"/>
                  </a:lnTo>
                  <a:lnTo>
                    <a:pt x="1025" y="394"/>
                  </a:lnTo>
                  <a:lnTo>
                    <a:pt x="1025" y="396"/>
                  </a:lnTo>
                  <a:lnTo>
                    <a:pt x="1024" y="399"/>
                  </a:lnTo>
                  <a:lnTo>
                    <a:pt x="1024" y="400"/>
                  </a:lnTo>
                  <a:lnTo>
                    <a:pt x="1022" y="402"/>
                  </a:lnTo>
                  <a:lnTo>
                    <a:pt x="1021" y="404"/>
                  </a:lnTo>
                  <a:lnTo>
                    <a:pt x="1019" y="405"/>
                  </a:lnTo>
                  <a:lnTo>
                    <a:pt x="1016" y="407"/>
                  </a:lnTo>
                  <a:lnTo>
                    <a:pt x="1014" y="408"/>
                  </a:lnTo>
                  <a:lnTo>
                    <a:pt x="1011" y="410"/>
                  </a:lnTo>
                  <a:lnTo>
                    <a:pt x="1008" y="411"/>
                  </a:lnTo>
                  <a:lnTo>
                    <a:pt x="1005" y="411"/>
                  </a:lnTo>
                  <a:lnTo>
                    <a:pt x="1000" y="410"/>
                  </a:lnTo>
                  <a:lnTo>
                    <a:pt x="997" y="408"/>
                  </a:lnTo>
                  <a:lnTo>
                    <a:pt x="992" y="408"/>
                  </a:lnTo>
                  <a:lnTo>
                    <a:pt x="989" y="408"/>
                  </a:lnTo>
                  <a:lnTo>
                    <a:pt x="987" y="408"/>
                  </a:lnTo>
                  <a:lnTo>
                    <a:pt x="984" y="408"/>
                  </a:lnTo>
                  <a:lnTo>
                    <a:pt x="984" y="410"/>
                  </a:lnTo>
                  <a:lnTo>
                    <a:pt x="983" y="411"/>
                  </a:lnTo>
                  <a:lnTo>
                    <a:pt x="981" y="413"/>
                  </a:lnTo>
                  <a:lnTo>
                    <a:pt x="981" y="415"/>
                  </a:lnTo>
                  <a:lnTo>
                    <a:pt x="983" y="416"/>
                  </a:lnTo>
                  <a:lnTo>
                    <a:pt x="983" y="418"/>
                  </a:lnTo>
                  <a:lnTo>
                    <a:pt x="984" y="419"/>
                  </a:lnTo>
                  <a:lnTo>
                    <a:pt x="984" y="421"/>
                  </a:lnTo>
                  <a:lnTo>
                    <a:pt x="987" y="424"/>
                  </a:lnTo>
                  <a:lnTo>
                    <a:pt x="989" y="427"/>
                  </a:lnTo>
                  <a:lnTo>
                    <a:pt x="995" y="434"/>
                  </a:lnTo>
                  <a:lnTo>
                    <a:pt x="1003" y="441"/>
                  </a:lnTo>
                  <a:lnTo>
                    <a:pt x="997" y="440"/>
                  </a:lnTo>
                  <a:lnTo>
                    <a:pt x="992" y="437"/>
                  </a:lnTo>
                  <a:lnTo>
                    <a:pt x="987" y="437"/>
                  </a:lnTo>
                  <a:lnTo>
                    <a:pt x="984" y="435"/>
                  </a:lnTo>
                  <a:lnTo>
                    <a:pt x="979" y="435"/>
                  </a:lnTo>
                  <a:lnTo>
                    <a:pt x="975" y="437"/>
                  </a:lnTo>
                  <a:lnTo>
                    <a:pt x="972" y="441"/>
                  </a:lnTo>
                  <a:lnTo>
                    <a:pt x="962" y="451"/>
                  </a:lnTo>
                  <a:lnTo>
                    <a:pt x="956" y="456"/>
                  </a:lnTo>
                  <a:lnTo>
                    <a:pt x="951" y="460"/>
                  </a:lnTo>
                  <a:lnTo>
                    <a:pt x="948" y="462"/>
                  </a:lnTo>
                  <a:lnTo>
                    <a:pt x="946" y="463"/>
                  </a:lnTo>
                  <a:lnTo>
                    <a:pt x="943" y="463"/>
                  </a:lnTo>
                  <a:lnTo>
                    <a:pt x="942" y="463"/>
                  </a:lnTo>
                  <a:lnTo>
                    <a:pt x="940" y="463"/>
                  </a:lnTo>
                  <a:lnTo>
                    <a:pt x="940" y="462"/>
                  </a:lnTo>
                  <a:lnTo>
                    <a:pt x="938" y="462"/>
                  </a:lnTo>
                  <a:lnTo>
                    <a:pt x="938" y="460"/>
                  </a:lnTo>
                  <a:lnTo>
                    <a:pt x="940" y="459"/>
                  </a:lnTo>
                  <a:lnTo>
                    <a:pt x="942" y="454"/>
                  </a:lnTo>
                  <a:lnTo>
                    <a:pt x="943" y="448"/>
                  </a:lnTo>
                  <a:lnTo>
                    <a:pt x="946" y="445"/>
                  </a:lnTo>
                  <a:lnTo>
                    <a:pt x="946" y="441"/>
                  </a:lnTo>
                  <a:lnTo>
                    <a:pt x="946" y="440"/>
                  </a:lnTo>
                  <a:lnTo>
                    <a:pt x="946" y="437"/>
                  </a:lnTo>
                  <a:lnTo>
                    <a:pt x="946" y="435"/>
                  </a:lnTo>
                  <a:lnTo>
                    <a:pt x="946" y="434"/>
                  </a:lnTo>
                  <a:lnTo>
                    <a:pt x="945" y="434"/>
                  </a:lnTo>
                  <a:lnTo>
                    <a:pt x="943" y="432"/>
                  </a:lnTo>
                  <a:lnTo>
                    <a:pt x="942" y="432"/>
                  </a:lnTo>
                  <a:lnTo>
                    <a:pt x="940" y="432"/>
                  </a:lnTo>
                  <a:lnTo>
                    <a:pt x="935" y="437"/>
                  </a:lnTo>
                  <a:lnTo>
                    <a:pt x="931" y="440"/>
                  </a:lnTo>
                  <a:lnTo>
                    <a:pt x="927" y="441"/>
                  </a:lnTo>
                  <a:lnTo>
                    <a:pt x="923" y="445"/>
                  </a:lnTo>
                  <a:lnTo>
                    <a:pt x="919" y="445"/>
                  </a:lnTo>
                  <a:lnTo>
                    <a:pt x="915" y="448"/>
                  </a:lnTo>
                  <a:lnTo>
                    <a:pt x="913" y="448"/>
                  </a:lnTo>
                  <a:lnTo>
                    <a:pt x="910" y="449"/>
                  </a:lnTo>
                  <a:lnTo>
                    <a:pt x="897" y="451"/>
                  </a:lnTo>
                  <a:lnTo>
                    <a:pt x="886" y="452"/>
                  </a:lnTo>
                  <a:lnTo>
                    <a:pt x="880" y="454"/>
                  </a:lnTo>
                  <a:lnTo>
                    <a:pt x="875" y="454"/>
                  </a:lnTo>
                  <a:lnTo>
                    <a:pt x="872" y="454"/>
                  </a:lnTo>
                  <a:lnTo>
                    <a:pt x="870" y="456"/>
                  </a:lnTo>
                  <a:lnTo>
                    <a:pt x="869" y="456"/>
                  </a:lnTo>
                  <a:lnTo>
                    <a:pt x="869" y="457"/>
                  </a:lnTo>
                  <a:lnTo>
                    <a:pt x="869" y="459"/>
                  </a:lnTo>
                  <a:lnTo>
                    <a:pt x="870" y="460"/>
                  </a:lnTo>
                  <a:lnTo>
                    <a:pt x="872" y="462"/>
                  </a:lnTo>
                  <a:lnTo>
                    <a:pt x="875" y="467"/>
                  </a:lnTo>
                  <a:lnTo>
                    <a:pt x="878" y="471"/>
                  </a:lnTo>
                  <a:lnTo>
                    <a:pt x="880" y="473"/>
                  </a:lnTo>
                  <a:lnTo>
                    <a:pt x="880" y="475"/>
                  </a:lnTo>
                  <a:lnTo>
                    <a:pt x="880" y="476"/>
                  </a:lnTo>
                  <a:lnTo>
                    <a:pt x="878" y="478"/>
                  </a:lnTo>
                  <a:lnTo>
                    <a:pt x="877" y="478"/>
                  </a:lnTo>
                  <a:lnTo>
                    <a:pt x="877" y="479"/>
                  </a:lnTo>
                  <a:lnTo>
                    <a:pt x="874" y="481"/>
                  </a:lnTo>
                  <a:lnTo>
                    <a:pt x="872" y="482"/>
                  </a:lnTo>
                  <a:lnTo>
                    <a:pt x="869" y="482"/>
                  </a:lnTo>
                  <a:lnTo>
                    <a:pt x="866" y="484"/>
                  </a:lnTo>
                  <a:lnTo>
                    <a:pt x="856" y="486"/>
                  </a:lnTo>
                  <a:lnTo>
                    <a:pt x="848" y="489"/>
                  </a:lnTo>
                  <a:lnTo>
                    <a:pt x="839" y="490"/>
                  </a:lnTo>
                  <a:lnTo>
                    <a:pt x="829" y="495"/>
                  </a:lnTo>
                  <a:lnTo>
                    <a:pt x="825" y="495"/>
                  </a:lnTo>
                  <a:lnTo>
                    <a:pt x="820" y="498"/>
                  </a:lnTo>
                  <a:lnTo>
                    <a:pt x="815" y="501"/>
                  </a:lnTo>
                  <a:lnTo>
                    <a:pt x="812" y="503"/>
                  </a:lnTo>
                  <a:lnTo>
                    <a:pt x="806" y="508"/>
                  </a:lnTo>
                  <a:lnTo>
                    <a:pt x="799" y="512"/>
                  </a:lnTo>
                  <a:lnTo>
                    <a:pt x="795" y="516"/>
                  </a:lnTo>
                  <a:lnTo>
                    <a:pt x="790" y="522"/>
                  </a:lnTo>
                  <a:lnTo>
                    <a:pt x="779" y="528"/>
                  </a:lnTo>
                  <a:lnTo>
                    <a:pt x="771" y="538"/>
                  </a:lnTo>
                  <a:lnTo>
                    <a:pt x="765" y="547"/>
                  </a:lnTo>
                  <a:lnTo>
                    <a:pt x="757" y="557"/>
                  </a:lnTo>
                  <a:lnTo>
                    <a:pt x="750" y="564"/>
                  </a:lnTo>
                  <a:lnTo>
                    <a:pt x="744" y="575"/>
                  </a:lnTo>
                  <a:lnTo>
                    <a:pt x="742" y="577"/>
                  </a:lnTo>
                  <a:lnTo>
                    <a:pt x="741" y="580"/>
                  </a:lnTo>
                  <a:lnTo>
                    <a:pt x="741" y="582"/>
                  </a:lnTo>
                  <a:lnTo>
                    <a:pt x="739" y="585"/>
                  </a:lnTo>
                  <a:lnTo>
                    <a:pt x="741" y="590"/>
                  </a:lnTo>
                  <a:lnTo>
                    <a:pt x="741" y="593"/>
                  </a:lnTo>
                  <a:lnTo>
                    <a:pt x="741" y="596"/>
                  </a:lnTo>
                  <a:lnTo>
                    <a:pt x="742" y="601"/>
                  </a:lnTo>
                  <a:lnTo>
                    <a:pt x="746" y="609"/>
                  </a:lnTo>
                  <a:lnTo>
                    <a:pt x="749" y="618"/>
                  </a:lnTo>
                  <a:lnTo>
                    <a:pt x="750" y="626"/>
                  </a:lnTo>
                  <a:lnTo>
                    <a:pt x="754" y="634"/>
                  </a:lnTo>
                  <a:lnTo>
                    <a:pt x="757" y="642"/>
                  </a:lnTo>
                  <a:lnTo>
                    <a:pt x="758" y="646"/>
                  </a:lnTo>
                  <a:lnTo>
                    <a:pt x="758" y="648"/>
                  </a:lnTo>
                  <a:lnTo>
                    <a:pt x="758" y="651"/>
                  </a:lnTo>
                  <a:lnTo>
                    <a:pt x="758" y="653"/>
                  </a:lnTo>
                  <a:lnTo>
                    <a:pt x="758" y="654"/>
                  </a:lnTo>
                  <a:lnTo>
                    <a:pt x="757" y="654"/>
                  </a:lnTo>
                  <a:lnTo>
                    <a:pt x="754" y="654"/>
                  </a:lnTo>
                  <a:lnTo>
                    <a:pt x="752" y="653"/>
                  </a:lnTo>
                  <a:lnTo>
                    <a:pt x="749" y="651"/>
                  </a:lnTo>
                  <a:lnTo>
                    <a:pt x="746" y="648"/>
                  </a:lnTo>
                  <a:lnTo>
                    <a:pt x="741" y="645"/>
                  </a:lnTo>
                  <a:lnTo>
                    <a:pt x="736" y="642"/>
                  </a:lnTo>
                  <a:lnTo>
                    <a:pt x="725" y="643"/>
                  </a:lnTo>
                  <a:lnTo>
                    <a:pt x="717" y="645"/>
                  </a:lnTo>
                  <a:lnTo>
                    <a:pt x="709" y="646"/>
                  </a:lnTo>
                  <a:lnTo>
                    <a:pt x="701" y="646"/>
                  </a:lnTo>
                  <a:lnTo>
                    <a:pt x="687" y="648"/>
                  </a:lnTo>
                  <a:lnTo>
                    <a:pt x="676" y="648"/>
                  </a:lnTo>
                  <a:lnTo>
                    <a:pt x="663" y="648"/>
                  </a:lnTo>
                  <a:lnTo>
                    <a:pt x="654" y="648"/>
                  </a:lnTo>
                  <a:lnTo>
                    <a:pt x="643" y="648"/>
                  </a:lnTo>
                  <a:lnTo>
                    <a:pt x="630" y="646"/>
                  </a:lnTo>
                  <a:lnTo>
                    <a:pt x="622" y="648"/>
                  </a:lnTo>
                  <a:lnTo>
                    <a:pt x="616" y="648"/>
                  </a:lnTo>
                  <a:lnTo>
                    <a:pt x="610" y="648"/>
                  </a:lnTo>
                  <a:lnTo>
                    <a:pt x="603" y="651"/>
                  </a:lnTo>
                  <a:lnTo>
                    <a:pt x="600" y="653"/>
                  </a:lnTo>
                  <a:lnTo>
                    <a:pt x="596" y="656"/>
                  </a:lnTo>
                  <a:lnTo>
                    <a:pt x="594" y="656"/>
                  </a:lnTo>
                  <a:lnTo>
                    <a:pt x="592" y="659"/>
                  </a:lnTo>
                  <a:lnTo>
                    <a:pt x="591" y="662"/>
                  </a:lnTo>
                  <a:lnTo>
                    <a:pt x="589" y="664"/>
                  </a:lnTo>
                  <a:lnTo>
                    <a:pt x="589" y="665"/>
                  </a:lnTo>
                  <a:lnTo>
                    <a:pt x="589" y="667"/>
                  </a:lnTo>
                  <a:lnTo>
                    <a:pt x="589" y="670"/>
                  </a:lnTo>
                  <a:lnTo>
                    <a:pt x="589" y="675"/>
                  </a:lnTo>
                  <a:lnTo>
                    <a:pt x="589" y="680"/>
                  </a:lnTo>
                  <a:lnTo>
                    <a:pt x="592" y="686"/>
                  </a:lnTo>
                  <a:lnTo>
                    <a:pt x="594" y="692"/>
                  </a:lnTo>
                  <a:lnTo>
                    <a:pt x="597" y="700"/>
                  </a:lnTo>
                  <a:lnTo>
                    <a:pt x="602" y="708"/>
                  </a:lnTo>
                  <a:lnTo>
                    <a:pt x="602" y="710"/>
                  </a:lnTo>
                  <a:lnTo>
                    <a:pt x="602" y="713"/>
                  </a:lnTo>
                  <a:lnTo>
                    <a:pt x="602" y="716"/>
                  </a:lnTo>
                  <a:lnTo>
                    <a:pt x="602" y="719"/>
                  </a:lnTo>
                  <a:lnTo>
                    <a:pt x="599" y="728"/>
                  </a:lnTo>
                  <a:lnTo>
                    <a:pt x="597" y="736"/>
                  </a:lnTo>
                  <a:lnTo>
                    <a:pt x="597" y="741"/>
                  </a:lnTo>
                  <a:lnTo>
                    <a:pt x="597" y="744"/>
                  </a:lnTo>
                  <a:lnTo>
                    <a:pt x="597" y="749"/>
                  </a:lnTo>
                  <a:lnTo>
                    <a:pt x="599" y="754"/>
                  </a:lnTo>
                  <a:lnTo>
                    <a:pt x="600" y="754"/>
                  </a:lnTo>
                  <a:lnTo>
                    <a:pt x="602" y="757"/>
                  </a:lnTo>
                  <a:lnTo>
                    <a:pt x="602" y="758"/>
                  </a:lnTo>
                  <a:lnTo>
                    <a:pt x="605" y="760"/>
                  </a:lnTo>
                  <a:lnTo>
                    <a:pt x="608" y="762"/>
                  </a:lnTo>
                  <a:lnTo>
                    <a:pt x="610" y="763"/>
                  </a:lnTo>
                  <a:lnTo>
                    <a:pt x="613" y="765"/>
                  </a:lnTo>
                  <a:lnTo>
                    <a:pt x="616" y="766"/>
                  </a:lnTo>
                  <a:lnTo>
                    <a:pt x="618" y="766"/>
                  </a:lnTo>
                  <a:lnTo>
                    <a:pt x="618" y="765"/>
                  </a:lnTo>
                  <a:lnTo>
                    <a:pt x="619" y="765"/>
                  </a:lnTo>
                  <a:lnTo>
                    <a:pt x="621" y="766"/>
                  </a:lnTo>
                  <a:lnTo>
                    <a:pt x="622" y="766"/>
                  </a:lnTo>
                  <a:lnTo>
                    <a:pt x="622" y="769"/>
                  </a:lnTo>
                  <a:lnTo>
                    <a:pt x="626" y="774"/>
                  </a:lnTo>
                  <a:lnTo>
                    <a:pt x="629" y="782"/>
                  </a:lnTo>
                  <a:lnTo>
                    <a:pt x="629" y="784"/>
                  </a:lnTo>
                  <a:lnTo>
                    <a:pt x="630" y="788"/>
                  </a:lnTo>
                  <a:lnTo>
                    <a:pt x="630" y="792"/>
                  </a:lnTo>
                  <a:lnTo>
                    <a:pt x="632" y="795"/>
                  </a:lnTo>
                  <a:lnTo>
                    <a:pt x="633" y="795"/>
                  </a:lnTo>
                  <a:lnTo>
                    <a:pt x="635" y="796"/>
                  </a:lnTo>
                  <a:lnTo>
                    <a:pt x="637" y="796"/>
                  </a:lnTo>
                  <a:lnTo>
                    <a:pt x="638" y="796"/>
                  </a:lnTo>
                  <a:lnTo>
                    <a:pt x="638" y="795"/>
                  </a:lnTo>
                  <a:lnTo>
                    <a:pt x="641" y="795"/>
                  </a:lnTo>
                  <a:lnTo>
                    <a:pt x="646" y="803"/>
                  </a:lnTo>
                  <a:lnTo>
                    <a:pt x="651" y="810"/>
                  </a:lnTo>
                  <a:lnTo>
                    <a:pt x="652" y="812"/>
                  </a:lnTo>
                  <a:lnTo>
                    <a:pt x="654" y="817"/>
                  </a:lnTo>
                  <a:lnTo>
                    <a:pt x="656" y="820"/>
                  </a:lnTo>
                  <a:lnTo>
                    <a:pt x="656" y="823"/>
                  </a:lnTo>
                  <a:lnTo>
                    <a:pt x="656" y="825"/>
                  </a:lnTo>
                  <a:lnTo>
                    <a:pt x="656" y="829"/>
                  </a:lnTo>
                  <a:lnTo>
                    <a:pt x="654" y="833"/>
                  </a:lnTo>
                  <a:lnTo>
                    <a:pt x="652" y="836"/>
                  </a:lnTo>
                  <a:lnTo>
                    <a:pt x="649" y="840"/>
                  </a:lnTo>
                  <a:lnTo>
                    <a:pt x="646" y="845"/>
                  </a:lnTo>
                  <a:lnTo>
                    <a:pt x="643" y="848"/>
                  </a:lnTo>
                  <a:lnTo>
                    <a:pt x="638" y="853"/>
                  </a:lnTo>
                  <a:lnTo>
                    <a:pt x="641" y="863"/>
                  </a:lnTo>
                  <a:lnTo>
                    <a:pt x="648" y="878"/>
                  </a:lnTo>
                  <a:lnTo>
                    <a:pt x="651" y="889"/>
                  </a:lnTo>
                  <a:lnTo>
                    <a:pt x="654" y="899"/>
                  </a:lnTo>
                  <a:lnTo>
                    <a:pt x="654" y="904"/>
                  </a:lnTo>
                  <a:lnTo>
                    <a:pt x="654" y="907"/>
                  </a:lnTo>
                  <a:lnTo>
                    <a:pt x="654" y="911"/>
                  </a:lnTo>
                  <a:lnTo>
                    <a:pt x="654" y="915"/>
                  </a:lnTo>
                  <a:lnTo>
                    <a:pt x="649" y="921"/>
                  </a:lnTo>
                  <a:lnTo>
                    <a:pt x="646" y="927"/>
                  </a:lnTo>
                  <a:lnTo>
                    <a:pt x="643" y="932"/>
                  </a:lnTo>
                  <a:lnTo>
                    <a:pt x="638" y="937"/>
                  </a:lnTo>
                  <a:lnTo>
                    <a:pt x="637" y="940"/>
                  </a:lnTo>
                  <a:lnTo>
                    <a:pt x="635" y="941"/>
                  </a:lnTo>
                  <a:lnTo>
                    <a:pt x="633" y="943"/>
                  </a:lnTo>
                  <a:lnTo>
                    <a:pt x="630" y="943"/>
                  </a:lnTo>
                  <a:lnTo>
                    <a:pt x="629" y="941"/>
                  </a:lnTo>
                  <a:lnTo>
                    <a:pt x="629" y="940"/>
                  </a:lnTo>
                  <a:lnTo>
                    <a:pt x="627" y="938"/>
                  </a:lnTo>
                  <a:lnTo>
                    <a:pt x="626" y="935"/>
                  </a:lnTo>
                  <a:lnTo>
                    <a:pt x="622" y="930"/>
                  </a:lnTo>
                  <a:lnTo>
                    <a:pt x="629" y="919"/>
                  </a:lnTo>
                  <a:lnTo>
                    <a:pt x="632" y="908"/>
                  </a:lnTo>
                  <a:lnTo>
                    <a:pt x="635" y="899"/>
                  </a:lnTo>
                  <a:lnTo>
                    <a:pt x="637" y="891"/>
                  </a:lnTo>
                  <a:lnTo>
                    <a:pt x="637" y="885"/>
                  </a:lnTo>
                  <a:lnTo>
                    <a:pt x="637" y="878"/>
                  </a:lnTo>
                  <a:lnTo>
                    <a:pt x="637" y="877"/>
                  </a:lnTo>
                  <a:lnTo>
                    <a:pt x="637" y="875"/>
                  </a:lnTo>
                  <a:lnTo>
                    <a:pt x="635" y="874"/>
                  </a:lnTo>
                  <a:lnTo>
                    <a:pt x="633" y="874"/>
                  </a:lnTo>
                  <a:lnTo>
                    <a:pt x="632" y="874"/>
                  </a:lnTo>
                  <a:lnTo>
                    <a:pt x="630" y="874"/>
                  </a:lnTo>
                  <a:lnTo>
                    <a:pt x="629" y="874"/>
                  </a:lnTo>
                  <a:lnTo>
                    <a:pt x="629" y="875"/>
                  </a:lnTo>
                  <a:lnTo>
                    <a:pt x="626" y="877"/>
                  </a:lnTo>
                  <a:lnTo>
                    <a:pt x="626" y="878"/>
                  </a:lnTo>
                  <a:lnTo>
                    <a:pt x="622" y="880"/>
                  </a:lnTo>
                  <a:lnTo>
                    <a:pt x="619" y="886"/>
                  </a:lnTo>
                  <a:lnTo>
                    <a:pt x="616" y="896"/>
                  </a:lnTo>
                  <a:lnTo>
                    <a:pt x="613" y="905"/>
                  </a:lnTo>
                  <a:lnTo>
                    <a:pt x="608" y="918"/>
                  </a:lnTo>
                  <a:lnTo>
                    <a:pt x="608" y="911"/>
                  </a:lnTo>
                  <a:lnTo>
                    <a:pt x="610" y="902"/>
                  </a:lnTo>
                  <a:lnTo>
                    <a:pt x="613" y="892"/>
                  </a:lnTo>
                  <a:lnTo>
                    <a:pt x="616" y="880"/>
                  </a:lnTo>
                  <a:lnTo>
                    <a:pt x="618" y="869"/>
                  </a:lnTo>
                  <a:lnTo>
                    <a:pt x="621" y="858"/>
                  </a:lnTo>
                  <a:lnTo>
                    <a:pt x="622" y="853"/>
                  </a:lnTo>
                  <a:lnTo>
                    <a:pt x="624" y="848"/>
                  </a:lnTo>
                  <a:lnTo>
                    <a:pt x="626" y="845"/>
                  </a:lnTo>
                  <a:lnTo>
                    <a:pt x="627" y="844"/>
                  </a:lnTo>
                  <a:lnTo>
                    <a:pt x="633" y="833"/>
                  </a:lnTo>
                  <a:lnTo>
                    <a:pt x="638" y="823"/>
                  </a:lnTo>
                  <a:lnTo>
                    <a:pt x="638" y="820"/>
                  </a:lnTo>
                  <a:lnTo>
                    <a:pt x="641" y="817"/>
                  </a:lnTo>
                  <a:lnTo>
                    <a:pt x="641" y="814"/>
                  </a:lnTo>
                  <a:lnTo>
                    <a:pt x="641" y="812"/>
                  </a:lnTo>
                  <a:lnTo>
                    <a:pt x="641" y="810"/>
                  </a:lnTo>
                  <a:lnTo>
                    <a:pt x="641" y="809"/>
                  </a:lnTo>
                  <a:lnTo>
                    <a:pt x="640" y="807"/>
                  </a:lnTo>
                  <a:lnTo>
                    <a:pt x="638" y="807"/>
                  </a:lnTo>
                  <a:lnTo>
                    <a:pt x="638" y="806"/>
                  </a:lnTo>
                  <a:lnTo>
                    <a:pt x="637" y="806"/>
                  </a:lnTo>
                  <a:lnTo>
                    <a:pt x="635" y="806"/>
                  </a:lnTo>
                  <a:lnTo>
                    <a:pt x="633" y="806"/>
                  </a:lnTo>
                  <a:lnTo>
                    <a:pt x="626" y="807"/>
                  </a:lnTo>
                  <a:lnTo>
                    <a:pt x="616" y="807"/>
                  </a:lnTo>
                  <a:lnTo>
                    <a:pt x="613" y="807"/>
                  </a:lnTo>
                  <a:lnTo>
                    <a:pt x="611" y="807"/>
                  </a:lnTo>
                  <a:lnTo>
                    <a:pt x="608" y="807"/>
                  </a:lnTo>
                  <a:lnTo>
                    <a:pt x="607" y="806"/>
                  </a:lnTo>
                  <a:lnTo>
                    <a:pt x="605" y="804"/>
                  </a:lnTo>
                  <a:lnTo>
                    <a:pt x="603" y="803"/>
                  </a:lnTo>
                  <a:lnTo>
                    <a:pt x="602" y="801"/>
                  </a:lnTo>
                  <a:lnTo>
                    <a:pt x="602" y="798"/>
                  </a:lnTo>
                  <a:lnTo>
                    <a:pt x="599" y="793"/>
                  </a:lnTo>
                  <a:lnTo>
                    <a:pt x="596" y="788"/>
                  </a:lnTo>
                  <a:lnTo>
                    <a:pt x="594" y="784"/>
                  </a:lnTo>
                  <a:lnTo>
                    <a:pt x="591" y="781"/>
                  </a:lnTo>
                  <a:lnTo>
                    <a:pt x="586" y="774"/>
                  </a:lnTo>
                  <a:lnTo>
                    <a:pt x="581" y="769"/>
                  </a:lnTo>
                  <a:lnTo>
                    <a:pt x="575" y="763"/>
                  </a:lnTo>
                  <a:lnTo>
                    <a:pt x="569" y="758"/>
                  </a:lnTo>
                  <a:lnTo>
                    <a:pt x="561" y="751"/>
                  </a:lnTo>
                  <a:lnTo>
                    <a:pt x="551" y="743"/>
                  </a:lnTo>
                  <a:lnTo>
                    <a:pt x="551" y="744"/>
                  </a:lnTo>
                  <a:lnTo>
                    <a:pt x="550" y="744"/>
                  </a:lnTo>
                  <a:lnTo>
                    <a:pt x="547" y="746"/>
                  </a:lnTo>
                  <a:lnTo>
                    <a:pt x="543" y="746"/>
                  </a:lnTo>
                  <a:lnTo>
                    <a:pt x="542" y="749"/>
                  </a:lnTo>
                  <a:lnTo>
                    <a:pt x="540" y="751"/>
                  </a:lnTo>
                  <a:lnTo>
                    <a:pt x="540" y="752"/>
                  </a:lnTo>
                  <a:lnTo>
                    <a:pt x="542" y="755"/>
                  </a:lnTo>
                  <a:lnTo>
                    <a:pt x="542" y="758"/>
                  </a:lnTo>
                  <a:lnTo>
                    <a:pt x="542" y="763"/>
                  </a:lnTo>
                  <a:lnTo>
                    <a:pt x="543" y="766"/>
                  </a:lnTo>
                  <a:lnTo>
                    <a:pt x="543" y="768"/>
                  </a:lnTo>
                  <a:lnTo>
                    <a:pt x="547" y="769"/>
                  </a:lnTo>
                  <a:lnTo>
                    <a:pt x="548" y="771"/>
                  </a:lnTo>
                  <a:lnTo>
                    <a:pt x="551" y="773"/>
                  </a:lnTo>
                  <a:lnTo>
                    <a:pt x="554" y="774"/>
                  </a:lnTo>
                  <a:lnTo>
                    <a:pt x="558" y="776"/>
                  </a:lnTo>
                  <a:lnTo>
                    <a:pt x="562" y="776"/>
                  </a:lnTo>
                  <a:lnTo>
                    <a:pt x="564" y="777"/>
                  </a:lnTo>
                  <a:lnTo>
                    <a:pt x="567" y="779"/>
                  </a:lnTo>
                  <a:lnTo>
                    <a:pt x="570" y="781"/>
                  </a:lnTo>
                  <a:lnTo>
                    <a:pt x="572" y="784"/>
                  </a:lnTo>
                  <a:lnTo>
                    <a:pt x="575" y="785"/>
                  </a:lnTo>
                  <a:lnTo>
                    <a:pt x="575" y="790"/>
                  </a:lnTo>
                  <a:lnTo>
                    <a:pt x="577" y="792"/>
                  </a:lnTo>
                  <a:lnTo>
                    <a:pt x="577" y="798"/>
                  </a:lnTo>
                  <a:lnTo>
                    <a:pt x="577" y="803"/>
                  </a:lnTo>
                  <a:lnTo>
                    <a:pt x="575" y="807"/>
                  </a:lnTo>
                  <a:lnTo>
                    <a:pt x="575" y="810"/>
                  </a:lnTo>
                  <a:lnTo>
                    <a:pt x="572" y="812"/>
                  </a:lnTo>
                  <a:lnTo>
                    <a:pt x="570" y="815"/>
                  </a:lnTo>
                  <a:lnTo>
                    <a:pt x="567" y="815"/>
                  </a:lnTo>
                  <a:lnTo>
                    <a:pt x="566" y="817"/>
                  </a:lnTo>
                  <a:lnTo>
                    <a:pt x="559" y="820"/>
                  </a:lnTo>
                  <a:lnTo>
                    <a:pt x="554" y="822"/>
                  </a:lnTo>
                  <a:lnTo>
                    <a:pt x="553" y="823"/>
                  </a:lnTo>
                  <a:lnTo>
                    <a:pt x="551" y="825"/>
                  </a:lnTo>
                  <a:lnTo>
                    <a:pt x="551" y="826"/>
                  </a:lnTo>
                  <a:lnTo>
                    <a:pt x="551" y="829"/>
                  </a:lnTo>
                  <a:lnTo>
                    <a:pt x="551" y="833"/>
                  </a:lnTo>
                  <a:lnTo>
                    <a:pt x="551" y="836"/>
                  </a:lnTo>
                  <a:lnTo>
                    <a:pt x="553" y="839"/>
                  </a:lnTo>
                  <a:lnTo>
                    <a:pt x="554" y="842"/>
                  </a:lnTo>
                  <a:lnTo>
                    <a:pt x="559" y="847"/>
                  </a:lnTo>
                  <a:lnTo>
                    <a:pt x="564" y="853"/>
                  </a:lnTo>
                  <a:lnTo>
                    <a:pt x="566" y="856"/>
                  </a:lnTo>
                  <a:lnTo>
                    <a:pt x="569" y="859"/>
                  </a:lnTo>
                  <a:lnTo>
                    <a:pt x="570" y="864"/>
                  </a:lnTo>
                  <a:lnTo>
                    <a:pt x="572" y="867"/>
                  </a:lnTo>
                  <a:lnTo>
                    <a:pt x="575" y="870"/>
                  </a:lnTo>
                  <a:lnTo>
                    <a:pt x="575" y="875"/>
                  </a:lnTo>
                  <a:lnTo>
                    <a:pt x="577" y="880"/>
                  </a:lnTo>
                  <a:lnTo>
                    <a:pt x="577" y="886"/>
                  </a:lnTo>
                  <a:lnTo>
                    <a:pt x="577" y="891"/>
                  </a:lnTo>
                  <a:lnTo>
                    <a:pt x="577" y="894"/>
                  </a:lnTo>
                  <a:lnTo>
                    <a:pt x="575" y="897"/>
                  </a:lnTo>
                  <a:lnTo>
                    <a:pt x="575" y="902"/>
                  </a:lnTo>
                  <a:lnTo>
                    <a:pt x="573" y="904"/>
                  </a:lnTo>
                  <a:lnTo>
                    <a:pt x="572" y="907"/>
                  </a:lnTo>
                  <a:lnTo>
                    <a:pt x="570" y="910"/>
                  </a:lnTo>
                  <a:lnTo>
                    <a:pt x="569" y="911"/>
                  </a:lnTo>
                  <a:lnTo>
                    <a:pt x="564" y="916"/>
                  </a:lnTo>
                  <a:lnTo>
                    <a:pt x="561" y="919"/>
                  </a:lnTo>
                  <a:lnTo>
                    <a:pt x="556" y="921"/>
                  </a:lnTo>
                  <a:lnTo>
                    <a:pt x="551" y="924"/>
                  </a:lnTo>
                  <a:lnTo>
                    <a:pt x="547" y="927"/>
                  </a:lnTo>
                  <a:lnTo>
                    <a:pt x="542" y="930"/>
                  </a:lnTo>
                  <a:lnTo>
                    <a:pt x="536" y="932"/>
                  </a:lnTo>
                  <a:lnTo>
                    <a:pt x="532" y="937"/>
                  </a:lnTo>
                  <a:lnTo>
                    <a:pt x="531" y="938"/>
                  </a:lnTo>
                  <a:lnTo>
                    <a:pt x="529" y="940"/>
                  </a:lnTo>
                  <a:lnTo>
                    <a:pt x="528" y="943"/>
                  </a:lnTo>
                  <a:lnTo>
                    <a:pt x="526" y="946"/>
                  </a:lnTo>
                  <a:lnTo>
                    <a:pt x="526" y="949"/>
                  </a:lnTo>
                  <a:lnTo>
                    <a:pt x="524" y="952"/>
                  </a:lnTo>
                  <a:lnTo>
                    <a:pt x="524" y="957"/>
                  </a:lnTo>
                  <a:lnTo>
                    <a:pt x="524" y="960"/>
                  </a:lnTo>
                  <a:lnTo>
                    <a:pt x="524" y="965"/>
                  </a:lnTo>
                  <a:lnTo>
                    <a:pt x="526" y="968"/>
                  </a:lnTo>
                  <a:lnTo>
                    <a:pt x="528" y="973"/>
                  </a:lnTo>
                  <a:lnTo>
                    <a:pt x="529" y="976"/>
                  </a:lnTo>
                  <a:lnTo>
                    <a:pt x="534" y="981"/>
                  </a:lnTo>
                  <a:lnTo>
                    <a:pt x="536" y="984"/>
                  </a:lnTo>
                  <a:lnTo>
                    <a:pt x="539" y="989"/>
                  </a:lnTo>
                  <a:lnTo>
                    <a:pt x="543" y="993"/>
                  </a:lnTo>
                  <a:lnTo>
                    <a:pt x="548" y="997"/>
                  </a:lnTo>
                  <a:lnTo>
                    <a:pt x="551" y="1000"/>
                  </a:lnTo>
                  <a:lnTo>
                    <a:pt x="556" y="1003"/>
                  </a:lnTo>
                  <a:lnTo>
                    <a:pt x="561" y="1006"/>
                  </a:lnTo>
                  <a:lnTo>
                    <a:pt x="566" y="1008"/>
                  </a:lnTo>
                  <a:lnTo>
                    <a:pt x="569" y="1009"/>
                  </a:lnTo>
                  <a:lnTo>
                    <a:pt x="573" y="1011"/>
                  </a:lnTo>
                  <a:lnTo>
                    <a:pt x="577" y="1011"/>
                  </a:lnTo>
                  <a:lnTo>
                    <a:pt x="580" y="1011"/>
                  </a:lnTo>
                  <a:lnTo>
                    <a:pt x="583" y="1011"/>
                  </a:lnTo>
                  <a:lnTo>
                    <a:pt x="584" y="1009"/>
                  </a:lnTo>
                  <a:lnTo>
                    <a:pt x="586" y="1009"/>
                  </a:lnTo>
                  <a:lnTo>
                    <a:pt x="588" y="1009"/>
                  </a:lnTo>
                  <a:lnTo>
                    <a:pt x="589" y="1009"/>
                  </a:lnTo>
                  <a:lnTo>
                    <a:pt x="592" y="1009"/>
                  </a:lnTo>
                  <a:lnTo>
                    <a:pt x="596" y="1014"/>
                  </a:lnTo>
                  <a:lnTo>
                    <a:pt x="599" y="1017"/>
                  </a:lnTo>
                  <a:lnTo>
                    <a:pt x="602" y="1020"/>
                  </a:lnTo>
                  <a:lnTo>
                    <a:pt x="607" y="1025"/>
                  </a:lnTo>
                  <a:lnTo>
                    <a:pt x="608" y="1025"/>
                  </a:lnTo>
                  <a:lnTo>
                    <a:pt x="610" y="1028"/>
                  </a:lnTo>
                  <a:lnTo>
                    <a:pt x="611" y="1030"/>
                  </a:lnTo>
                  <a:lnTo>
                    <a:pt x="613" y="1033"/>
                  </a:lnTo>
                  <a:lnTo>
                    <a:pt x="615" y="1036"/>
                  </a:lnTo>
                  <a:lnTo>
                    <a:pt x="616" y="1039"/>
                  </a:lnTo>
                  <a:lnTo>
                    <a:pt x="616" y="1042"/>
                  </a:lnTo>
                  <a:lnTo>
                    <a:pt x="616" y="1047"/>
                  </a:lnTo>
                  <a:lnTo>
                    <a:pt x="616" y="1050"/>
                  </a:lnTo>
                  <a:lnTo>
                    <a:pt x="616" y="1055"/>
                  </a:lnTo>
                  <a:lnTo>
                    <a:pt x="616" y="1057"/>
                  </a:lnTo>
                  <a:lnTo>
                    <a:pt x="616" y="1060"/>
                  </a:lnTo>
                  <a:lnTo>
                    <a:pt x="613" y="1063"/>
                  </a:lnTo>
                  <a:lnTo>
                    <a:pt x="611" y="1064"/>
                  </a:lnTo>
                  <a:lnTo>
                    <a:pt x="610" y="1068"/>
                  </a:lnTo>
                  <a:lnTo>
                    <a:pt x="607" y="1069"/>
                  </a:lnTo>
                  <a:lnTo>
                    <a:pt x="608" y="1079"/>
                  </a:lnTo>
                  <a:lnTo>
                    <a:pt x="610" y="1083"/>
                  </a:lnTo>
                  <a:lnTo>
                    <a:pt x="608" y="1079"/>
                  </a:lnTo>
                  <a:lnTo>
                    <a:pt x="610" y="1083"/>
                  </a:lnTo>
                  <a:lnTo>
                    <a:pt x="608" y="1083"/>
                  </a:lnTo>
                  <a:lnTo>
                    <a:pt x="608" y="1088"/>
                  </a:lnTo>
                  <a:lnTo>
                    <a:pt x="608" y="1091"/>
                  </a:lnTo>
                  <a:lnTo>
                    <a:pt x="607" y="1094"/>
                  </a:lnTo>
                  <a:lnTo>
                    <a:pt x="605" y="1098"/>
                  </a:lnTo>
                  <a:lnTo>
                    <a:pt x="602" y="1101"/>
                  </a:lnTo>
                  <a:lnTo>
                    <a:pt x="600" y="1104"/>
                  </a:lnTo>
                  <a:lnTo>
                    <a:pt x="597" y="1109"/>
                  </a:lnTo>
                  <a:lnTo>
                    <a:pt x="596" y="1110"/>
                  </a:lnTo>
                  <a:lnTo>
                    <a:pt x="589" y="1112"/>
                  </a:lnTo>
                  <a:lnTo>
                    <a:pt x="584" y="1112"/>
                  </a:lnTo>
                  <a:lnTo>
                    <a:pt x="581" y="1113"/>
                  </a:lnTo>
                  <a:lnTo>
                    <a:pt x="580" y="1115"/>
                  </a:lnTo>
                  <a:lnTo>
                    <a:pt x="580" y="1116"/>
                  </a:lnTo>
                  <a:lnTo>
                    <a:pt x="580" y="1118"/>
                  </a:lnTo>
                  <a:lnTo>
                    <a:pt x="580" y="1120"/>
                  </a:lnTo>
                  <a:lnTo>
                    <a:pt x="580" y="1121"/>
                  </a:lnTo>
                  <a:lnTo>
                    <a:pt x="580" y="1129"/>
                  </a:lnTo>
                  <a:lnTo>
                    <a:pt x="581" y="1137"/>
                  </a:lnTo>
                  <a:lnTo>
                    <a:pt x="584" y="1148"/>
                  </a:lnTo>
                  <a:lnTo>
                    <a:pt x="586" y="1159"/>
                  </a:lnTo>
                  <a:lnTo>
                    <a:pt x="588" y="1170"/>
                  </a:lnTo>
                  <a:lnTo>
                    <a:pt x="589" y="1178"/>
                  </a:lnTo>
                  <a:lnTo>
                    <a:pt x="592" y="1183"/>
                  </a:lnTo>
                  <a:lnTo>
                    <a:pt x="597" y="1189"/>
                  </a:lnTo>
                  <a:lnTo>
                    <a:pt x="603" y="1192"/>
                  </a:lnTo>
                  <a:lnTo>
                    <a:pt x="605" y="1194"/>
                  </a:lnTo>
                  <a:lnTo>
                    <a:pt x="605" y="1195"/>
                  </a:lnTo>
                  <a:lnTo>
                    <a:pt x="607" y="1197"/>
                  </a:lnTo>
                  <a:lnTo>
                    <a:pt x="608" y="1198"/>
                  </a:lnTo>
                  <a:lnTo>
                    <a:pt x="608" y="1200"/>
                  </a:lnTo>
                  <a:lnTo>
                    <a:pt x="608" y="1203"/>
                  </a:lnTo>
                  <a:lnTo>
                    <a:pt x="608" y="1206"/>
                  </a:lnTo>
                  <a:lnTo>
                    <a:pt x="608" y="1210"/>
                  </a:lnTo>
                  <a:lnTo>
                    <a:pt x="608" y="1221"/>
                  </a:lnTo>
                  <a:lnTo>
                    <a:pt x="608" y="1232"/>
                  </a:lnTo>
                  <a:lnTo>
                    <a:pt x="608" y="1244"/>
                  </a:lnTo>
                  <a:lnTo>
                    <a:pt x="608" y="1260"/>
                  </a:lnTo>
                  <a:lnTo>
                    <a:pt x="608" y="1265"/>
                  </a:lnTo>
                  <a:lnTo>
                    <a:pt x="610" y="1266"/>
                  </a:lnTo>
                  <a:lnTo>
                    <a:pt x="610" y="1271"/>
                  </a:lnTo>
                  <a:lnTo>
                    <a:pt x="611" y="1274"/>
                  </a:lnTo>
                  <a:lnTo>
                    <a:pt x="613" y="1277"/>
                  </a:lnTo>
                  <a:lnTo>
                    <a:pt x="616" y="1279"/>
                  </a:lnTo>
                  <a:lnTo>
                    <a:pt x="618" y="1282"/>
                  </a:lnTo>
                  <a:lnTo>
                    <a:pt x="621" y="1284"/>
                  </a:lnTo>
                  <a:lnTo>
                    <a:pt x="626" y="1287"/>
                  </a:lnTo>
                  <a:lnTo>
                    <a:pt x="630" y="1292"/>
                  </a:lnTo>
                  <a:lnTo>
                    <a:pt x="637" y="1295"/>
                  </a:lnTo>
                  <a:lnTo>
                    <a:pt x="643" y="1298"/>
                  </a:lnTo>
                  <a:lnTo>
                    <a:pt x="643" y="1334"/>
                  </a:lnTo>
                  <a:lnTo>
                    <a:pt x="643" y="1336"/>
                  </a:lnTo>
                  <a:lnTo>
                    <a:pt x="640" y="1340"/>
                  </a:lnTo>
                  <a:lnTo>
                    <a:pt x="638" y="1342"/>
                  </a:lnTo>
                  <a:lnTo>
                    <a:pt x="638" y="1345"/>
                  </a:lnTo>
                  <a:lnTo>
                    <a:pt x="637" y="1347"/>
                  </a:lnTo>
                  <a:lnTo>
                    <a:pt x="637" y="1348"/>
                  </a:lnTo>
                  <a:lnTo>
                    <a:pt x="637" y="1351"/>
                  </a:lnTo>
                  <a:lnTo>
                    <a:pt x="638" y="1353"/>
                  </a:lnTo>
                  <a:lnTo>
                    <a:pt x="640" y="1356"/>
                  </a:lnTo>
                  <a:lnTo>
                    <a:pt x="643" y="1358"/>
                  </a:lnTo>
                  <a:lnTo>
                    <a:pt x="645" y="1359"/>
                  </a:lnTo>
                  <a:lnTo>
                    <a:pt x="648" y="1361"/>
                  </a:lnTo>
                  <a:lnTo>
                    <a:pt x="651" y="1364"/>
                  </a:lnTo>
                  <a:lnTo>
                    <a:pt x="656" y="1366"/>
                  </a:lnTo>
                  <a:lnTo>
                    <a:pt x="663" y="1367"/>
                  </a:lnTo>
                  <a:lnTo>
                    <a:pt x="670" y="1369"/>
                  </a:lnTo>
                  <a:lnTo>
                    <a:pt x="678" y="1372"/>
                  </a:lnTo>
                  <a:lnTo>
                    <a:pt x="684" y="1372"/>
                  </a:lnTo>
                  <a:lnTo>
                    <a:pt x="684" y="1380"/>
                  </a:lnTo>
                  <a:lnTo>
                    <a:pt x="684" y="1389"/>
                  </a:lnTo>
                  <a:lnTo>
                    <a:pt x="687" y="1399"/>
                  </a:lnTo>
                  <a:lnTo>
                    <a:pt x="687" y="1408"/>
                  </a:lnTo>
                  <a:lnTo>
                    <a:pt x="687" y="1415"/>
                  </a:lnTo>
                  <a:lnTo>
                    <a:pt x="686" y="1419"/>
                  </a:lnTo>
                  <a:lnTo>
                    <a:pt x="684" y="1424"/>
                  </a:lnTo>
                  <a:lnTo>
                    <a:pt x="682" y="1427"/>
                  </a:lnTo>
                  <a:lnTo>
                    <a:pt x="679" y="1430"/>
                  </a:lnTo>
                  <a:lnTo>
                    <a:pt x="676" y="1434"/>
                  </a:lnTo>
                  <a:lnTo>
                    <a:pt x="675" y="1435"/>
                  </a:lnTo>
                  <a:lnTo>
                    <a:pt x="670" y="1438"/>
                  </a:lnTo>
                  <a:lnTo>
                    <a:pt x="667" y="1440"/>
                  </a:lnTo>
                  <a:lnTo>
                    <a:pt x="663" y="1443"/>
                  </a:lnTo>
                  <a:lnTo>
                    <a:pt x="662" y="1446"/>
                  </a:lnTo>
                  <a:lnTo>
                    <a:pt x="659" y="1449"/>
                  </a:lnTo>
                  <a:lnTo>
                    <a:pt x="656" y="1452"/>
                  </a:lnTo>
                  <a:lnTo>
                    <a:pt x="656" y="1456"/>
                  </a:lnTo>
                  <a:lnTo>
                    <a:pt x="654" y="1460"/>
                  </a:lnTo>
                  <a:lnTo>
                    <a:pt x="654" y="1467"/>
                  </a:lnTo>
                  <a:lnTo>
                    <a:pt x="654" y="1468"/>
                  </a:lnTo>
                  <a:lnTo>
                    <a:pt x="654" y="1471"/>
                  </a:lnTo>
                  <a:lnTo>
                    <a:pt x="654" y="1473"/>
                  </a:lnTo>
                  <a:lnTo>
                    <a:pt x="656" y="1475"/>
                  </a:lnTo>
                  <a:lnTo>
                    <a:pt x="657" y="1479"/>
                  </a:lnTo>
                  <a:lnTo>
                    <a:pt x="660" y="1482"/>
                  </a:lnTo>
                  <a:lnTo>
                    <a:pt x="662" y="1487"/>
                  </a:lnTo>
                  <a:lnTo>
                    <a:pt x="663" y="1492"/>
                  </a:lnTo>
                  <a:lnTo>
                    <a:pt x="665" y="1493"/>
                  </a:lnTo>
                  <a:lnTo>
                    <a:pt x="667" y="1497"/>
                  </a:lnTo>
                  <a:lnTo>
                    <a:pt x="667" y="1500"/>
                  </a:lnTo>
                  <a:lnTo>
                    <a:pt x="667" y="1501"/>
                  </a:lnTo>
                  <a:lnTo>
                    <a:pt x="667" y="1504"/>
                  </a:lnTo>
                  <a:lnTo>
                    <a:pt x="667" y="1508"/>
                  </a:lnTo>
                  <a:lnTo>
                    <a:pt x="663" y="1509"/>
                  </a:lnTo>
                  <a:lnTo>
                    <a:pt x="663" y="1512"/>
                  </a:lnTo>
                  <a:lnTo>
                    <a:pt x="660" y="1517"/>
                  </a:lnTo>
                  <a:lnTo>
                    <a:pt x="656" y="1520"/>
                  </a:lnTo>
                  <a:lnTo>
                    <a:pt x="651" y="1525"/>
                  </a:lnTo>
                  <a:lnTo>
                    <a:pt x="648" y="1528"/>
                  </a:lnTo>
                  <a:lnTo>
                    <a:pt x="646" y="1530"/>
                  </a:lnTo>
                  <a:lnTo>
                    <a:pt x="643" y="1533"/>
                  </a:lnTo>
                  <a:lnTo>
                    <a:pt x="643" y="1534"/>
                  </a:lnTo>
                  <a:lnTo>
                    <a:pt x="643" y="1538"/>
                  </a:lnTo>
                  <a:lnTo>
                    <a:pt x="641" y="1546"/>
                  </a:lnTo>
                  <a:lnTo>
                    <a:pt x="641" y="1550"/>
                  </a:lnTo>
                  <a:lnTo>
                    <a:pt x="641" y="1553"/>
                  </a:lnTo>
                  <a:lnTo>
                    <a:pt x="640" y="1555"/>
                  </a:lnTo>
                  <a:lnTo>
                    <a:pt x="638" y="1558"/>
                  </a:lnTo>
                  <a:lnTo>
                    <a:pt x="637" y="1560"/>
                  </a:lnTo>
                  <a:lnTo>
                    <a:pt x="635" y="1561"/>
                  </a:lnTo>
                  <a:lnTo>
                    <a:pt x="633" y="1561"/>
                  </a:lnTo>
                  <a:lnTo>
                    <a:pt x="630" y="1561"/>
                  </a:lnTo>
                  <a:lnTo>
                    <a:pt x="629" y="1561"/>
                  </a:lnTo>
                  <a:lnTo>
                    <a:pt x="627" y="1561"/>
                  </a:lnTo>
                  <a:lnTo>
                    <a:pt x="626" y="1561"/>
                  </a:lnTo>
                  <a:lnTo>
                    <a:pt x="622" y="1561"/>
                  </a:lnTo>
                  <a:lnTo>
                    <a:pt x="622" y="1568"/>
                  </a:lnTo>
                  <a:lnTo>
                    <a:pt x="624" y="1574"/>
                  </a:lnTo>
                  <a:lnTo>
                    <a:pt x="626" y="1579"/>
                  </a:lnTo>
                  <a:lnTo>
                    <a:pt x="626" y="1583"/>
                  </a:lnTo>
                  <a:lnTo>
                    <a:pt x="629" y="1588"/>
                  </a:lnTo>
                  <a:lnTo>
                    <a:pt x="630" y="1594"/>
                  </a:lnTo>
                  <a:lnTo>
                    <a:pt x="633" y="1599"/>
                  </a:lnTo>
                  <a:lnTo>
                    <a:pt x="637" y="1602"/>
                  </a:lnTo>
                  <a:lnTo>
                    <a:pt x="638" y="1607"/>
                  </a:lnTo>
                  <a:lnTo>
                    <a:pt x="643" y="1609"/>
                  </a:lnTo>
                  <a:lnTo>
                    <a:pt x="646" y="1613"/>
                  </a:lnTo>
                  <a:lnTo>
                    <a:pt x="651" y="1615"/>
                  </a:lnTo>
                  <a:lnTo>
                    <a:pt x="656" y="1616"/>
                  </a:lnTo>
                  <a:lnTo>
                    <a:pt x="659" y="1618"/>
                  </a:lnTo>
                  <a:lnTo>
                    <a:pt x="665" y="1620"/>
                  </a:lnTo>
                  <a:lnTo>
                    <a:pt x="670" y="1620"/>
                  </a:lnTo>
                  <a:lnTo>
                    <a:pt x="670" y="1623"/>
                  </a:lnTo>
                  <a:lnTo>
                    <a:pt x="670" y="1628"/>
                  </a:lnTo>
                  <a:lnTo>
                    <a:pt x="670" y="1629"/>
                  </a:lnTo>
                  <a:lnTo>
                    <a:pt x="670" y="1632"/>
                  </a:lnTo>
                  <a:lnTo>
                    <a:pt x="668" y="1635"/>
                  </a:lnTo>
                  <a:lnTo>
                    <a:pt x="667" y="1637"/>
                  </a:lnTo>
                  <a:lnTo>
                    <a:pt x="665" y="1640"/>
                  </a:lnTo>
                  <a:lnTo>
                    <a:pt x="663" y="1642"/>
                  </a:lnTo>
                  <a:lnTo>
                    <a:pt x="662" y="1643"/>
                  </a:lnTo>
                  <a:lnTo>
                    <a:pt x="659" y="1645"/>
                  </a:lnTo>
                  <a:lnTo>
                    <a:pt x="656" y="1648"/>
                  </a:lnTo>
                  <a:lnTo>
                    <a:pt x="654" y="1648"/>
                  </a:lnTo>
                  <a:lnTo>
                    <a:pt x="649" y="1650"/>
                  </a:lnTo>
                  <a:lnTo>
                    <a:pt x="643" y="1653"/>
                  </a:lnTo>
                  <a:lnTo>
                    <a:pt x="637" y="1656"/>
                  </a:lnTo>
                  <a:lnTo>
                    <a:pt x="630" y="1657"/>
                  </a:lnTo>
                  <a:lnTo>
                    <a:pt x="626" y="1659"/>
                  </a:lnTo>
                  <a:lnTo>
                    <a:pt x="621" y="1662"/>
                  </a:lnTo>
                  <a:lnTo>
                    <a:pt x="618" y="1662"/>
                  </a:lnTo>
                  <a:lnTo>
                    <a:pt x="616" y="1665"/>
                  </a:lnTo>
                  <a:lnTo>
                    <a:pt x="616" y="1667"/>
                  </a:lnTo>
                  <a:lnTo>
                    <a:pt x="613" y="1669"/>
                  </a:lnTo>
                  <a:lnTo>
                    <a:pt x="611" y="1670"/>
                  </a:lnTo>
                  <a:lnTo>
                    <a:pt x="611" y="1673"/>
                  </a:lnTo>
                  <a:lnTo>
                    <a:pt x="610" y="1675"/>
                  </a:lnTo>
                  <a:lnTo>
                    <a:pt x="610" y="1678"/>
                  </a:lnTo>
                  <a:lnTo>
                    <a:pt x="608" y="1678"/>
                  </a:lnTo>
                  <a:lnTo>
                    <a:pt x="605" y="1676"/>
                  </a:lnTo>
                  <a:lnTo>
                    <a:pt x="603" y="1675"/>
                  </a:lnTo>
                  <a:lnTo>
                    <a:pt x="602" y="1675"/>
                  </a:lnTo>
                  <a:lnTo>
                    <a:pt x="597" y="1672"/>
                  </a:lnTo>
                  <a:lnTo>
                    <a:pt x="596" y="1669"/>
                  </a:lnTo>
                  <a:lnTo>
                    <a:pt x="591" y="1665"/>
                  </a:lnTo>
                  <a:lnTo>
                    <a:pt x="588" y="1664"/>
                  </a:lnTo>
                  <a:lnTo>
                    <a:pt x="584" y="1662"/>
                  </a:lnTo>
                  <a:lnTo>
                    <a:pt x="583" y="1661"/>
                  </a:lnTo>
                  <a:lnTo>
                    <a:pt x="580" y="1661"/>
                  </a:lnTo>
                  <a:lnTo>
                    <a:pt x="575" y="1661"/>
                  </a:lnTo>
                  <a:lnTo>
                    <a:pt x="570" y="1662"/>
                  </a:lnTo>
                  <a:lnTo>
                    <a:pt x="567" y="1664"/>
                  </a:lnTo>
                  <a:lnTo>
                    <a:pt x="562" y="1665"/>
                  </a:lnTo>
                  <a:lnTo>
                    <a:pt x="559" y="1667"/>
                  </a:lnTo>
                  <a:lnTo>
                    <a:pt x="556" y="1670"/>
                  </a:lnTo>
                  <a:lnTo>
                    <a:pt x="554" y="1672"/>
                  </a:lnTo>
                  <a:lnTo>
                    <a:pt x="551" y="1675"/>
                  </a:lnTo>
                  <a:lnTo>
                    <a:pt x="547" y="1680"/>
                  </a:lnTo>
                  <a:lnTo>
                    <a:pt x="542" y="1684"/>
                  </a:lnTo>
                  <a:lnTo>
                    <a:pt x="539" y="1686"/>
                  </a:lnTo>
                  <a:lnTo>
                    <a:pt x="536" y="1687"/>
                  </a:lnTo>
                  <a:lnTo>
                    <a:pt x="532" y="1689"/>
                  </a:lnTo>
                  <a:lnTo>
                    <a:pt x="529" y="1689"/>
                  </a:lnTo>
                  <a:lnTo>
                    <a:pt x="526" y="1689"/>
                  </a:lnTo>
                  <a:lnTo>
                    <a:pt x="521" y="1687"/>
                  </a:lnTo>
                  <a:lnTo>
                    <a:pt x="517" y="1686"/>
                  </a:lnTo>
                  <a:lnTo>
                    <a:pt x="513" y="1686"/>
                  </a:lnTo>
                  <a:lnTo>
                    <a:pt x="507" y="1681"/>
                  </a:lnTo>
                  <a:lnTo>
                    <a:pt x="501" y="1678"/>
                  </a:lnTo>
                  <a:lnTo>
                    <a:pt x="498" y="1675"/>
                  </a:lnTo>
                  <a:lnTo>
                    <a:pt x="494" y="1673"/>
                  </a:lnTo>
                  <a:lnTo>
                    <a:pt x="491" y="1670"/>
                  </a:lnTo>
                  <a:lnTo>
                    <a:pt x="488" y="1670"/>
                  </a:lnTo>
                  <a:lnTo>
                    <a:pt x="485" y="1669"/>
                  </a:lnTo>
                  <a:lnTo>
                    <a:pt x="480" y="1667"/>
                  </a:lnTo>
                  <a:lnTo>
                    <a:pt x="474" y="1665"/>
                  </a:lnTo>
                  <a:lnTo>
                    <a:pt x="469" y="1665"/>
                  </a:lnTo>
                  <a:lnTo>
                    <a:pt x="463" y="1665"/>
                  </a:lnTo>
                  <a:lnTo>
                    <a:pt x="457" y="1665"/>
                  </a:lnTo>
                  <a:lnTo>
                    <a:pt x="450" y="1665"/>
                  </a:lnTo>
                  <a:lnTo>
                    <a:pt x="444" y="1664"/>
                  </a:lnTo>
                  <a:lnTo>
                    <a:pt x="439" y="1662"/>
                  </a:lnTo>
                  <a:lnTo>
                    <a:pt x="433" y="1661"/>
                  </a:lnTo>
                  <a:lnTo>
                    <a:pt x="428" y="1657"/>
                  </a:lnTo>
                  <a:lnTo>
                    <a:pt x="423" y="1653"/>
                  </a:lnTo>
                  <a:lnTo>
                    <a:pt x="390" y="1653"/>
                  </a:lnTo>
                  <a:lnTo>
                    <a:pt x="385" y="1651"/>
                  </a:lnTo>
                  <a:lnTo>
                    <a:pt x="378" y="1648"/>
                  </a:lnTo>
                  <a:lnTo>
                    <a:pt x="373" y="1646"/>
                  </a:lnTo>
                  <a:lnTo>
                    <a:pt x="368" y="1645"/>
                  </a:lnTo>
                  <a:lnTo>
                    <a:pt x="365" y="1643"/>
                  </a:lnTo>
                  <a:lnTo>
                    <a:pt x="359" y="1643"/>
                  </a:lnTo>
                  <a:lnTo>
                    <a:pt x="357" y="1643"/>
                  </a:lnTo>
                  <a:lnTo>
                    <a:pt x="354" y="1645"/>
                  </a:lnTo>
                  <a:lnTo>
                    <a:pt x="352" y="1645"/>
                  </a:lnTo>
                  <a:lnTo>
                    <a:pt x="349" y="1646"/>
                  </a:lnTo>
                  <a:lnTo>
                    <a:pt x="346" y="1648"/>
                  </a:lnTo>
                  <a:lnTo>
                    <a:pt x="344" y="1650"/>
                  </a:lnTo>
                  <a:lnTo>
                    <a:pt x="343" y="1651"/>
                  </a:lnTo>
                  <a:lnTo>
                    <a:pt x="341" y="1653"/>
                  </a:lnTo>
                  <a:lnTo>
                    <a:pt x="336" y="1657"/>
                  </a:lnTo>
                  <a:lnTo>
                    <a:pt x="333" y="1662"/>
                  </a:lnTo>
                  <a:lnTo>
                    <a:pt x="332" y="1669"/>
                  </a:lnTo>
                  <a:lnTo>
                    <a:pt x="329" y="1675"/>
                  </a:lnTo>
                  <a:lnTo>
                    <a:pt x="324" y="1687"/>
                  </a:lnTo>
                  <a:lnTo>
                    <a:pt x="319" y="1702"/>
                  </a:lnTo>
                  <a:lnTo>
                    <a:pt x="317" y="1706"/>
                  </a:lnTo>
                  <a:lnTo>
                    <a:pt x="316" y="1711"/>
                  </a:lnTo>
                  <a:lnTo>
                    <a:pt x="313" y="1716"/>
                  </a:lnTo>
                  <a:lnTo>
                    <a:pt x="310" y="1721"/>
                  </a:lnTo>
                  <a:lnTo>
                    <a:pt x="308" y="1724"/>
                  </a:lnTo>
                  <a:lnTo>
                    <a:pt x="306" y="1725"/>
                  </a:lnTo>
                  <a:lnTo>
                    <a:pt x="303" y="1727"/>
                  </a:lnTo>
                  <a:lnTo>
                    <a:pt x="302" y="1728"/>
                  </a:lnTo>
                  <a:lnTo>
                    <a:pt x="295" y="1732"/>
                  </a:lnTo>
                  <a:lnTo>
                    <a:pt x="291" y="1733"/>
                  </a:lnTo>
                  <a:lnTo>
                    <a:pt x="284" y="1736"/>
                  </a:lnTo>
                  <a:lnTo>
                    <a:pt x="280" y="1740"/>
                  </a:lnTo>
                  <a:lnTo>
                    <a:pt x="278" y="1740"/>
                  </a:lnTo>
                  <a:lnTo>
                    <a:pt x="275" y="1743"/>
                  </a:lnTo>
                  <a:lnTo>
                    <a:pt x="272" y="1746"/>
                  </a:lnTo>
                  <a:lnTo>
                    <a:pt x="272" y="1749"/>
                  </a:lnTo>
                  <a:lnTo>
                    <a:pt x="269" y="1752"/>
                  </a:lnTo>
                  <a:lnTo>
                    <a:pt x="267" y="1757"/>
                  </a:lnTo>
                  <a:lnTo>
                    <a:pt x="265" y="1762"/>
                  </a:lnTo>
                  <a:lnTo>
                    <a:pt x="264" y="1766"/>
                  </a:lnTo>
                  <a:lnTo>
                    <a:pt x="262" y="1773"/>
                  </a:lnTo>
                  <a:lnTo>
                    <a:pt x="259" y="1777"/>
                  </a:lnTo>
                  <a:lnTo>
                    <a:pt x="257" y="1782"/>
                  </a:lnTo>
                  <a:lnTo>
                    <a:pt x="254" y="1788"/>
                  </a:lnTo>
                  <a:lnTo>
                    <a:pt x="242" y="1785"/>
                  </a:lnTo>
                  <a:lnTo>
                    <a:pt x="242" y="1788"/>
                  </a:lnTo>
                  <a:lnTo>
                    <a:pt x="234" y="1799"/>
                  </a:lnTo>
                  <a:lnTo>
                    <a:pt x="232" y="1803"/>
                  </a:lnTo>
                  <a:lnTo>
                    <a:pt x="231" y="1807"/>
                  </a:lnTo>
                  <a:lnTo>
                    <a:pt x="229" y="1809"/>
                  </a:lnTo>
                  <a:lnTo>
                    <a:pt x="226" y="1810"/>
                  </a:lnTo>
                  <a:lnTo>
                    <a:pt x="223" y="1814"/>
                  </a:lnTo>
                  <a:lnTo>
                    <a:pt x="218" y="1815"/>
                  </a:lnTo>
                  <a:lnTo>
                    <a:pt x="213" y="1817"/>
                  </a:lnTo>
                  <a:lnTo>
                    <a:pt x="208" y="1818"/>
                  </a:lnTo>
                  <a:lnTo>
                    <a:pt x="205" y="1818"/>
                  </a:lnTo>
                  <a:lnTo>
                    <a:pt x="204" y="1818"/>
                  </a:lnTo>
                  <a:lnTo>
                    <a:pt x="201" y="1818"/>
                  </a:lnTo>
                  <a:lnTo>
                    <a:pt x="197" y="1818"/>
                  </a:lnTo>
                  <a:lnTo>
                    <a:pt x="193" y="1817"/>
                  </a:lnTo>
                  <a:lnTo>
                    <a:pt x="188" y="1815"/>
                  </a:lnTo>
                  <a:lnTo>
                    <a:pt x="183" y="1814"/>
                  </a:lnTo>
                  <a:lnTo>
                    <a:pt x="178" y="1810"/>
                  </a:lnTo>
                  <a:lnTo>
                    <a:pt x="175" y="1810"/>
                  </a:lnTo>
                  <a:lnTo>
                    <a:pt x="172" y="1810"/>
                  </a:lnTo>
                  <a:lnTo>
                    <a:pt x="171" y="1809"/>
                  </a:lnTo>
                  <a:lnTo>
                    <a:pt x="167" y="1809"/>
                  </a:lnTo>
                  <a:lnTo>
                    <a:pt x="164" y="1809"/>
                  </a:lnTo>
                  <a:lnTo>
                    <a:pt x="163" y="1810"/>
                  </a:lnTo>
                  <a:lnTo>
                    <a:pt x="159" y="1810"/>
                  </a:lnTo>
                  <a:lnTo>
                    <a:pt x="156" y="1812"/>
                  </a:lnTo>
                  <a:lnTo>
                    <a:pt x="155" y="1814"/>
                  </a:lnTo>
                  <a:lnTo>
                    <a:pt x="152" y="1814"/>
                  </a:lnTo>
                  <a:lnTo>
                    <a:pt x="148" y="1815"/>
                  </a:lnTo>
                  <a:lnTo>
                    <a:pt x="147" y="1815"/>
                  </a:lnTo>
                  <a:lnTo>
                    <a:pt x="144" y="1815"/>
                  </a:lnTo>
                  <a:lnTo>
                    <a:pt x="141" y="1814"/>
                  </a:lnTo>
                  <a:lnTo>
                    <a:pt x="136" y="1814"/>
                  </a:lnTo>
                  <a:lnTo>
                    <a:pt x="131" y="1810"/>
                  </a:lnTo>
                  <a:lnTo>
                    <a:pt x="122" y="1809"/>
                  </a:lnTo>
                  <a:lnTo>
                    <a:pt x="111" y="1803"/>
                  </a:lnTo>
                  <a:lnTo>
                    <a:pt x="99" y="1798"/>
                  </a:lnTo>
                  <a:lnTo>
                    <a:pt x="90" y="1795"/>
                  </a:lnTo>
                  <a:lnTo>
                    <a:pt x="88" y="1793"/>
                  </a:lnTo>
                  <a:lnTo>
                    <a:pt x="85" y="1790"/>
                  </a:lnTo>
                  <a:lnTo>
                    <a:pt x="84" y="1788"/>
                  </a:lnTo>
                  <a:lnTo>
                    <a:pt x="82" y="1787"/>
                  </a:lnTo>
                  <a:lnTo>
                    <a:pt x="82" y="1785"/>
                  </a:lnTo>
                  <a:lnTo>
                    <a:pt x="84" y="1784"/>
                  </a:lnTo>
                  <a:lnTo>
                    <a:pt x="85" y="1782"/>
                  </a:lnTo>
                  <a:lnTo>
                    <a:pt x="88" y="1781"/>
                  </a:lnTo>
                  <a:lnTo>
                    <a:pt x="88" y="1777"/>
                  </a:lnTo>
                  <a:lnTo>
                    <a:pt x="90" y="1776"/>
                  </a:lnTo>
                  <a:lnTo>
                    <a:pt x="90" y="1774"/>
                  </a:lnTo>
                  <a:lnTo>
                    <a:pt x="90" y="1773"/>
                  </a:lnTo>
                  <a:lnTo>
                    <a:pt x="90" y="1769"/>
                  </a:lnTo>
                  <a:lnTo>
                    <a:pt x="88" y="1768"/>
                  </a:lnTo>
                  <a:lnTo>
                    <a:pt x="88" y="1765"/>
                  </a:lnTo>
                  <a:lnTo>
                    <a:pt x="88" y="1763"/>
                  </a:lnTo>
                  <a:lnTo>
                    <a:pt x="85" y="1763"/>
                  </a:lnTo>
                  <a:lnTo>
                    <a:pt x="85" y="1762"/>
                  </a:lnTo>
                  <a:lnTo>
                    <a:pt x="82" y="1760"/>
                  </a:lnTo>
                  <a:lnTo>
                    <a:pt x="80" y="1762"/>
                  </a:lnTo>
                  <a:lnTo>
                    <a:pt x="77" y="1763"/>
                  </a:lnTo>
                  <a:lnTo>
                    <a:pt x="74" y="1763"/>
                  </a:lnTo>
                  <a:lnTo>
                    <a:pt x="71" y="1765"/>
                  </a:lnTo>
                  <a:lnTo>
                    <a:pt x="68" y="1768"/>
                  </a:lnTo>
                  <a:lnTo>
                    <a:pt x="65" y="1771"/>
                  </a:lnTo>
                  <a:lnTo>
                    <a:pt x="63" y="1774"/>
                  </a:lnTo>
                  <a:lnTo>
                    <a:pt x="60" y="1777"/>
                  </a:lnTo>
                  <a:lnTo>
                    <a:pt x="55" y="1784"/>
                  </a:lnTo>
                  <a:lnTo>
                    <a:pt x="52" y="1792"/>
                  </a:lnTo>
                  <a:lnTo>
                    <a:pt x="47" y="1798"/>
                  </a:lnTo>
                  <a:lnTo>
                    <a:pt x="44" y="1803"/>
                  </a:lnTo>
                  <a:lnTo>
                    <a:pt x="47" y="1809"/>
                  </a:lnTo>
                  <a:lnTo>
                    <a:pt x="47" y="1812"/>
                  </a:lnTo>
                  <a:lnTo>
                    <a:pt x="49" y="1815"/>
                  </a:lnTo>
                  <a:lnTo>
                    <a:pt x="49" y="1818"/>
                  </a:lnTo>
                  <a:lnTo>
                    <a:pt x="47" y="1822"/>
                  </a:lnTo>
                  <a:lnTo>
                    <a:pt x="47" y="1823"/>
                  </a:lnTo>
                  <a:lnTo>
                    <a:pt x="46" y="1825"/>
                  </a:lnTo>
                  <a:lnTo>
                    <a:pt x="44" y="1826"/>
                  </a:lnTo>
                  <a:lnTo>
                    <a:pt x="43" y="1829"/>
                  </a:lnTo>
                  <a:lnTo>
                    <a:pt x="39" y="1833"/>
                  </a:lnTo>
                  <a:lnTo>
                    <a:pt x="38" y="1834"/>
                  </a:lnTo>
                  <a:lnTo>
                    <a:pt x="36" y="1836"/>
                  </a:lnTo>
                  <a:lnTo>
                    <a:pt x="36" y="1839"/>
                  </a:lnTo>
                  <a:lnTo>
                    <a:pt x="35" y="1842"/>
                  </a:lnTo>
                  <a:lnTo>
                    <a:pt x="36" y="1844"/>
                  </a:lnTo>
                  <a:lnTo>
                    <a:pt x="36" y="1847"/>
                  </a:lnTo>
                  <a:lnTo>
                    <a:pt x="38" y="1850"/>
                  </a:lnTo>
                  <a:lnTo>
                    <a:pt x="39" y="1852"/>
                  </a:lnTo>
                  <a:lnTo>
                    <a:pt x="41" y="1853"/>
                  </a:lnTo>
                  <a:lnTo>
                    <a:pt x="43" y="1853"/>
                  </a:lnTo>
                  <a:lnTo>
                    <a:pt x="44" y="1855"/>
                  </a:lnTo>
                  <a:lnTo>
                    <a:pt x="47" y="1853"/>
                  </a:lnTo>
                  <a:lnTo>
                    <a:pt x="47" y="1852"/>
                  </a:lnTo>
                  <a:lnTo>
                    <a:pt x="49" y="1850"/>
                  </a:lnTo>
                  <a:lnTo>
                    <a:pt x="50" y="1848"/>
                  </a:lnTo>
                  <a:lnTo>
                    <a:pt x="52" y="1847"/>
                  </a:lnTo>
                  <a:lnTo>
                    <a:pt x="55" y="1847"/>
                  </a:lnTo>
                  <a:lnTo>
                    <a:pt x="57" y="1847"/>
                  </a:lnTo>
                  <a:lnTo>
                    <a:pt x="58" y="1847"/>
                  </a:lnTo>
                  <a:lnTo>
                    <a:pt x="60" y="1848"/>
                  </a:lnTo>
                  <a:lnTo>
                    <a:pt x="62" y="1850"/>
                  </a:lnTo>
                  <a:lnTo>
                    <a:pt x="63" y="1852"/>
                  </a:lnTo>
                  <a:lnTo>
                    <a:pt x="65" y="1853"/>
                  </a:lnTo>
                  <a:lnTo>
                    <a:pt x="66" y="1856"/>
                  </a:lnTo>
                  <a:lnTo>
                    <a:pt x="66" y="1858"/>
                  </a:lnTo>
                  <a:lnTo>
                    <a:pt x="69" y="1869"/>
                  </a:lnTo>
                  <a:lnTo>
                    <a:pt x="76" y="1880"/>
                  </a:lnTo>
                  <a:lnTo>
                    <a:pt x="76" y="1883"/>
                  </a:lnTo>
                  <a:lnTo>
                    <a:pt x="77" y="1885"/>
                  </a:lnTo>
                  <a:lnTo>
                    <a:pt x="77" y="1888"/>
                  </a:lnTo>
                  <a:lnTo>
                    <a:pt x="76" y="1889"/>
                  </a:lnTo>
                  <a:lnTo>
                    <a:pt x="76" y="1893"/>
                  </a:lnTo>
                  <a:lnTo>
                    <a:pt x="73" y="1893"/>
                  </a:lnTo>
                  <a:lnTo>
                    <a:pt x="69" y="1896"/>
                  </a:lnTo>
                  <a:lnTo>
                    <a:pt x="66" y="1896"/>
                  </a:lnTo>
                  <a:lnTo>
                    <a:pt x="62" y="1897"/>
                  </a:lnTo>
                  <a:lnTo>
                    <a:pt x="54" y="1900"/>
                  </a:lnTo>
                  <a:lnTo>
                    <a:pt x="44" y="1904"/>
                  </a:lnTo>
                  <a:lnTo>
                    <a:pt x="41" y="1905"/>
                  </a:lnTo>
                  <a:lnTo>
                    <a:pt x="38" y="1907"/>
                  </a:lnTo>
                  <a:lnTo>
                    <a:pt x="35" y="1910"/>
                  </a:lnTo>
                  <a:lnTo>
                    <a:pt x="32" y="1911"/>
                  </a:lnTo>
                  <a:lnTo>
                    <a:pt x="32" y="1916"/>
                  </a:lnTo>
                  <a:lnTo>
                    <a:pt x="30" y="1918"/>
                  </a:lnTo>
                  <a:lnTo>
                    <a:pt x="30" y="1924"/>
                  </a:lnTo>
                  <a:lnTo>
                    <a:pt x="30" y="1927"/>
                  </a:lnTo>
                  <a:lnTo>
                    <a:pt x="30" y="1930"/>
                  </a:lnTo>
                  <a:lnTo>
                    <a:pt x="28" y="1937"/>
                  </a:lnTo>
                  <a:lnTo>
                    <a:pt x="28" y="1938"/>
                  </a:lnTo>
                  <a:lnTo>
                    <a:pt x="27" y="1941"/>
                  </a:lnTo>
                  <a:lnTo>
                    <a:pt x="27" y="1943"/>
                  </a:lnTo>
                  <a:lnTo>
                    <a:pt x="22" y="1943"/>
                  </a:lnTo>
                  <a:lnTo>
                    <a:pt x="16" y="1943"/>
                  </a:lnTo>
                  <a:lnTo>
                    <a:pt x="14" y="1945"/>
                  </a:lnTo>
                  <a:lnTo>
                    <a:pt x="14" y="1946"/>
                  </a:lnTo>
                  <a:lnTo>
                    <a:pt x="13" y="1946"/>
                  </a:lnTo>
                  <a:lnTo>
                    <a:pt x="11" y="1948"/>
                  </a:lnTo>
                  <a:lnTo>
                    <a:pt x="11" y="1949"/>
                  </a:lnTo>
                  <a:lnTo>
                    <a:pt x="9" y="1951"/>
                  </a:lnTo>
                  <a:lnTo>
                    <a:pt x="9" y="1952"/>
                  </a:lnTo>
                  <a:lnTo>
                    <a:pt x="9" y="1956"/>
                  </a:lnTo>
                  <a:lnTo>
                    <a:pt x="9" y="1960"/>
                  </a:lnTo>
                  <a:lnTo>
                    <a:pt x="8" y="1965"/>
                  </a:lnTo>
                  <a:lnTo>
                    <a:pt x="8" y="1971"/>
                  </a:lnTo>
                  <a:lnTo>
                    <a:pt x="8" y="1976"/>
                  </a:lnTo>
                  <a:lnTo>
                    <a:pt x="6" y="1981"/>
                  </a:lnTo>
                  <a:lnTo>
                    <a:pt x="5" y="1987"/>
                  </a:lnTo>
                  <a:lnTo>
                    <a:pt x="3" y="1990"/>
                  </a:lnTo>
                  <a:lnTo>
                    <a:pt x="0" y="1995"/>
                  </a:lnTo>
                  <a:lnTo>
                    <a:pt x="1" y="1997"/>
                  </a:lnTo>
                  <a:lnTo>
                    <a:pt x="3" y="2001"/>
                  </a:lnTo>
                  <a:lnTo>
                    <a:pt x="6" y="2009"/>
                  </a:lnTo>
                  <a:lnTo>
                    <a:pt x="9" y="2017"/>
                  </a:lnTo>
                  <a:lnTo>
                    <a:pt x="14" y="2033"/>
                  </a:lnTo>
                  <a:lnTo>
                    <a:pt x="16" y="2044"/>
                  </a:lnTo>
                  <a:lnTo>
                    <a:pt x="16" y="2049"/>
                  </a:lnTo>
                  <a:lnTo>
                    <a:pt x="16" y="2053"/>
                  </a:lnTo>
                  <a:lnTo>
                    <a:pt x="14" y="2058"/>
                  </a:lnTo>
                  <a:lnTo>
                    <a:pt x="13" y="2063"/>
                  </a:lnTo>
                  <a:lnTo>
                    <a:pt x="11" y="2066"/>
                  </a:lnTo>
                  <a:lnTo>
                    <a:pt x="8" y="2069"/>
                  </a:lnTo>
                  <a:lnTo>
                    <a:pt x="3" y="2072"/>
                  </a:lnTo>
                  <a:lnTo>
                    <a:pt x="0" y="2074"/>
                  </a:lnTo>
                  <a:lnTo>
                    <a:pt x="0" y="2087"/>
                  </a:lnTo>
                  <a:lnTo>
                    <a:pt x="3" y="2087"/>
                  </a:lnTo>
                  <a:lnTo>
                    <a:pt x="6" y="2087"/>
                  </a:lnTo>
                  <a:lnTo>
                    <a:pt x="9" y="2088"/>
                  </a:lnTo>
                  <a:lnTo>
                    <a:pt x="11" y="2090"/>
                  </a:lnTo>
                  <a:lnTo>
                    <a:pt x="14" y="2090"/>
                  </a:lnTo>
                  <a:lnTo>
                    <a:pt x="16" y="2091"/>
                  </a:lnTo>
                  <a:lnTo>
                    <a:pt x="19" y="2091"/>
                  </a:lnTo>
                  <a:lnTo>
                    <a:pt x="20" y="2091"/>
                  </a:lnTo>
                  <a:lnTo>
                    <a:pt x="24" y="2091"/>
                  </a:lnTo>
                  <a:lnTo>
                    <a:pt x="25" y="2091"/>
                  </a:lnTo>
                  <a:lnTo>
                    <a:pt x="28" y="2090"/>
                  </a:lnTo>
                  <a:lnTo>
                    <a:pt x="30" y="2088"/>
                  </a:lnTo>
                  <a:lnTo>
                    <a:pt x="32" y="2087"/>
                  </a:lnTo>
                  <a:lnTo>
                    <a:pt x="35" y="2085"/>
                  </a:lnTo>
                  <a:lnTo>
                    <a:pt x="36" y="2085"/>
                  </a:lnTo>
                  <a:lnTo>
                    <a:pt x="39" y="2085"/>
                  </a:lnTo>
                  <a:lnTo>
                    <a:pt x="43" y="2085"/>
                  </a:lnTo>
                  <a:lnTo>
                    <a:pt x="44" y="2085"/>
                  </a:lnTo>
                  <a:lnTo>
                    <a:pt x="46" y="2087"/>
                  </a:lnTo>
                  <a:lnTo>
                    <a:pt x="47" y="2090"/>
                  </a:lnTo>
                  <a:lnTo>
                    <a:pt x="49" y="2093"/>
                  </a:lnTo>
                  <a:lnTo>
                    <a:pt x="52" y="2098"/>
                  </a:lnTo>
                  <a:lnTo>
                    <a:pt x="52" y="2104"/>
                  </a:lnTo>
                  <a:lnTo>
                    <a:pt x="55" y="2107"/>
                  </a:lnTo>
                  <a:lnTo>
                    <a:pt x="55" y="2110"/>
                  </a:lnTo>
                  <a:lnTo>
                    <a:pt x="57" y="2112"/>
                  </a:lnTo>
                  <a:lnTo>
                    <a:pt x="60" y="2112"/>
                  </a:lnTo>
                  <a:lnTo>
                    <a:pt x="62" y="2112"/>
                  </a:lnTo>
                  <a:lnTo>
                    <a:pt x="63" y="2112"/>
                  </a:lnTo>
                  <a:lnTo>
                    <a:pt x="65" y="2112"/>
                  </a:lnTo>
                  <a:lnTo>
                    <a:pt x="66" y="2110"/>
                  </a:lnTo>
                  <a:lnTo>
                    <a:pt x="69" y="2109"/>
                  </a:lnTo>
                  <a:lnTo>
                    <a:pt x="71" y="2105"/>
                  </a:lnTo>
                  <a:lnTo>
                    <a:pt x="73" y="2107"/>
                  </a:lnTo>
                  <a:lnTo>
                    <a:pt x="77" y="2113"/>
                  </a:lnTo>
                  <a:lnTo>
                    <a:pt x="84" y="2120"/>
                  </a:lnTo>
                  <a:lnTo>
                    <a:pt x="85" y="2121"/>
                  </a:lnTo>
                  <a:lnTo>
                    <a:pt x="90" y="2121"/>
                  </a:lnTo>
                  <a:lnTo>
                    <a:pt x="96" y="2121"/>
                  </a:lnTo>
                  <a:lnTo>
                    <a:pt x="98" y="2123"/>
                  </a:lnTo>
                  <a:lnTo>
                    <a:pt x="101" y="2123"/>
                  </a:lnTo>
                  <a:lnTo>
                    <a:pt x="103" y="2123"/>
                  </a:lnTo>
                  <a:lnTo>
                    <a:pt x="103" y="2124"/>
                  </a:lnTo>
                  <a:lnTo>
                    <a:pt x="103" y="2128"/>
                  </a:lnTo>
                  <a:lnTo>
                    <a:pt x="103" y="2129"/>
                  </a:lnTo>
                  <a:lnTo>
                    <a:pt x="101" y="2131"/>
                  </a:lnTo>
                  <a:lnTo>
                    <a:pt x="101" y="2132"/>
                  </a:lnTo>
                  <a:lnTo>
                    <a:pt x="98" y="2132"/>
                  </a:lnTo>
                  <a:lnTo>
                    <a:pt x="93" y="2135"/>
                  </a:lnTo>
                  <a:lnTo>
                    <a:pt x="90" y="2137"/>
                  </a:lnTo>
                  <a:lnTo>
                    <a:pt x="88" y="2139"/>
                  </a:lnTo>
                  <a:lnTo>
                    <a:pt x="85" y="2140"/>
                  </a:lnTo>
                  <a:lnTo>
                    <a:pt x="85" y="2143"/>
                  </a:lnTo>
                  <a:lnTo>
                    <a:pt x="85" y="2145"/>
                  </a:lnTo>
                  <a:lnTo>
                    <a:pt x="85" y="2148"/>
                  </a:lnTo>
                  <a:lnTo>
                    <a:pt x="85" y="2150"/>
                  </a:lnTo>
                  <a:lnTo>
                    <a:pt x="87" y="2151"/>
                  </a:lnTo>
                  <a:lnTo>
                    <a:pt x="88" y="2153"/>
                  </a:lnTo>
                  <a:lnTo>
                    <a:pt x="92" y="2153"/>
                  </a:lnTo>
                  <a:lnTo>
                    <a:pt x="93" y="2153"/>
                  </a:lnTo>
                  <a:lnTo>
                    <a:pt x="98" y="2153"/>
                  </a:lnTo>
                  <a:lnTo>
                    <a:pt x="101" y="2153"/>
                  </a:lnTo>
                  <a:lnTo>
                    <a:pt x="104" y="2153"/>
                  </a:lnTo>
                  <a:lnTo>
                    <a:pt x="107" y="2154"/>
                  </a:lnTo>
                  <a:lnTo>
                    <a:pt x="111" y="2156"/>
                  </a:lnTo>
                  <a:lnTo>
                    <a:pt x="112" y="2159"/>
                  </a:lnTo>
                  <a:lnTo>
                    <a:pt x="114" y="2161"/>
                  </a:lnTo>
                  <a:lnTo>
                    <a:pt x="117" y="2161"/>
                  </a:lnTo>
                  <a:lnTo>
                    <a:pt x="120" y="2162"/>
                  </a:lnTo>
                  <a:lnTo>
                    <a:pt x="122" y="2164"/>
                  </a:lnTo>
                  <a:lnTo>
                    <a:pt x="125" y="2162"/>
                  </a:lnTo>
                  <a:lnTo>
                    <a:pt x="126" y="2162"/>
                  </a:lnTo>
                  <a:lnTo>
                    <a:pt x="129" y="2161"/>
                  </a:lnTo>
                  <a:lnTo>
                    <a:pt x="131" y="2161"/>
                  </a:lnTo>
                  <a:lnTo>
                    <a:pt x="134" y="2159"/>
                  </a:lnTo>
                  <a:lnTo>
                    <a:pt x="139" y="2158"/>
                  </a:lnTo>
                  <a:lnTo>
                    <a:pt x="142" y="2154"/>
                  </a:lnTo>
                  <a:lnTo>
                    <a:pt x="145" y="2153"/>
                  </a:lnTo>
                  <a:lnTo>
                    <a:pt x="150" y="2151"/>
                  </a:lnTo>
                  <a:lnTo>
                    <a:pt x="155" y="2150"/>
                  </a:lnTo>
                  <a:lnTo>
                    <a:pt x="164" y="2145"/>
                  </a:lnTo>
                  <a:lnTo>
                    <a:pt x="172" y="2143"/>
                  </a:lnTo>
                  <a:lnTo>
                    <a:pt x="175" y="2142"/>
                  </a:lnTo>
                  <a:lnTo>
                    <a:pt x="177" y="2140"/>
                  </a:lnTo>
                  <a:lnTo>
                    <a:pt x="180" y="2140"/>
                  </a:lnTo>
                  <a:lnTo>
                    <a:pt x="182" y="2139"/>
                  </a:lnTo>
                  <a:lnTo>
                    <a:pt x="185" y="2139"/>
                  </a:lnTo>
                  <a:lnTo>
                    <a:pt x="193" y="2135"/>
                  </a:lnTo>
                  <a:lnTo>
                    <a:pt x="201" y="2134"/>
                  </a:lnTo>
                  <a:lnTo>
                    <a:pt x="207" y="2131"/>
                  </a:lnTo>
                  <a:lnTo>
                    <a:pt x="213" y="2129"/>
                  </a:lnTo>
                  <a:lnTo>
                    <a:pt x="220" y="2128"/>
                  </a:lnTo>
                  <a:lnTo>
                    <a:pt x="224" y="2128"/>
                  </a:lnTo>
                  <a:lnTo>
                    <a:pt x="227" y="2126"/>
                  </a:lnTo>
                  <a:lnTo>
                    <a:pt x="231" y="2126"/>
                  </a:lnTo>
                  <a:lnTo>
                    <a:pt x="235" y="2126"/>
                  </a:lnTo>
                  <a:lnTo>
                    <a:pt x="240" y="2126"/>
                  </a:lnTo>
                  <a:lnTo>
                    <a:pt x="243" y="2126"/>
                  </a:lnTo>
                  <a:lnTo>
                    <a:pt x="246" y="2126"/>
                  </a:lnTo>
                  <a:lnTo>
                    <a:pt x="248" y="2126"/>
                  </a:lnTo>
                  <a:lnTo>
                    <a:pt x="248" y="2131"/>
                  </a:lnTo>
                  <a:lnTo>
                    <a:pt x="246" y="2134"/>
                  </a:lnTo>
                  <a:lnTo>
                    <a:pt x="246" y="2135"/>
                  </a:lnTo>
                  <a:lnTo>
                    <a:pt x="245" y="2137"/>
                  </a:lnTo>
                  <a:lnTo>
                    <a:pt x="245" y="2139"/>
                  </a:lnTo>
                  <a:lnTo>
                    <a:pt x="243" y="2139"/>
                  </a:lnTo>
                  <a:lnTo>
                    <a:pt x="240" y="2140"/>
                  </a:lnTo>
                  <a:lnTo>
                    <a:pt x="237" y="2142"/>
                  </a:lnTo>
                  <a:lnTo>
                    <a:pt x="234" y="2143"/>
                  </a:lnTo>
                  <a:lnTo>
                    <a:pt x="229" y="2143"/>
                  </a:lnTo>
                  <a:lnTo>
                    <a:pt x="229" y="2156"/>
                  </a:lnTo>
                  <a:lnTo>
                    <a:pt x="235" y="2164"/>
                  </a:lnTo>
                  <a:lnTo>
                    <a:pt x="242" y="2170"/>
                  </a:lnTo>
                  <a:lnTo>
                    <a:pt x="248" y="2176"/>
                  </a:lnTo>
                  <a:lnTo>
                    <a:pt x="254" y="2183"/>
                  </a:lnTo>
                  <a:lnTo>
                    <a:pt x="259" y="2189"/>
                  </a:lnTo>
                  <a:lnTo>
                    <a:pt x="265" y="2197"/>
                  </a:lnTo>
                  <a:lnTo>
                    <a:pt x="267" y="2202"/>
                  </a:lnTo>
                  <a:lnTo>
                    <a:pt x="270" y="2205"/>
                  </a:lnTo>
                  <a:lnTo>
                    <a:pt x="272" y="2210"/>
                  </a:lnTo>
                  <a:lnTo>
                    <a:pt x="343" y="2415"/>
                  </a:lnTo>
                  <a:lnTo>
                    <a:pt x="344" y="2416"/>
                  </a:lnTo>
                  <a:lnTo>
                    <a:pt x="344" y="2418"/>
                  </a:lnTo>
                  <a:lnTo>
                    <a:pt x="344" y="2419"/>
                  </a:lnTo>
                  <a:lnTo>
                    <a:pt x="346" y="2421"/>
                  </a:lnTo>
                  <a:lnTo>
                    <a:pt x="348" y="2422"/>
                  </a:lnTo>
                  <a:lnTo>
                    <a:pt x="349" y="2424"/>
                  </a:lnTo>
                  <a:lnTo>
                    <a:pt x="351" y="2424"/>
                  </a:lnTo>
                  <a:lnTo>
                    <a:pt x="354" y="2424"/>
                  </a:lnTo>
                  <a:lnTo>
                    <a:pt x="357" y="2422"/>
                  </a:lnTo>
                  <a:lnTo>
                    <a:pt x="359" y="2421"/>
                  </a:lnTo>
                  <a:lnTo>
                    <a:pt x="362" y="2419"/>
                  </a:lnTo>
                  <a:lnTo>
                    <a:pt x="363" y="2416"/>
                  </a:lnTo>
                  <a:lnTo>
                    <a:pt x="365" y="2413"/>
                  </a:lnTo>
                  <a:lnTo>
                    <a:pt x="365" y="2411"/>
                  </a:lnTo>
                  <a:lnTo>
                    <a:pt x="366" y="2408"/>
                  </a:lnTo>
                  <a:lnTo>
                    <a:pt x="370" y="2402"/>
                  </a:lnTo>
                  <a:lnTo>
                    <a:pt x="373" y="2397"/>
                  </a:lnTo>
                  <a:lnTo>
                    <a:pt x="374" y="2396"/>
                  </a:lnTo>
                  <a:lnTo>
                    <a:pt x="378" y="2393"/>
                  </a:lnTo>
                  <a:lnTo>
                    <a:pt x="379" y="2393"/>
                  </a:lnTo>
                  <a:lnTo>
                    <a:pt x="382" y="2391"/>
                  </a:lnTo>
                  <a:lnTo>
                    <a:pt x="385" y="2393"/>
                  </a:lnTo>
                  <a:lnTo>
                    <a:pt x="387" y="2393"/>
                  </a:lnTo>
                  <a:lnTo>
                    <a:pt x="392" y="2396"/>
                  </a:lnTo>
                  <a:lnTo>
                    <a:pt x="395" y="2396"/>
                  </a:lnTo>
                  <a:lnTo>
                    <a:pt x="398" y="2399"/>
                  </a:lnTo>
                  <a:lnTo>
                    <a:pt x="400" y="2400"/>
                  </a:lnTo>
                  <a:lnTo>
                    <a:pt x="401" y="2402"/>
                  </a:lnTo>
                  <a:lnTo>
                    <a:pt x="403" y="2404"/>
                  </a:lnTo>
                  <a:lnTo>
                    <a:pt x="403" y="2405"/>
                  </a:lnTo>
                  <a:lnTo>
                    <a:pt x="403" y="2408"/>
                  </a:lnTo>
                  <a:lnTo>
                    <a:pt x="403" y="2410"/>
                  </a:lnTo>
                  <a:lnTo>
                    <a:pt x="403" y="2413"/>
                  </a:lnTo>
                  <a:lnTo>
                    <a:pt x="404" y="2415"/>
                  </a:lnTo>
                  <a:lnTo>
                    <a:pt x="406" y="2418"/>
                  </a:lnTo>
                  <a:lnTo>
                    <a:pt x="408" y="2421"/>
                  </a:lnTo>
                  <a:lnTo>
                    <a:pt x="411" y="2424"/>
                  </a:lnTo>
                  <a:lnTo>
                    <a:pt x="412" y="2427"/>
                  </a:lnTo>
                  <a:lnTo>
                    <a:pt x="414" y="2430"/>
                  </a:lnTo>
                  <a:lnTo>
                    <a:pt x="414" y="2434"/>
                  </a:lnTo>
                  <a:lnTo>
                    <a:pt x="414" y="2437"/>
                  </a:lnTo>
                  <a:lnTo>
                    <a:pt x="414" y="2441"/>
                  </a:lnTo>
                  <a:lnTo>
                    <a:pt x="415" y="2440"/>
                  </a:lnTo>
                  <a:lnTo>
                    <a:pt x="420" y="2440"/>
                  </a:lnTo>
                  <a:lnTo>
                    <a:pt x="423" y="2440"/>
                  </a:lnTo>
                  <a:lnTo>
                    <a:pt x="427" y="2440"/>
                  </a:lnTo>
                  <a:lnTo>
                    <a:pt x="434" y="2440"/>
                  </a:lnTo>
                  <a:lnTo>
                    <a:pt x="442" y="2441"/>
                  </a:lnTo>
                  <a:lnTo>
                    <a:pt x="447" y="2441"/>
                  </a:lnTo>
                  <a:lnTo>
                    <a:pt x="452" y="2440"/>
                  </a:lnTo>
                  <a:lnTo>
                    <a:pt x="455" y="2440"/>
                  </a:lnTo>
                  <a:lnTo>
                    <a:pt x="460" y="2440"/>
                  </a:lnTo>
                  <a:lnTo>
                    <a:pt x="466" y="2437"/>
                  </a:lnTo>
                  <a:lnTo>
                    <a:pt x="474" y="2435"/>
                  </a:lnTo>
                  <a:lnTo>
                    <a:pt x="480" y="2432"/>
                  </a:lnTo>
                  <a:lnTo>
                    <a:pt x="487" y="2432"/>
                  </a:lnTo>
                  <a:lnTo>
                    <a:pt x="493" y="2429"/>
                  </a:lnTo>
                  <a:lnTo>
                    <a:pt x="501" y="2429"/>
                  </a:lnTo>
                  <a:lnTo>
                    <a:pt x="504" y="2429"/>
                  </a:lnTo>
                  <a:lnTo>
                    <a:pt x="507" y="2430"/>
                  </a:lnTo>
                  <a:lnTo>
                    <a:pt x="510" y="2432"/>
                  </a:lnTo>
                  <a:lnTo>
                    <a:pt x="513" y="2432"/>
                  </a:lnTo>
                  <a:lnTo>
                    <a:pt x="518" y="2434"/>
                  </a:lnTo>
                  <a:lnTo>
                    <a:pt x="521" y="2437"/>
                  </a:lnTo>
                  <a:lnTo>
                    <a:pt x="523" y="2440"/>
                  </a:lnTo>
                  <a:lnTo>
                    <a:pt x="526" y="2441"/>
                  </a:lnTo>
                  <a:lnTo>
                    <a:pt x="528" y="2445"/>
                  </a:lnTo>
                  <a:lnTo>
                    <a:pt x="531" y="2446"/>
                  </a:lnTo>
                  <a:lnTo>
                    <a:pt x="534" y="2449"/>
                  </a:lnTo>
                  <a:lnTo>
                    <a:pt x="536" y="2452"/>
                  </a:lnTo>
                  <a:lnTo>
                    <a:pt x="539" y="2460"/>
                  </a:lnTo>
                  <a:lnTo>
                    <a:pt x="542" y="2465"/>
                  </a:lnTo>
                  <a:lnTo>
                    <a:pt x="545" y="2465"/>
                  </a:lnTo>
                  <a:lnTo>
                    <a:pt x="547" y="2465"/>
                  </a:lnTo>
                  <a:lnTo>
                    <a:pt x="543" y="2473"/>
                  </a:lnTo>
                  <a:lnTo>
                    <a:pt x="543" y="2476"/>
                  </a:lnTo>
                  <a:lnTo>
                    <a:pt x="545" y="2479"/>
                  </a:lnTo>
                  <a:lnTo>
                    <a:pt x="545" y="2482"/>
                  </a:lnTo>
                  <a:lnTo>
                    <a:pt x="547" y="2486"/>
                  </a:lnTo>
                  <a:lnTo>
                    <a:pt x="548" y="2487"/>
                  </a:lnTo>
                  <a:lnTo>
                    <a:pt x="550" y="2489"/>
                  </a:lnTo>
                  <a:lnTo>
                    <a:pt x="553" y="2490"/>
                  </a:lnTo>
                  <a:lnTo>
                    <a:pt x="554" y="2492"/>
                  </a:lnTo>
                  <a:lnTo>
                    <a:pt x="564" y="2497"/>
                  </a:lnTo>
                  <a:lnTo>
                    <a:pt x="575" y="2500"/>
                  </a:lnTo>
                  <a:lnTo>
                    <a:pt x="577" y="2501"/>
                  </a:lnTo>
                  <a:lnTo>
                    <a:pt x="578" y="2503"/>
                  </a:lnTo>
                  <a:lnTo>
                    <a:pt x="580" y="2503"/>
                  </a:lnTo>
                  <a:lnTo>
                    <a:pt x="580" y="2506"/>
                  </a:lnTo>
                  <a:lnTo>
                    <a:pt x="580" y="2509"/>
                  </a:lnTo>
                  <a:lnTo>
                    <a:pt x="581" y="2512"/>
                  </a:lnTo>
                  <a:lnTo>
                    <a:pt x="580" y="2519"/>
                  </a:lnTo>
                  <a:lnTo>
                    <a:pt x="580" y="2527"/>
                  </a:lnTo>
                  <a:lnTo>
                    <a:pt x="580" y="2530"/>
                  </a:lnTo>
                  <a:lnTo>
                    <a:pt x="580" y="2531"/>
                  </a:lnTo>
                  <a:lnTo>
                    <a:pt x="581" y="2534"/>
                  </a:lnTo>
                  <a:lnTo>
                    <a:pt x="584" y="2536"/>
                  </a:lnTo>
                  <a:lnTo>
                    <a:pt x="586" y="2539"/>
                  </a:lnTo>
                  <a:lnTo>
                    <a:pt x="588" y="2539"/>
                  </a:lnTo>
                  <a:lnTo>
                    <a:pt x="591" y="2541"/>
                  </a:lnTo>
                  <a:lnTo>
                    <a:pt x="594" y="2542"/>
                  </a:lnTo>
                  <a:lnTo>
                    <a:pt x="600" y="2544"/>
                  </a:lnTo>
                  <a:lnTo>
                    <a:pt x="605" y="2544"/>
                  </a:lnTo>
                  <a:lnTo>
                    <a:pt x="613" y="2546"/>
                  </a:lnTo>
                  <a:lnTo>
                    <a:pt x="618" y="2546"/>
                  </a:lnTo>
                  <a:lnTo>
                    <a:pt x="618" y="2549"/>
                  </a:lnTo>
                  <a:lnTo>
                    <a:pt x="619" y="2552"/>
                  </a:lnTo>
                  <a:lnTo>
                    <a:pt x="621" y="2553"/>
                  </a:lnTo>
                  <a:lnTo>
                    <a:pt x="622" y="2555"/>
                  </a:lnTo>
                  <a:lnTo>
                    <a:pt x="624" y="2557"/>
                  </a:lnTo>
                  <a:lnTo>
                    <a:pt x="626" y="2558"/>
                  </a:lnTo>
                  <a:lnTo>
                    <a:pt x="629" y="2558"/>
                  </a:lnTo>
                  <a:lnTo>
                    <a:pt x="630" y="2560"/>
                  </a:lnTo>
                  <a:lnTo>
                    <a:pt x="633" y="2558"/>
                  </a:lnTo>
                  <a:lnTo>
                    <a:pt x="637" y="2557"/>
                  </a:lnTo>
                  <a:lnTo>
                    <a:pt x="638" y="2557"/>
                  </a:lnTo>
                  <a:lnTo>
                    <a:pt x="641" y="2555"/>
                  </a:lnTo>
                  <a:lnTo>
                    <a:pt x="645" y="2552"/>
                  </a:lnTo>
                  <a:lnTo>
                    <a:pt x="648" y="2549"/>
                  </a:lnTo>
                  <a:lnTo>
                    <a:pt x="651" y="2544"/>
                  </a:lnTo>
                  <a:lnTo>
                    <a:pt x="656" y="2541"/>
                  </a:lnTo>
                  <a:lnTo>
                    <a:pt x="659" y="2539"/>
                  </a:lnTo>
                  <a:lnTo>
                    <a:pt x="660" y="2538"/>
                  </a:lnTo>
                  <a:lnTo>
                    <a:pt x="663" y="2536"/>
                  </a:lnTo>
                  <a:lnTo>
                    <a:pt x="667" y="2536"/>
                  </a:lnTo>
                  <a:lnTo>
                    <a:pt x="667" y="2542"/>
                  </a:lnTo>
                  <a:lnTo>
                    <a:pt x="667" y="2549"/>
                  </a:lnTo>
                  <a:lnTo>
                    <a:pt x="667" y="2553"/>
                  </a:lnTo>
                  <a:lnTo>
                    <a:pt x="667" y="2560"/>
                  </a:lnTo>
                  <a:lnTo>
                    <a:pt x="667" y="2561"/>
                  </a:lnTo>
                  <a:lnTo>
                    <a:pt x="667" y="2564"/>
                  </a:lnTo>
                  <a:lnTo>
                    <a:pt x="668" y="2566"/>
                  </a:lnTo>
                  <a:lnTo>
                    <a:pt x="670" y="2569"/>
                  </a:lnTo>
                  <a:lnTo>
                    <a:pt x="673" y="2572"/>
                  </a:lnTo>
                  <a:lnTo>
                    <a:pt x="675" y="2574"/>
                  </a:lnTo>
                  <a:lnTo>
                    <a:pt x="678" y="2577"/>
                  </a:lnTo>
                  <a:lnTo>
                    <a:pt x="679" y="2580"/>
                  </a:lnTo>
                  <a:lnTo>
                    <a:pt x="682" y="2582"/>
                  </a:lnTo>
                  <a:lnTo>
                    <a:pt x="687" y="2583"/>
                  </a:lnTo>
                  <a:lnTo>
                    <a:pt x="697" y="2583"/>
                  </a:lnTo>
                  <a:lnTo>
                    <a:pt x="701" y="2583"/>
                  </a:lnTo>
                  <a:lnTo>
                    <a:pt x="705" y="2582"/>
                  </a:lnTo>
                  <a:lnTo>
                    <a:pt x="709" y="2582"/>
                  </a:lnTo>
                  <a:lnTo>
                    <a:pt x="712" y="2580"/>
                  </a:lnTo>
                  <a:lnTo>
                    <a:pt x="716" y="2580"/>
                  </a:lnTo>
                  <a:lnTo>
                    <a:pt x="719" y="2577"/>
                  </a:lnTo>
                  <a:lnTo>
                    <a:pt x="722" y="2574"/>
                  </a:lnTo>
                  <a:lnTo>
                    <a:pt x="725" y="2572"/>
                  </a:lnTo>
                  <a:lnTo>
                    <a:pt x="725" y="2569"/>
                  </a:lnTo>
                  <a:lnTo>
                    <a:pt x="725" y="2568"/>
                  </a:lnTo>
                  <a:lnTo>
                    <a:pt x="727" y="2564"/>
                  </a:lnTo>
                  <a:lnTo>
                    <a:pt x="728" y="2561"/>
                  </a:lnTo>
                  <a:lnTo>
                    <a:pt x="730" y="2560"/>
                  </a:lnTo>
                  <a:lnTo>
                    <a:pt x="731" y="2558"/>
                  </a:lnTo>
                  <a:lnTo>
                    <a:pt x="733" y="2557"/>
                  </a:lnTo>
                  <a:lnTo>
                    <a:pt x="736" y="2555"/>
                  </a:lnTo>
                  <a:lnTo>
                    <a:pt x="741" y="2553"/>
                  </a:lnTo>
                  <a:lnTo>
                    <a:pt x="744" y="2552"/>
                  </a:lnTo>
                  <a:lnTo>
                    <a:pt x="749" y="2552"/>
                  </a:lnTo>
                  <a:lnTo>
                    <a:pt x="758" y="2552"/>
                  </a:lnTo>
                  <a:lnTo>
                    <a:pt x="766" y="2552"/>
                  </a:lnTo>
                  <a:lnTo>
                    <a:pt x="771" y="2550"/>
                  </a:lnTo>
                  <a:lnTo>
                    <a:pt x="776" y="2549"/>
                  </a:lnTo>
                  <a:lnTo>
                    <a:pt x="779" y="2549"/>
                  </a:lnTo>
                  <a:lnTo>
                    <a:pt x="782" y="2547"/>
                  </a:lnTo>
                  <a:lnTo>
                    <a:pt x="790" y="2544"/>
                  </a:lnTo>
                  <a:lnTo>
                    <a:pt x="796" y="2538"/>
                  </a:lnTo>
                  <a:lnTo>
                    <a:pt x="803" y="2533"/>
                  </a:lnTo>
                  <a:lnTo>
                    <a:pt x="807" y="2530"/>
                  </a:lnTo>
                  <a:lnTo>
                    <a:pt x="807" y="2531"/>
                  </a:lnTo>
                  <a:lnTo>
                    <a:pt x="823" y="2520"/>
                  </a:lnTo>
                  <a:lnTo>
                    <a:pt x="836" y="2511"/>
                  </a:lnTo>
                  <a:lnTo>
                    <a:pt x="848" y="2500"/>
                  </a:lnTo>
                  <a:lnTo>
                    <a:pt x="861" y="2492"/>
                  </a:lnTo>
                  <a:lnTo>
                    <a:pt x="872" y="2482"/>
                  </a:lnTo>
                  <a:lnTo>
                    <a:pt x="883" y="2476"/>
                  </a:lnTo>
                  <a:lnTo>
                    <a:pt x="889" y="2473"/>
                  </a:lnTo>
                  <a:lnTo>
                    <a:pt x="896" y="2470"/>
                  </a:lnTo>
                  <a:lnTo>
                    <a:pt x="900" y="2468"/>
                  </a:lnTo>
                  <a:lnTo>
                    <a:pt x="907" y="2467"/>
                  </a:lnTo>
                  <a:lnTo>
                    <a:pt x="912" y="2465"/>
                  </a:lnTo>
                  <a:lnTo>
                    <a:pt x="915" y="2464"/>
                  </a:lnTo>
                  <a:lnTo>
                    <a:pt x="919" y="2462"/>
                  </a:lnTo>
                  <a:lnTo>
                    <a:pt x="926" y="2462"/>
                  </a:lnTo>
                  <a:lnTo>
                    <a:pt x="935" y="2460"/>
                  </a:lnTo>
                  <a:lnTo>
                    <a:pt x="945" y="2460"/>
                  </a:lnTo>
                  <a:lnTo>
                    <a:pt x="956" y="2460"/>
                  </a:lnTo>
                  <a:lnTo>
                    <a:pt x="965" y="2462"/>
                  </a:lnTo>
                  <a:lnTo>
                    <a:pt x="976" y="2462"/>
                  </a:lnTo>
                  <a:lnTo>
                    <a:pt x="986" y="2464"/>
                  </a:lnTo>
                  <a:lnTo>
                    <a:pt x="994" y="2465"/>
                  </a:lnTo>
                  <a:lnTo>
                    <a:pt x="1003" y="2468"/>
                  </a:lnTo>
                  <a:lnTo>
                    <a:pt x="1011" y="2470"/>
                  </a:lnTo>
                  <a:lnTo>
                    <a:pt x="1017" y="2473"/>
                  </a:lnTo>
                  <a:lnTo>
                    <a:pt x="1021" y="2475"/>
                  </a:lnTo>
                  <a:lnTo>
                    <a:pt x="1022" y="2476"/>
                  </a:lnTo>
                  <a:lnTo>
                    <a:pt x="1025" y="2478"/>
                  </a:lnTo>
                  <a:lnTo>
                    <a:pt x="1027" y="2481"/>
                  </a:lnTo>
                  <a:lnTo>
                    <a:pt x="1028" y="2482"/>
                  </a:lnTo>
                  <a:lnTo>
                    <a:pt x="1028" y="2486"/>
                  </a:lnTo>
                  <a:lnTo>
                    <a:pt x="1028" y="2487"/>
                  </a:lnTo>
                  <a:lnTo>
                    <a:pt x="1028" y="2490"/>
                  </a:lnTo>
                  <a:lnTo>
                    <a:pt x="1028" y="2493"/>
                  </a:lnTo>
                  <a:lnTo>
                    <a:pt x="1028" y="2495"/>
                  </a:lnTo>
                  <a:lnTo>
                    <a:pt x="1030" y="2498"/>
                  </a:lnTo>
                  <a:lnTo>
                    <a:pt x="1030" y="2500"/>
                  </a:lnTo>
                  <a:lnTo>
                    <a:pt x="1032" y="2503"/>
                  </a:lnTo>
                  <a:lnTo>
                    <a:pt x="1033" y="2503"/>
                  </a:lnTo>
                  <a:lnTo>
                    <a:pt x="1035" y="2506"/>
                  </a:lnTo>
                  <a:lnTo>
                    <a:pt x="1036" y="2508"/>
                  </a:lnTo>
                  <a:lnTo>
                    <a:pt x="1038" y="2508"/>
                  </a:lnTo>
                  <a:lnTo>
                    <a:pt x="1041" y="2511"/>
                  </a:lnTo>
                  <a:lnTo>
                    <a:pt x="1043" y="2511"/>
                  </a:lnTo>
                  <a:lnTo>
                    <a:pt x="1049" y="2514"/>
                  </a:lnTo>
                  <a:lnTo>
                    <a:pt x="1055" y="2516"/>
                  </a:lnTo>
                  <a:lnTo>
                    <a:pt x="1062" y="2516"/>
                  </a:lnTo>
                  <a:lnTo>
                    <a:pt x="1068" y="2517"/>
                  </a:lnTo>
                  <a:lnTo>
                    <a:pt x="1076" y="2519"/>
                  </a:lnTo>
                  <a:lnTo>
                    <a:pt x="1082" y="2519"/>
                  </a:lnTo>
                  <a:lnTo>
                    <a:pt x="1098" y="2519"/>
                  </a:lnTo>
                  <a:lnTo>
                    <a:pt x="1114" y="2519"/>
                  </a:lnTo>
                  <a:lnTo>
                    <a:pt x="1125" y="2519"/>
                  </a:lnTo>
                  <a:lnTo>
                    <a:pt x="1137" y="2519"/>
                  </a:lnTo>
                  <a:lnTo>
                    <a:pt x="1149" y="2519"/>
                  </a:lnTo>
                  <a:lnTo>
                    <a:pt x="1158" y="2517"/>
                  </a:lnTo>
                  <a:lnTo>
                    <a:pt x="1167" y="2516"/>
                  </a:lnTo>
                  <a:lnTo>
                    <a:pt x="1177" y="2514"/>
                  </a:lnTo>
                  <a:lnTo>
                    <a:pt x="1183" y="2512"/>
                  </a:lnTo>
                  <a:lnTo>
                    <a:pt x="1191" y="2511"/>
                  </a:lnTo>
                  <a:lnTo>
                    <a:pt x="1194" y="2508"/>
                  </a:lnTo>
                  <a:lnTo>
                    <a:pt x="1198" y="2508"/>
                  </a:lnTo>
                  <a:lnTo>
                    <a:pt x="1201" y="2506"/>
                  </a:lnTo>
                  <a:lnTo>
                    <a:pt x="1204" y="2503"/>
                  </a:lnTo>
                  <a:lnTo>
                    <a:pt x="1207" y="2501"/>
                  </a:lnTo>
                  <a:lnTo>
                    <a:pt x="1209" y="2500"/>
                  </a:lnTo>
                  <a:lnTo>
                    <a:pt x="1210" y="2497"/>
                  </a:lnTo>
                  <a:lnTo>
                    <a:pt x="1212" y="2493"/>
                  </a:lnTo>
                  <a:lnTo>
                    <a:pt x="1215" y="2490"/>
                  </a:lnTo>
                  <a:lnTo>
                    <a:pt x="1215" y="2487"/>
                  </a:lnTo>
                  <a:lnTo>
                    <a:pt x="1216" y="2484"/>
                  </a:lnTo>
                  <a:lnTo>
                    <a:pt x="1218" y="2481"/>
                  </a:lnTo>
                  <a:lnTo>
                    <a:pt x="1218" y="2478"/>
                  </a:lnTo>
                  <a:lnTo>
                    <a:pt x="1220" y="2473"/>
                  </a:lnTo>
                  <a:lnTo>
                    <a:pt x="1220" y="2468"/>
                  </a:lnTo>
                  <a:lnTo>
                    <a:pt x="1220" y="2465"/>
                  </a:lnTo>
                  <a:lnTo>
                    <a:pt x="1220" y="2462"/>
                  </a:lnTo>
                  <a:lnTo>
                    <a:pt x="1218" y="2460"/>
                  </a:lnTo>
                  <a:lnTo>
                    <a:pt x="1216" y="2457"/>
                  </a:lnTo>
                  <a:lnTo>
                    <a:pt x="1215" y="2456"/>
                  </a:lnTo>
                  <a:lnTo>
                    <a:pt x="1210" y="2452"/>
                  </a:lnTo>
                  <a:lnTo>
                    <a:pt x="1205" y="2446"/>
                  </a:lnTo>
                  <a:lnTo>
                    <a:pt x="1202" y="2445"/>
                  </a:lnTo>
                  <a:lnTo>
                    <a:pt x="1201" y="2441"/>
                  </a:lnTo>
                  <a:lnTo>
                    <a:pt x="1198" y="2440"/>
                  </a:lnTo>
                  <a:lnTo>
                    <a:pt x="1196" y="2437"/>
                  </a:lnTo>
                  <a:lnTo>
                    <a:pt x="1194" y="2432"/>
                  </a:lnTo>
                  <a:lnTo>
                    <a:pt x="1193" y="2429"/>
                  </a:lnTo>
                  <a:lnTo>
                    <a:pt x="1191" y="2426"/>
                  </a:lnTo>
                  <a:lnTo>
                    <a:pt x="1191" y="2421"/>
                  </a:lnTo>
                  <a:lnTo>
                    <a:pt x="1191" y="2415"/>
                  </a:lnTo>
                  <a:lnTo>
                    <a:pt x="1193" y="2408"/>
                  </a:lnTo>
                  <a:lnTo>
                    <a:pt x="1194" y="2402"/>
                  </a:lnTo>
                  <a:lnTo>
                    <a:pt x="1196" y="2396"/>
                  </a:lnTo>
                  <a:lnTo>
                    <a:pt x="1199" y="2391"/>
                  </a:lnTo>
                  <a:lnTo>
                    <a:pt x="1202" y="2385"/>
                  </a:lnTo>
                  <a:lnTo>
                    <a:pt x="1204" y="2378"/>
                  </a:lnTo>
                  <a:lnTo>
                    <a:pt x="1209" y="2374"/>
                  </a:lnTo>
                  <a:lnTo>
                    <a:pt x="1215" y="2364"/>
                  </a:lnTo>
                  <a:lnTo>
                    <a:pt x="1223" y="2355"/>
                  </a:lnTo>
                  <a:lnTo>
                    <a:pt x="1228" y="2345"/>
                  </a:lnTo>
                  <a:lnTo>
                    <a:pt x="1251" y="2342"/>
                  </a:lnTo>
                  <a:lnTo>
                    <a:pt x="1270" y="2345"/>
                  </a:lnTo>
                  <a:lnTo>
                    <a:pt x="1289" y="2350"/>
                  </a:lnTo>
                  <a:lnTo>
                    <a:pt x="1310" y="2353"/>
                  </a:lnTo>
                  <a:lnTo>
                    <a:pt x="1330" y="2358"/>
                  </a:lnTo>
                  <a:lnTo>
                    <a:pt x="1349" y="2361"/>
                  </a:lnTo>
                  <a:lnTo>
                    <a:pt x="1368" y="2366"/>
                  </a:lnTo>
                  <a:lnTo>
                    <a:pt x="1386" y="2370"/>
                  </a:lnTo>
                  <a:lnTo>
                    <a:pt x="1389" y="2372"/>
                  </a:lnTo>
                  <a:lnTo>
                    <a:pt x="1390" y="2374"/>
                  </a:lnTo>
                  <a:lnTo>
                    <a:pt x="1393" y="2375"/>
                  </a:lnTo>
                  <a:lnTo>
                    <a:pt x="1395" y="2377"/>
                  </a:lnTo>
                  <a:lnTo>
                    <a:pt x="1397" y="2378"/>
                  </a:lnTo>
                  <a:lnTo>
                    <a:pt x="1400" y="2380"/>
                  </a:lnTo>
                  <a:lnTo>
                    <a:pt x="1401" y="2383"/>
                  </a:lnTo>
                  <a:lnTo>
                    <a:pt x="1401" y="2386"/>
                  </a:lnTo>
                  <a:lnTo>
                    <a:pt x="1408" y="2399"/>
                  </a:lnTo>
                  <a:lnTo>
                    <a:pt x="1412" y="2411"/>
                  </a:lnTo>
                  <a:lnTo>
                    <a:pt x="1416" y="2416"/>
                  </a:lnTo>
                  <a:lnTo>
                    <a:pt x="1419" y="2424"/>
                  </a:lnTo>
                  <a:lnTo>
                    <a:pt x="1420" y="2427"/>
                  </a:lnTo>
                  <a:lnTo>
                    <a:pt x="1422" y="2429"/>
                  </a:lnTo>
                  <a:lnTo>
                    <a:pt x="1425" y="2432"/>
                  </a:lnTo>
                  <a:lnTo>
                    <a:pt x="1427" y="2434"/>
                  </a:lnTo>
                  <a:lnTo>
                    <a:pt x="1430" y="2435"/>
                  </a:lnTo>
                  <a:lnTo>
                    <a:pt x="1433" y="2437"/>
                  </a:lnTo>
                  <a:lnTo>
                    <a:pt x="1436" y="2440"/>
                  </a:lnTo>
                  <a:lnTo>
                    <a:pt x="1439" y="2441"/>
                  </a:lnTo>
                  <a:lnTo>
                    <a:pt x="1442" y="2441"/>
                  </a:lnTo>
                  <a:lnTo>
                    <a:pt x="1447" y="2443"/>
                  </a:lnTo>
                  <a:lnTo>
                    <a:pt x="1452" y="2443"/>
                  </a:lnTo>
                  <a:lnTo>
                    <a:pt x="1457" y="2443"/>
                  </a:lnTo>
                  <a:lnTo>
                    <a:pt x="1461" y="2443"/>
                  </a:lnTo>
                  <a:lnTo>
                    <a:pt x="1468" y="2443"/>
                  </a:lnTo>
                  <a:lnTo>
                    <a:pt x="1472" y="2441"/>
                  </a:lnTo>
                  <a:lnTo>
                    <a:pt x="1477" y="2441"/>
                  </a:lnTo>
                  <a:lnTo>
                    <a:pt x="1482" y="2441"/>
                  </a:lnTo>
                  <a:lnTo>
                    <a:pt x="1487" y="2440"/>
                  </a:lnTo>
                  <a:lnTo>
                    <a:pt x="1490" y="2438"/>
                  </a:lnTo>
                  <a:lnTo>
                    <a:pt x="1493" y="2437"/>
                  </a:lnTo>
                  <a:lnTo>
                    <a:pt x="1501" y="2434"/>
                  </a:lnTo>
                  <a:lnTo>
                    <a:pt x="1507" y="2429"/>
                  </a:lnTo>
                  <a:lnTo>
                    <a:pt x="1514" y="2426"/>
                  </a:lnTo>
                  <a:lnTo>
                    <a:pt x="1520" y="2421"/>
                  </a:lnTo>
                  <a:lnTo>
                    <a:pt x="1528" y="2416"/>
                  </a:lnTo>
                  <a:lnTo>
                    <a:pt x="1534" y="2413"/>
                  </a:lnTo>
                  <a:lnTo>
                    <a:pt x="1542" y="2408"/>
                  </a:lnTo>
                  <a:lnTo>
                    <a:pt x="1548" y="2407"/>
                  </a:lnTo>
                  <a:lnTo>
                    <a:pt x="1553" y="2404"/>
                  </a:lnTo>
                  <a:lnTo>
                    <a:pt x="1558" y="2404"/>
                  </a:lnTo>
                  <a:lnTo>
                    <a:pt x="1562" y="2400"/>
                  </a:lnTo>
                  <a:lnTo>
                    <a:pt x="1569" y="2400"/>
                  </a:lnTo>
                  <a:lnTo>
                    <a:pt x="1574" y="2400"/>
                  </a:lnTo>
                  <a:lnTo>
                    <a:pt x="1580" y="2399"/>
                  </a:lnTo>
                  <a:lnTo>
                    <a:pt x="1586" y="2399"/>
                  </a:lnTo>
                  <a:lnTo>
                    <a:pt x="1593" y="2399"/>
                  </a:lnTo>
                  <a:lnTo>
                    <a:pt x="1599" y="2399"/>
                  </a:lnTo>
                  <a:lnTo>
                    <a:pt x="1604" y="2399"/>
                  </a:lnTo>
                  <a:lnTo>
                    <a:pt x="1608" y="2400"/>
                  </a:lnTo>
                  <a:lnTo>
                    <a:pt x="1613" y="2402"/>
                  </a:lnTo>
                  <a:lnTo>
                    <a:pt x="1623" y="2405"/>
                  </a:lnTo>
                  <a:lnTo>
                    <a:pt x="1629" y="2408"/>
                  </a:lnTo>
                  <a:lnTo>
                    <a:pt x="1637" y="2413"/>
                  </a:lnTo>
                  <a:lnTo>
                    <a:pt x="1645" y="2415"/>
                  </a:lnTo>
                  <a:lnTo>
                    <a:pt x="1648" y="2416"/>
                  </a:lnTo>
                  <a:lnTo>
                    <a:pt x="1651" y="2416"/>
                  </a:lnTo>
                  <a:lnTo>
                    <a:pt x="1654" y="2416"/>
                  </a:lnTo>
                  <a:lnTo>
                    <a:pt x="1657" y="2416"/>
                  </a:lnTo>
                  <a:lnTo>
                    <a:pt x="1660" y="2415"/>
                  </a:lnTo>
                  <a:lnTo>
                    <a:pt x="1662" y="2413"/>
                  </a:lnTo>
                  <a:lnTo>
                    <a:pt x="1664" y="2413"/>
                  </a:lnTo>
                  <a:lnTo>
                    <a:pt x="1667" y="2413"/>
                  </a:lnTo>
                  <a:lnTo>
                    <a:pt x="1668" y="2411"/>
                  </a:lnTo>
                  <a:lnTo>
                    <a:pt x="1668" y="2413"/>
                  </a:lnTo>
                  <a:lnTo>
                    <a:pt x="1668" y="2415"/>
                  </a:lnTo>
                  <a:lnTo>
                    <a:pt x="1670" y="2419"/>
                  </a:lnTo>
                  <a:lnTo>
                    <a:pt x="1672" y="2421"/>
                  </a:lnTo>
                  <a:lnTo>
                    <a:pt x="1675" y="2426"/>
                  </a:lnTo>
                  <a:lnTo>
                    <a:pt x="1678" y="2429"/>
                  </a:lnTo>
                  <a:lnTo>
                    <a:pt x="1681" y="2432"/>
                  </a:lnTo>
                  <a:lnTo>
                    <a:pt x="1686" y="2437"/>
                  </a:lnTo>
                  <a:lnTo>
                    <a:pt x="1690" y="2440"/>
                  </a:lnTo>
                  <a:lnTo>
                    <a:pt x="1697" y="2443"/>
                  </a:lnTo>
                  <a:lnTo>
                    <a:pt x="1703" y="2445"/>
                  </a:lnTo>
                  <a:lnTo>
                    <a:pt x="1706" y="2446"/>
                  </a:lnTo>
                  <a:lnTo>
                    <a:pt x="1711" y="2448"/>
                  </a:lnTo>
                  <a:lnTo>
                    <a:pt x="1716" y="2449"/>
                  </a:lnTo>
                  <a:lnTo>
                    <a:pt x="1720" y="2449"/>
                  </a:lnTo>
                  <a:lnTo>
                    <a:pt x="1725" y="2449"/>
                  </a:lnTo>
                  <a:lnTo>
                    <a:pt x="1732" y="2449"/>
                  </a:lnTo>
                  <a:lnTo>
                    <a:pt x="1736" y="2451"/>
                  </a:lnTo>
                  <a:lnTo>
                    <a:pt x="1743" y="2449"/>
                  </a:lnTo>
                  <a:lnTo>
                    <a:pt x="1754" y="2449"/>
                  </a:lnTo>
                  <a:lnTo>
                    <a:pt x="1765" y="2449"/>
                  </a:lnTo>
                  <a:lnTo>
                    <a:pt x="1774" y="2446"/>
                  </a:lnTo>
                  <a:lnTo>
                    <a:pt x="1785" y="2445"/>
                  </a:lnTo>
                  <a:lnTo>
                    <a:pt x="1795" y="2441"/>
                  </a:lnTo>
                  <a:lnTo>
                    <a:pt x="1804" y="2438"/>
                  </a:lnTo>
                  <a:lnTo>
                    <a:pt x="1814" y="2434"/>
                  </a:lnTo>
                  <a:lnTo>
                    <a:pt x="1823" y="2430"/>
                  </a:lnTo>
                  <a:lnTo>
                    <a:pt x="1831" y="2426"/>
                  </a:lnTo>
                  <a:lnTo>
                    <a:pt x="1841" y="2421"/>
                  </a:lnTo>
                  <a:lnTo>
                    <a:pt x="1848" y="2416"/>
                  </a:lnTo>
                  <a:lnTo>
                    <a:pt x="1856" y="2411"/>
                  </a:lnTo>
                  <a:lnTo>
                    <a:pt x="1864" y="2405"/>
                  </a:lnTo>
                  <a:lnTo>
                    <a:pt x="1871" y="2399"/>
                  </a:lnTo>
                  <a:lnTo>
                    <a:pt x="1878" y="2393"/>
                  </a:lnTo>
                  <a:lnTo>
                    <a:pt x="1885" y="2386"/>
                  </a:lnTo>
                  <a:lnTo>
                    <a:pt x="1891" y="2380"/>
                  </a:lnTo>
                  <a:lnTo>
                    <a:pt x="1897" y="2374"/>
                  </a:lnTo>
                  <a:lnTo>
                    <a:pt x="1904" y="2367"/>
                  </a:lnTo>
                  <a:lnTo>
                    <a:pt x="1908" y="2361"/>
                  </a:lnTo>
                  <a:lnTo>
                    <a:pt x="1920" y="2348"/>
                  </a:lnTo>
                  <a:lnTo>
                    <a:pt x="1929" y="2337"/>
                  </a:lnTo>
                  <a:lnTo>
                    <a:pt x="1937" y="2325"/>
                  </a:lnTo>
                  <a:lnTo>
                    <a:pt x="1942" y="2314"/>
                  </a:lnTo>
                  <a:lnTo>
                    <a:pt x="1946" y="2304"/>
                  </a:lnTo>
                  <a:lnTo>
                    <a:pt x="1950" y="2295"/>
                  </a:lnTo>
                  <a:lnTo>
                    <a:pt x="1951" y="2293"/>
                  </a:lnTo>
                  <a:lnTo>
                    <a:pt x="1953" y="2292"/>
                  </a:lnTo>
                  <a:lnTo>
                    <a:pt x="1954" y="2292"/>
                  </a:lnTo>
                  <a:lnTo>
                    <a:pt x="1954" y="2290"/>
                  </a:lnTo>
                  <a:lnTo>
                    <a:pt x="1957" y="2288"/>
                  </a:lnTo>
                  <a:lnTo>
                    <a:pt x="1959" y="2288"/>
                  </a:lnTo>
                  <a:lnTo>
                    <a:pt x="1962" y="2287"/>
                  </a:lnTo>
                  <a:lnTo>
                    <a:pt x="1967" y="2287"/>
                  </a:lnTo>
                  <a:lnTo>
                    <a:pt x="1972" y="2288"/>
                  </a:lnTo>
                  <a:lnTo>
                    <a:pt x="1976" y="2288"/>
                  </a:lnTo>
                  <a:lnTo>
                    <a:pt x="1981" y="2290"/>
                  </a:lnTo>
                  <a:lnTo>
                    <a:pt x="1992" y="2292"/>
                  </a:lnTo>
                  <a:lnTo>
                    <a:pt x="2003" y="2295"/>
                  </a:lnTo>
                  <a:lnTo>
                    <a:pt x="2008" y="2296"/>
                  </a:lnTo>
                  <a:lnTo>
                    <a:pt x="2013" y="2296"/>
                  </a:lnTo>
                  <a:lnTo>
                    <a:pt x="2019" y="2296"/>
                  </a:lnTo>
                  <a:lnTo>
                    <a:pt x="2024" y="2295"/>
                  </a:lnTo>
                  <a:lnTo>
                    <a:pt x="2027" y="2295"/>
                  </a:lnTo>
                  <a:lnTo>
                    <a:pt x="2029" y="2293"/>
                  </a:lnTo>
                  <a:lnTo>
                    <a:pt x="2032" y="2293"/>
                  </a:lnTo>
                  <a:lnTo>
                    <a:pt x="2033" y="2292"/>
                  </a:lnTo>
                  <a:lnTo>
                    <a:pt x="2038" y="2288"/>
                  </a:lnTo>
                  <a:lnTo>
                    <a:pt x="2043" y="2284"/>
                  </a:lnTo>
                  <a:lnTo>
                    <a:pt x="2048" y="2281"/>
                  </a:lnTo>
                  <a:lnTo>
                    <a:pt x="2052" y="2277"/>
                  </a:lnTo>
                  <a:lnTo>
                    <a:pt x="2054" y="2276"/>
                  </a:lnTo>
                  <a:lnTo>
                    <a:pt x="2057" y="2276"/>
                  </a:lnTo>
                  <a:lnTo>
                    <a:pt x="2060" y="2276"/>
                  </a:lnTo>
                  <a:lnTo>
                    <a:pt x="2062" y="2276"/>
                  </a:lnTo>
                  <a:lnTo>
                    <a:pt x="2068" y="2276"/>
                  </a:lnTo>
                  <a:lnTo>
                    <a:pt x="2074" y="2276"/>
                  </a:lnTo>
                  <a:lnTo>
                    <a:pt x="2081" y="2277"/>
                  </a:lnTo>
                  <a:lnTo>
                    <a:pt x="2085" y="2281"/>
                  </a:lnTo>
                  <a:lnTo>
                    <a:pt x="2092" y="2282"/>
                  </a:lnTo>
                  <a:lnTo>
                    <a:pt x="2098" y="2284"/>
                  </a:lnTo>
                  <a:lnTo>
                    <a:pt x="2106" y="2285"/>
                  </a:lnTo>
                  <a:lnTo>
                    <a:pt x="2115" y="2288"/>
                  </a:lnTo>
                  <a:lnTo>
                    <a:pt x="2120" y="2288"/>
                  </a:lnTo>
                  <a:lnTo>
                    <a:pt x="2123" y="2288"/>
                  </a:lnTo>
                  <a:lnTo>
                    <a:pt x="2128" y="2288"/>
                  </a:lnTo>
                  <a:lnTo>
                    <a:pt x="2131" y="2288"/>
                  </a:lnTo>
                  <a:lnTo>
                    <a:pt x="2136" y="2288"/>
                  </a:lnTo>
                  <a:lnTo>
                    <a:pt x="2139" y="2287"/>
                  </a:lnTo>
                  <a:lnTo>
                    <a:pt x="2142" y="2285"/>
                  </a:lnTo>
                  <a:lnTo>
                    <a:pt x="2144" y="2284"/>
                  </a:lnTo>
                  <a:lnTo>
                    <a:pt x="2147" y="2284"/>
                  </a:lnTo>
                  <a:lnTo>
                    <a:pt x="2149" y="2281"/>
                  </a:lnTo>
                  <a:lnTo>
                    <a:pt x="2152" y="2279"/>
                  </a:lnTo>
                  <a:lnTo>
                    <a:pt x="2155" y="2276"/>
                  </a:lnTo>
                  <a:lnTo>
                    <a:pt x="2158" y="2273"/>
                  </a:lnTo>
                  <a:lnTo>
                    <a:pt x="2161" y="2266"/>
                  </a:lnTo>
                  <a:lnTo>
                    <a:pt x="2169" y="2255"/>
                  </a:lnTo>
                  <a:lnTo>
                    <a:pt x="2177" y="2243"/>
                  </a:lnTo>
                  <a:lnTo>
                    <a:pt x="2180" y="2238"/>
                  </a:lnTo>
                  <a:lnTo>
                    <a:pt x="2185" y="2232"/>
                  </a:lnTo>
                  <a:lnTo>
                    <a:pt x="2187" y="2230"/>
                  </a:lnTo>
                  <a:lnTo>
                    <a:pt x="2188" y="2227"/>
                  </a:lnTo>
                  <a:lnTo>
                    <a:pt x="2191" y="2225"/>
                  </a:lnTo>
                  <a:lnTo>
                    <a:pt x="2194" y="2222"/>
                  </a:lnTo>
                  <a:lnTo>
                    <a:pt x="2196" y="2221"/>
                  </a:lnTo>
                  <a:lnTo>
                    <a:pt x="2198" y="2219"/>
                  </a:lnTo>
                  <a:lnTo>
                    <a:pt x="2198" y="2217"/>
                  </a:lnTo>
                  <a:lnTo>
                    <a:pt x="2198" y="2214"/>
                  </a:lnTo>
                  <a:lnTo>
                    <a:pt x="2196" y="2213"/>
                  </a:lnTo>
                  <a:lnTo>
                    <a:pt x="2194" y="2210"/>
                  </a:lnTo>
                  <a:lnTo>
                    <a:pt x="2193" y="2206"/>
                  </a:lnTo>
                  <a:lnTo>
                    <a:pt x="2190" y="2203"/>
                  </a:lnTo>
                  <a:lnTo>
                    <a:pt x="2188" y="2199"/>
                  </a:lnTo>
                  <a:lnTo>
                    <a:pt x="2185" y="2195"/>
                  </a:lnTo>
                  <a:lnTo>
                    <a:pt x="2182" y="2192"/>
                  </a:lnTo>
                  <a:lnTo>
                    <a:pt x="2180" y="2186"/>
                  </a:lnTo>
                  <a:lnTo>
                    <a:pt x="2179" y="2181"/>
                  </a:lnTo>
                  <a:lnTo>
                    <a:pt x="2177" y="2176"/>
                  </a:lnTo>
                  <a:lnTo>
                    <a:pt x="2176" y="2169"/>
                  </a:lnTo>
                  <a:lnTo>
                    <a:pt x="2176" y="2164"/>
                  </a:lnTo>
                  <a:lnTo>
                    <a:pt x="2176" y="2148"/>
                  </a:lnTo>
                  <a:lnTo>
                    <a:pt x="2176" y="2135"/>
                  </a:lnTo>
                  <a:lnTo>
                    <a:pt x="2176" y="2126"/>
                  </a:lnTo>
                  <a:lnTo>
                    <a:pt x="2177" y="2115"/>
                  </a:lnTo>
                  <a:lnTo>
                    <a:pt x="2177" y="2105"/>
                  </a:lnTo>
                  <a:lnTo>
                    <a:pt x="2180" y="2094"/>
                  </a:lnTo>
                  <a:lnTo>
                    <a:pt x="2182" y="2082"/>
                  </a:lnTo>
                  <a:lnTo>
                    <a:pt x="2187" y="2068"/>
                  </a:lnTo>
                  <a:lnTo>
                    <a:pt x="2188" y="2060"/>
                  </a:lnTo>
                  <a:lnTo>
                    <a:pt x="2190" y="2053"/>
                  </a:lnTo>
                  <a:lnTo>
                    <a:pt x="2190" y="2047"/>
                  </a:lnTo>
                  <a:lnTo>
                    <a:pt x="2190" y="2042"/>
                  </a:lnTo>
                  <a:lnTo>
                    <a:pt x="2190" y="2038"/>
                  </a:lnTo>
                  <a:lnTo>
                    <a:pt x="2190" y="2033"/>
                  </a:lnTo>
                  <a:lnTo>
                    <a:pt x="2190" y="2031"/>
                  </a:lnTo>
                  <a:lnTo>
                    <a:pt x="2188" y="2028"/>
                  </a:lnTo>
                  <a:lnTo>
                    <a:pt x="2187" y="2027"/>
                  </a:lnTo>
                  <a:lnTo>
                    <a:pt x="2185" y="2025"/>
                  </a:lnTo>
                  <a:lnTo>
                    <a:pt x="2183" y="2023"/>
                  </a:lnTo>
                  <a:lnTo>
                    <a:pt x="2182" y="2022"/>
                  </a:lnTo>
                  <a:lnTo>
                    <a:pt x="2179" y="2022"/>
                  </a:lnTo>
                  <a:lnTo>
                    <a:pt x="2177" y="2020"/>
                  </a:lnTo>
                  <a:lnTo>
                    <a:pt x="2176" y="2022"/>
                  </a:lnTo>
                  <a:lnTo>
                    <a:pt x="2172" y="2022"/>
                  </a:lnTo>
                  <a:lnTo>
                    <a:pt x="2161" y="2023"/>
                  </a:lnTo>
                  <a:lnTo>
                    <a:pt x="2150" y="2025"/>
                  </a:lnTo>
                  <a:lnTo>
                    <a:pt x="2149" y="2027"/>
                  </a:lnTo>
                  <a:lnTo>
                    <a:pt x="2145" y="2027"/>
                  </a:lnTo>
                  <a:lnTo>
                    <a:pt x="2144" y="2025"/>
                  </a:lnTo>
                  <a:lnTo>
                    <a:pt x="2142" y="2025"/>
                  </a:lnTo>
                  <a:lnTo>
                    <a:pt x="2141" y="2023"/>
                  </a:lnTo>
                  <a:lnTo>
                    <a:pt x="2139" y="2023"/>
                  </a:lnTo>
                  <a:lnTo>
                    <a:pt x="2139" y="2020"/>
                  </a:lnTo>
                  <a:lnTo>
                    <a:pt x="2138" y="2019"/>
                  </a:lnTo>
                  <a:lnTo>
                    <a:pt x="2139" y="2011"/>
                  </a:lnTo>
                  <a:lnTo>
                    <a:pt x="2141" y="2005"/>
                  </a:lnTo>
                  <a:lnTo>
                    <a:pt x="2142" y="1997"/>
                  </a:lnTo>
                  <a:lnTo>
                    <a:pt x="2144" y="1990"/>
                  </a:lnTo>
                  <a:lnTo>
                    <a:pt x="2147" y="1982"/>
                  </a:lnTo>
                  <a:lnTo>
                    <a:pt x="2150" y="1976"/>
                  </a:lnTo>
                  <a:lnTo>
                    <a:pt x="2155" y="1970"/>
                  </a:lnTo>
                  <a:lnTo>
                    <a:pt x="2158" y="1963"/>
                  </a:lnTo>
                  <a:lnTo>
                    <a:pt x="2161" y="1959"/>
                  </a:lnTo>
                  <a:lnTo>
                    <a:pt x="2166" y="1952"/>
                  </a:lnTo>
                  <a:lnTo>
                    <a:pt x="2171" y="1946"/>
                  </a:lnTo>
                  <a:lnTo>
                    <a:pt x="2176" y="1941"/>
                  </a:lnTo>
                  <a:lnTo>
                    <a:pt x="2180" y="1937"/>
                  </a:lnTo>
                  <a:lnTo>
                    <a:pt x="2185" y="1932"/>
                  </a:lnTo>
                  <a:lnTo>
                    <a:pt x="2190" y="1929"/>
                  </a:lnTo>
                  <a:lnTo>
                    <a:pt x="2196" y="1924"/>
                  </a:lnTo>
                  <a:lnTo>
                    <a:pt x="2196" y="1921"/>
                  </a:lnTo>
                  <a:lnTo>
                    <a:pt x="2193" y="1916"/>
                  </a:lnTo>
                  <a:lnTo>
                    <a:pt x="2190" y="1913"/>
                  </a:lnTo>
                  <a:lnTo>
                    <a:pt x="2187" y="1910"/>
                  </a:lnTo>
                  <a:lnTo>
                    <a:pt x="2185" y="1908"/>
                  </a:lnTo>
                  <a:lnTo>
                    <a:pt x="2180" y="1905"/>
                  </a:lnTo>
                  <a:lnTo>
                    <a:pt x="2177" y="1904"/>
                  </a:lnTo>
                  <a:lnTo>
                    <a:pt x="2176" y="1900"/>
                  </a:lnTo>
                  <a:lnTo>
                    <a:pt x="2172" y="1899"/>
                  </a:lnTo>
                  <a:lnTo>
                    <a:pt x="2172" y="1896"/>
                  </a:lnTo>
                  <a:lnTo>
                    <a:pt x="2168" y="1891"/>
                  </a:lnTo>
                  <a:lnTo>
                    <a:pt x="2161" y="1885"/>
                  </a:lnTo>
                  <a:lnTo>
                    <a:pt x="2158" y="1881"/>
                  </a:lnTo>
                  <a:lnTo>
                    <a:pt x="2157" y="1878"/>
                  </a:lnTo>
                  <a:lnTo>
                    <a:pt x="2155" y="1877"/>
                  </a:lnTo>
                  <a:lnTo>
                    <a:pt x="2155" y="1875"/>
                  </a:lnTo>
                  <a:lnTo>
                    <a:pt x="2155" y="1874"/>
                  </a:lnTo>
                  <a:lnTo>
                    <a:pt x="2155" y="1872"/>
                  </a:lnTo>
                  <a:lnTo>
                    <a:pt x="2155" y="1870"/>
                  </a:lnTo>
                  <a:lnTo>
                    <a:pt x="2157" y="1869"/>
                  </a:lnTo>
                  <a:lnTo>
                    <a:pt x="2158" y="1867"/>
                  </a:lnTo>
                  <a:lnTo>
                    <a:pt x="2161" y="1866"/>
                  </a:lnTo>
                  <a:lnTo>
                    <a:pt x="2164" y="1864"/>
                  </a:lnTo>
                  <a:lnTo>
                    <a:pt x="2168" y="1864"/>
                  </a:lnTo>
                  <a:lnTo>
                    <a:pt x="2168" y="1863"/>
                  </a:lnTo>
                  <a:lnTo>
                    <a:pt x="2168" y="1861"/>
                  </a:lnTo>
                  <a:lnTo>
                    <a:pt x="2168" y="1859"/>
                  </a:lnTo>
                  <a:lnTo>
                    <a:pt x="2168" y="1856"/>
                  </a:lnTo>
                  <a:lnTo>
                    <a:pt x="2164" y="1855"/>
                  </a:lnTo>
                  <a:lnTo>
                    <a:pt x="2161" y="1852"/>
                  </a:lnTo>
                  <a:lnTo>
                    <a:pt x="2158" y="1850"/>
                  </a:lnTo>
                  <a:lnTo>
                    <a:pt x="2152" y="1844"/>
                  </a:lnTo>
                  <a:lnTo>
                    <a:pt x="2147" y="1842"/>
                  </a:lnTo>
                  <a:lnTo>
                    <a:pt x="2145" y="1839"/>
                  </a:lnTo>
                  <a:lnTo>
                    <a:pt x="2144" y="1837"/>
                  </a:lnTo>
                  <a:lnTo>
                    <a:pt x="2144" y="1836"/>
                  </a:lnTo>
                  <a:lnTo>
                    <a:pt x="2145" y="1834"/>
                  </a:lnTo>
                  <a:lnTo>
                    <a:pt x="2147" y="1831"/>
                  </a:lnTo>
                  <a:lnTo>
                    <a:pt x="2147" y="1828"/>
                  </a:lnTo>
                  <a:lnTo>
                    <a:pt x="2147" y="1825"/>
                  </a:lnTo>
                  <a:lnTo>
                    <a:pt x="2145" y="1822"/>
                  </a:lnTo>
                  <a:lnTo>
                    <a:pt x="2144" y="1817"/>
                  </a:lnTo>
                  <a:lnTo>
                    <a:pt x="2142" y="1812"/>
                  </a:lnTo>
                  <a:lnTo>
                    <a:pt x="2139" y="1809"/>
                  </a:lnTo>
                  <a:lnTo>
                    <a:pt x="2136" y="1803"/>
                  </a:lnTo>
                  <a:lnTo>
                    <a:pt x="2133" y="1796"/>
                  </a:lnTo>
                  <a:lnTo>
                    <a:pt x="2131" y="1792"/>
                  </a:lnTo>
                  <a:lnTo>
                    <a:pt x="2128" y="1788"/>
                  </a:lnTo>
                  <a:lnTo>
                    <a:pt x="2127" y="1787"/>
                  </a:lnTo>
                  <a:lnTo>
                    <a:pt x="2123" y="1785"/>
                  </a:lnTo>
                  <a:lnTo>
                    <a:pt x="2122" y="1785"/>
                  </a:lnTo>
                  <a:lnTo>
                    <a:pt x="2119" y="1787"/>
                  </a:lnTo>
                  <a:lnTo>
                    <a:pt x="2115" y="1788"/>
                  </a:lnTo>
                  <a:lnTo>
                    <a:pt x="2115" y="1790"/>
                  </a:lnTo>
                  <a:lnTo>
                    <a:pt x="2114" y="1790"/>
                  </a:lnTo>
                  <a:lnTo>
                    <a:pt x="2112" y="1792"/>
                  </a:lnTo>
                  <a:lnTo>
                    <a:pt x="2111" y="1793"/>
                  </a:lnTo>
                  <a:lnTo>
                    <a:pt x="2109" y="1793"/>
                  </a:lnTo>
                  <a:lnTo>
                    <a:pt x="2108" y="1793"/>
                  </a:lnTo>
                  <a:lnTo>
                    <a:pt x="2106" y="1793"/>
                  </a:lnTo>
                  <a:lnTo>
                    <a:pt x="2104" y="1793"/>
                  </a:lnTo>
                  <a:lnTo>
                    <a:pt x="2103" y="1790"/>
                  </a:lnTo>
                  <a:lnTo>
                    <a:pt x="2100" y="1788"/>
                  </a:lnTo>
                  <a:lnTo>
                    <a:pt x="2098" y="1784"/>
                  </a:lnTo>
                  <a:lnTo>
                    <a:pt x="2095" y="1781"/>
                  </a:lnTo>
                  <a:lnTo>
                    <a:pt x="2093" y="1776"/>
                  </a:lnTo>
                  <a:lnTo>
                    <a:pt x="2090" y="1773"/>
                  </a:lnTo>
                  <a:lnTo>
                    <a:pt x="2089" y="1771"/>
                  </a:lnTo>
                  <a:lnTo>
                    <a:pt x="2087" y="1769"/>
                  </a:lnTo>
                  <a:lnTo>
                    <a:pt x="2085" y="1769"/>
                  </a:lnTo>
                  <a:lnTo>
                    <a:pt x="2084" y="1769"/>
                  </a:lnTo>
                  <a:lnTo>
                    <a:pt x="2082" y="1769"/>
                  </a:lnTo>
                  <a:lnTo>
                    <a:pt x="2081" y="1769"/>
                  </a:lnTo>
                  <a:lnTo>
                    <a:pt x="2078" y="1771"/>
                  </a:lnTo>
                  <a:lnTo>
                    <a:pt x="2076" y="1773"/>
                  </a:lnTo>
                  <a:lnTo>
                    <a:pt x="2073" y="1777"/>
                  </a:lnTo>
                  <a:lnTo>
                    <a:pt x="2066" y="1782"/>
                  </a:lnTo>
                  <a:lnTo>
                    <a:pt x="2063" y="1785"/>
                  </a:lnTo>
                  <a:lnTo>
                    <a:pt x="2060" y="1787"/>
                  </a:lnTo>
                  <a:lnTo>
                    <a:pt x="2057" y="1788"/>
                  </a:lnTo>
                  <a:lnTo>
                    <a:pt x="2054" y="1790"/>
                  </a:lnTo>
                  <a:lnTo>
                    <a:pt x="2052" y="1790"/>
                  </a:lnTo>
                  <a:lnTo>
                    <a:pt x="2049" y="1790"/>
                  </a:lnTo>
                  <a:lnTo>
                    <a:pt x="2048" y="1790"/>
                  </a:lnTo>
                  <a:lnTo>
                    <a:pt x="2044" y="1788"/>
                  </a:lnTo>
                  <a:lnTo>
                    <a:pt x="2043" y="1787"/>
                  </a:lnTo>
                  <a:lnTo>
                    <a:pt x="2041" y="1785"/>
                  </a:lnTo>
                  <a:lnTo>
                    <a:pt x="2041" y="1782"/>
                  </a:lnTo>
                  <a:lnTo>
                    <a:pt x="2041" y="1781"/>
                  </a:lnTo>
                  <a:lnTo>
                    <a:pt x="2041" y="1777"/>
                  </a:lnTo>
                  <a:lnTo>
                    <a:pt x="2041" y="1776"/>
                  </a:lnTo>
                  <a:lnTo>
                    <a:pt x="2041" y="1774"/>
                  </a:lnTo>
                  <a:lnTo>
                    <a:pt x="2044" y="1769"/>
                  </a:lnTo>
                  <a:lnTo>
                    <a:pt x="2048" y="1766"/>
                  </a:lnTo>
                  <a:lnTo>
                    <a:pt x="2049" y="1763"/>
                  </a:lnTo>
                  <a:lnTo>
                    <a:pt x="2049" y="1762"/>
                  </a:lnTo>
                  <a:lnTo>
                    <a:pt x="2048" y="1762"/>
                  </a:lnTo>
                  <a:lnTo>
                    <a:pt x="2046" y="1760"/>
                  </a:lnTo>
                  <a:lnTo>
                    <a:pt x="2041" y="1760"/>
                  </a:lnTo>
                  <a:lnTo>
                    <a:pt x="2040" y="1757"/>
                  </a:lnTo>
                  <a:lnTo>
                    <a:pt x="2035" y="1755"/>
                  </a:lnTo>
                  <a:lnTo>
                    <a:pt x="2032" y="1754"/>
                  </a:lnTo>
                  <a:lnTo>
                    <a:pt x="2029" y="1752"/>
                  </a:lnTo>
                  <a:lnTo>
                    <a:pt x="2027" y="1752"/>
                  </a:lnTo>
                  <a:lnTo>
                    <a:pt x="2025" y="1752"/>
                  </a:lnTo>
                  <a:lnTo>
                    <a:pt x="2024" y="1752"/>
                  </a:lnTo>
                  <a:lnTo>
                    <a:pt x="2019" y="1751"/>
                  </a:lnTo>
                  <a:lnTo>
                    <a:pt x="2014" y="1749"/>
                  </a:lnTo>
                  <a:lnTo>
                    <a:pt x="2011" y="1747"/>
                  </a:lnTo>
                  <a:lnTo>
                    <a:pt x="2010" y="1744"/>
                  </a:lnTo>
                  <a:lnTo>
                    <a:pt x="2008" y="1743"/>
                  </a:lnTo>
                  <a:lnTo>
                    <a:pt x="2006" y="1740"/>
                  </a:lnTo>
                  <a:lnTo>
                    <a:pt x="2006" y="1738"/>
                  </a:lnTo>
                  <a:lnTo>
                    <a:pt x="2006" y="1736"/>
                  </a:lnTo>
                  <a:lnTo>
                    <a:pt x="2006" y="1735"/>
                  </a:lnTo>
                  <a:lnTo>
                    <a:pt x="2006" y="1732"/>
                  </a:lnTo>
                  <a:lnTo>
                    <a:pt x="2008" y="1724"/>
                  </a:lnTo>
                  <a:lnTo>
                    <a:pt x="2011" y="1722"/>
                  </a:lnTo>
                  <a:lnTo>
                    <a:pt x="2006" y="1722"/>
                  </a:lnTo>
                  <a:lnTo>
                    <a:pt x="2002" y="1721"/>
                  </a:lnTo>
                  <a:lnTo>
                    <a:pt x="1999" y="1719"/>
                  </a:lnTo>
                  <a:lnTo>
                    <a:pt x="1994" y="1717"/>
                  </a:lnTo>
                  <a:lnTo>
                    <a:pt x="1991" y="1716"/>
                  </a:lnTo>
                  <a:lnTo>
                    <a:pt x="1987" y="1714"/>
                  </a:lnTo>
                  <a:lnTo>
                    <a:pt x="1986" y="1713"/>
                  </a:lnTo>
                  <a:lnTo>
                    <a:pt x="1983" y="1711"/>
                  </a:lnTo>
                  <a:lnTo>
                    <a:pt x="1978" y="1706"/>
                  </a:lnTo>
                  <a:lnTo>
                    <a:pt x="1973" y="1700"/>
                  </a:lnTo>
                  <a:lnTo>
                    <a:pt x="1969" y="1694"/>
                  </a:lnTo>
                  <a:lnTo>
                    <a:pt x="1965" y="1687"/>
                  </a:lnTo>
                  <a:lnTo>
                    <a:pt x="1957" y="1675"/>
                  </a:lnTo>
                  <a:lnTo>
                    <a:pt x="1951" y="1661"/>
                  </a:lnTo>
                  <a:lnTo>
                    <a:pt x="1946" y="1656"/>
                  </a:lnTo>
                  <a:lnTo>
                    <a:pt x="1943" y="1646"/>
                  </a:lnTo>
                  <a:lnTo>
                    <a:pt x="1940" y="1643"/>
                  </a:lnTo>
                  <a:lnTo>
                    <a:pt x="1939" y="1640"/>
                  </a:lnTo>
                  <a:lnTo>
                    <a:pt x="1934" y="1637"/>
                  </a:lnTo>
                  <a:close/>
                  <a:moveTo>
                    <a:pt x="1017" y="165"/>
                  </a:moveTo>
                  <a:lnTo>
                    <a:pt x="1017" y="162"/>
                  </a:lnTo>
                  <a:lnTo>
                    <a:pt x="1017" y="159"/>
                  </a:lnTo>
                  <a:lnTo>
                    <a:pt x="1016" y="157"/>
                  </a:lnTo>
                  <a:lnTo>
                    <a:pt x="1016" y="156"/>
                  </a:lnTo>
                  <a:lnTo>
                    <a:pt x="1014" y="156"/>
                  </a:lnTo>
                  <a:lnTo>
                    <a:pt x="1014" y="153"/>
                  </a:lnTo>
                  <a:lnTo>
                    <a:pt x="1013" y="153"/>
                  </a:lnTo>
                  <a:lnTo>
                    <a:pt x="1011" y="153"/>
                  </a:lnTo>
                  <a:lnTo>
                    <a:pt x="1010" y="151"/>
                  </a:lnTo>
                  <a:lnTo>
                    <a:pt x="1008" y="153"/>
                  </a:lnTo>
                  <a:lnTo>
                    <a:pt x="1006" y="153"/>
                  </a:lnTo>
                  <a:lnTo>
                    <a:pt x="1003" y="156"/>
                  </a:lnTo>
                  <a:lnTo>
                    <a:pt x="1002" y="159"/>
                  </a:lnTo>
                  <a:lnTo>
                    <a:pt x="997" y="165"/>
                  </a:lnTo>
                  <a:lnTo>
                    <a:pt x="994" y="170"/>
                  </a:lnTo>
                  <a:lnTo>
                    <a:pt x="994" y="189"/>
                  </a:lnTo>
                  <a:lnTo>
                    <a:pt x="991" y="202"/>
                  </a:lnTo>
                  <a:lnTo>
                    <a:pt x="989" y="214"/>
                  </a:lnTo>
                  <a:lnTo>
                    <a:pt x="987" y="219"/>
                  </a:lnTo>
                  <a:lnTo>
                    <a:pt x="986" y="225"/>
                  </a:lnTo>
                  <a:lnTo>
                    <a:pt x="984" y="230"/>
                  </a:lnTo>
                  <a:lnTo>
                    <a:pt x="981" y="235"/>
                  </a:lnTo>
                  <a:lnTo>
                    <a:pt x="981" y="252"/>
                  </a:lnTo>
                  <a:lnTo>
                    <a:pt x="981" y="254"/>
                  </a:lnTo>
                  <a:lnTo>
                    <a:pt x="979" y="255"/>
                  </a:lnTo>
                  <a:lnTo>
                    <a:pt x="978" y="258"/>
                  </a:lnTo>
                  <a:lnTo>
                    <a:pt x="976" y="263"/>
                  </a:lnTo>
                  <a:lnTo>
                    <a:pt x="975" y="268"/>
                  </a:lnTo>
                  <a:lnTo>
                    <a:pt x="973" y="274"/>
                  </a:lnTo>
                  <a:lnTo>
                    <a:pt x="975" y="276"/>
                  </a:lnTo>
                  <a:lnTo>
                    <a:pt x="975" y="277"/>
                  </a:lnTo>
                  <a:lnTo>
                    <a:pt x="976" y="279"/>
                  </a:lnTo>
                  <a:lnTo>
                    <a:pt x="976" y="281"/>
                  </a:lnTo>
                  <a:lnTo>
                    <a:pt x="978" y="281"/>
                  </a:lnTo>
                  <a:lnTo>
                    <a:pt x="979" y="281"/>
                  </a:lnTo>
                  <a:lnTo>
                    <a:pt x="981" y="282"/>
                  </a:lnTo>
                  <a:lnTo>
                    <a:pt x="984" y="281"/>
                  </a:lnTo>
                  <a:lnTo>
                    <a:pt x="987" y="281"/>
                  </a:lnTo>
                  <a:lnTo>
                    <a:pt x="989" y="279"/>
                  </a:lnTo>
                  <a:lnTo>
                    <a:pt x="992" y="277"/>
                  </a:lnTo>
                  <a:lnTo>
                    <a:pt x="994" y="273"/>
                  </a:lnTo>
                  <a:lnTo>
                    <a:pt x="997" y="271"/>
                  </a:lnTo>
                  <a:lnTo>
                    <a:pt x="1002" y="268"/>
                  </a:lnTo>
                  <a:lnTo>
                    <a:pt x="1005" y="265"/>
                  </a:lnTo>
                  <a:lnTo>
                    <a:pt x="1010" y="262"/>
                  </a:lnTo>
                  <a:lnTo>
                    <a:pt x="1014" y="258"/>
                  </a:lnTo>
                  <a:lnTo>
                    <a:pt x="1019" y="257"/>
                  </a:lnTo>
                  <a:lnTo>
                    <a:pt x="1024" y="255"/>
                  </a:lnTo>
                  <a:lnTo>
                    <a:pt x="1028" y="254"/>
                  </a:lnTo>
                  <a:lnTo>
                    <a:pt x="1033" y="252"/>
                  </a:lnTo>
                  <a:lnTo>
                    <a:pt x="1040" y="251"/>
                  </a:lnTo>
                  <a:lnTo>
                    <a:pt x="1046" y="247"/>
                  </a:lnTo>
                  <a:lnTo>
                    <a:pt x="1051" y="243"/>
                  </a:lnTo>
                  <a:lnTo>
                    <a:pt x="1055" y="239"/>
                  </a:lnTo>
                  <a:lnTo>
                    <a:pt x="1058" y="236"/>
                  </a:lnTo>
                  <a:lnTo>
                    <a:pt x="1060" y="235"/>
                  </a:lnTo>
                  <a:lnTo>
                    <a:pt x="1062" y="232"/>
                  </a:lnTo>
                  <a:lnTo>
                    <a:pt x="1063" y="228"/>
                  </a:lnTo>
                  <a:lnTo>
                    <a:pt x="1063" y="225"/>
                  </a:lnTo>
                  <a:lnTo>
                    <a:pt x="1065" y="222"/>
                  </a:lnTo>
                  <a:lnTo>
                    <a:pt x="1066" y="217"/>
                  </a:lnTo>
                  <a:lnTo>
                    <a:pt x="1066" y="214"/>
                  </a:lnTo>
                  <a:lnTo>
                    <a:pt x="1066" y="213"/>
                  </a:lnTo>
                  <a:lnTo>
                    <a:pt x="1065" y="210"/>
                  </a:lnTo>
                  <a:lnTo>
                    <a:pt x="1063" y="206"/>
                  </a:lnTo>
                  <a:lnTo>
                    <a:pt x="1062" y="203"/>
                  </a:lnTo>
                  <a:lnTo>
                    <a:pt x="1058" y="197"/>
                  </a:lnTo>
                  <a:lnTo>
                    <a:pt x="1054" y="191"/>
                  </a:lnTo>
                  <a:lnTo>
                    <a:pt x="1047" y="184"/>
                  </a:lnTo>
                  <a:lnTo>
                    <a:pt x="1043" y="180"/>
                  </a:lnTo>
                  <a:lnTo>
                    <a:pt x="1041" y="178"/>
                  </a:lnTo>
                  <a:lnTo>
                    <a:pt x="1038" y="176"/>
                  </a:lnTo>
                  <a:lnTo>
                    <a:pt x="1035" y="176"/>
                  </a:lnTo>
                  <a:lnTo>
                    <a:pt x="1033" y="176"/>
                  </a:lnTo>
                  <a:lnTo>
                    <a:pt x="1032" y="176"/>
                  </a:lnTo>
                  <a:lnTo>
                    <a:pt x="1028" y="176"/>
                  </a:lnTo>
                  <a:lnTo>
                    <a:pt x="1025" y="178"/>
                  </a:lnTo>
                  <a:lnTo>
                    <a:pt x="1024" y="180"/>
                  </a:lnTo>
                  <a:lnTo>
                    <a:pt x="1022" y="180"/>
                  </a:lnTo>
                  <a:lnTo>
                    <a:pt x="1021" y="181"/>
                  </a:lnTo>
                  <a:lnTo>
                    <a:pt x="1021" y="183"/>
                  </a:lnTo>
                  <a:lnTo>
                    <a:pt x="1017" y="186"/>
                  </a:lnTo>
                  <a:lnTo>
                    <a:pt x="1017" y="189"/>
                  </a:lnTo>
                  <a:lnTo>
                    <a:pt x="1017" y="194"/>
                  </a:lnTo>
                  <a:lnTo>
                    <a:pt x="1017" y="198"/>
                  </a:lnTo>
                  <a:lnTo>
                    <a:pt x="1011" y="198"/>
                  </a:lnTo>
                  <a:lnTo>
                    <a:pt x="1011" y="187"/>
                  </a:lnTo>
                  <a:lnTo>
                    <a:pt x="1011" y="184"/>
                  </a:lnTo>
                  <a:lnTo>
                    <a:pt x="1014" y="176"/>
                  </a:lnTo>
                  <a:lnTo>
                    <a:pt x="1016" y="169"/>
                  </a:lnTo>
                  <a:lnTo>
                    <a:pt x="1017" y="165"/>
                  </a:lnTo>
                  <a:close/>
                  <a:moveTo>
                    <a:pt x="923" y="98"/>
                  </a:moveTo>
                  <a:lnTo>
                    <a:pt x="916" y="99"/>
                  </a:lnTo>
                  <a:lnTo>
                    <a:pt x="905" y="104"/>
                  </a:lnTo>
                  <a:lnTo>
                    <a:pt x="897" y="107"/>
                  </a:lnTo>
                  <a:lnTo>
                    <a:pt x="893" y="110"/>
                  </a:lnTo>
                  <a:lnTo>
                    <a:pt x="889" y="112"/>
                  </a:lnTo>
                  <a:lnTo>
                    <a:pt x="886" y="113"/>
                  </a:lnTo>
                  <a:lnTo>
                    <a:pt x="885" y="115"/>
                  </a:lnTo>
                  <a:lnTo>
                    <a:pt x="885" y="116"/>
                  </a:lnTo>
                  <a:lnTo>
                    <a:pt x="883" y="123"/>
                  </a:lnTo>
                  <a:lnTo>
                    <a:pt x="883" y="128"/>
                  </a:lnTo>
                  <a:lnTo>
                    <a:pt x="883" y="129"/>
                  </a:lnTo>
                  <a:lnTo>
                    <a:pt x="882" y="131"/>
                  </a:lnTo>
                  <a:lnTo>
                    <a:pt x="882" y="132"/>
                  </a:lnTo>
                  <a:lnTo>
                    <a:pt x="880" y="135"/>
                  </a:lnTo>
                  <a:lnTo>
                    <a:pt x="880" y="137"/>
                  </a:lnTo>
                  <a:lnTo>
                    <a:pt x="877" y="139"/>
                  </a:lnTo>
                  <a:lnTo>
                    <a:pt x="874" y="140"/>
                  </a:lnTo>
                  <a:lnTo>
                    <a:pt x="872" y="143"/>
                  </a:lnTo>
                  <a:lnTo>
                    <a:pt x="869" y="145"/>
                  </a:lnTo>
                  <a:lnTo>
                    <a:pt x="867" y="148"/>
                  </a:lnTo>
                  <a:lnTo>
                    <a:pt x="866" y="148"/>
                  </a:lnTo>
                  <a:lnTo>
                    <a:pt x="866" y="150"/>
                  </a:lnTo>
                  <a:lnTo>
                    <a:pt x="866" y="151"/>
                  </a:lnTo>
                  <a:lnTo>
                    <a:pt x="866" y="153"/>
                  </a:lnTo>
                  <a:lnTo>
                    <a:pt x="866" y="154"/>
                  </a:lnTo>
                  <a:lnTo>
                    <a:pt x="867" y="156"/>
                  </a:lnTo>
                  <a:lnTo>
                    <a:pt x="869" y="157"/>
                  </a:lnTo>
                  <a:lnTo>
                    <a:pt x="872" y="159"/>
                  </a:lnTo>
                  <a:lnTo>
                    <a:pt x="874" y="161"/>
                  </a:lnTo>
                  <a:lnTo>
                    <a:pt x="878" y="164"/>
                  </a:lnTo>
                  <a:lnTo>
                    <a:pt x="882" y="165"/>
                  </a:lnTo>
                  <a:lnTo>
                    <a:pt x="882" y="167"/>
                  </a:lnTo>
                  <a:lnTo>
                    <a:pt x="883" y="169"/>
                  </a:lnTo>
                  <a:lnTo>
                    <a:pt x="885" y="170"/>
                  </a:lnTo>
                  <a:lnTo>
                    <a:pt x="885" y="172"/>
                  </a:lnTo>
                  <a:lnTo>
                    <a:pt x="885" y="176"/>
                  </a:lnTo>
                  <a:lnTo>
                    <a:pt x="885" y="181"/>
                  </a:lnTo>
                  <a:lnTo>
                    <a:pt x="886" y="184"/>
                  </a:lnTo>
                  <a:lnTo>
                    <a:pt x="888" y="186"/>
                  </a:lnTo>
                  <a:lnTo>
                    <a:pt x="889" y="189"/>
                  </a:lnTo>
                  <a:lnTo>
                    <a:pt x="893" y="192"/>
                  </a:lnTo>
                  <a:lnTo>
                    <a:pt x="894" y="192"/>
                  </a:lnTo>
                  <a:lnTo>
                    <a:pt x="896" y="192"/>
                  </a:lnTo>
                  <a:lnTo>
                    <a:pt x="897" y="192"/>
                  </a:lnTo>
                  <a:lnTo>
                    <a:pt x="899" y="192"/>
                  </a:lnTo>
                  <a:lnTo>
                    <a:pt x="902" y="194"/>
                  </a:lnTo>
                  <a:lnTo>
                    <a:pt x="905" y="194"/>
                  </a:lnTo>
                  <a:lnTo>
                    <a:pt x="908" y="195"/>
                  </a:lnTo>
                  <a:lnTo>
                    <a:pt x="912" y="197"/>
                  </a:lnTo>
                  <a:lnTo>
                    <a:pt x="918" y="198"/>
                  </a:lnTo>
                  <a:lnTo>
                    <a:pt x="923" y="203"/>
                  </a:lnTo>
                  <a:lnTo>
                    <a:pt x="927" y="206"/>
                  </a:lnTo>
                  <a:lnTo>
                    <a:pt x="934" y="210"/>
                  </a:lnTo>
                  <a:lnTo>
                    <a:pt x="937" y="213"/>
                  </a:lnTo>
                  <a:lnTo>
                    <a:pt x="940" y="213"/>
                  </a:lnTo>
                  <a:lnTo>
                    <a:pt x="943" y="213"/>
                  </a:lnTo>
                  <a:lnTo>
                    <a:pt x="948" y="214"/>
                  </a:lnTo>
                  <a:lnTo>
                    <a:pt x="953" y="213"/>
                  </a:lnTo>
                  <a:lnTo>
                    <a:pt x="956" y="213"/>
                  </a:lnTo>
                  <a:lnTo>
                    <a:pt x="961" y="211"/>
                  </a:lnTo>
                  <a:lnTo>
                    <a:pt x="964" y="210"/>
                  </a:lnTo>
                  <a:lnTo>
                    <a:pt x="965" y="208"/>
                  </a:lnTo>
                  <a:lnTo>
                    <a:pt x="967" y="206"/>
                  </a:lnTo>
                  <a:lnTo>
                    <a:pt x="968" y="205"/>
                  </a:lnTo>
                  <a:lnTo>
                    <a:pt x="968" y="203"/>
                  </a:lnTo>
                  <a:lnTo>
                    <a:pt x="968" y="202"/>
                  </a:lnTo>
                  <a:lnTo>
                    <a:pt x="970" y="198"/>
                  </a:lnTo>
                  <a:lnTo>
                    <a:pt x="970" y="197"/>
                  </a:lnTo>
                  <a:lnTo>
                    <a:pt x="970" y="195"/>
                  </a:lnTo>
                  <a:lnTo>
                    <a:pt x="970" y="191"/>
                  </a:lnTo>
                  <a:lnTo>
                    <a:pt x="968" y="187"/>
                  </a:lnTo>
                  <a:lnTo>
                    <a:pt x="967" y="184"/>
                  </a:lnTo>
                  <a:lnTo>
                    <a:pt x="965" y="183"/>
                  </a:lnTo>
                  <a:lnTo>
                    <a:pt x="964" y="181"/>
                  </a:lnTo>
                  <a:lnTo>
                    <a:pt x="962" y="180"/>
                  </a:lnTo>
                  <a:lnTo>
                    <a:pt x="961" y="175"/>
                  </a:lnTo>
                  <a:lnTo>
                    <a:pt x="961" y="172"/>
                  </a:lnTo>
                  <a:lnTo>
                    <a:pt x="964" y="165"/>
                  </a:lnTo>
                  <a:lnTo>
                    <a:pt x="964" y="164"/>
                  </a:lnTo>
                  <a:lnTo>
                    <a:pt x="964" y="148"/>
                  </a:lnTo>
                  <a:lnTo>
                    <a:pt x="964" y="140"/>
                  </a:lnTo>
                  <a:lnTo>
                    <a:pt x="964" y="132"/>
                  </a:lnTo>
                  <a:lnTo>
                    <a:pt x="964" y="126"/>
                  </a:lnTo>
                  <a:lnTo>
                    <a:pt x="964" y="121"/>
                  </a:lnTo>
                  <a:lnTo>
                    <a:pt x="964" y="118"/>
                  </a:lnTo>
                  <a:lnTo>
                    <a:pt x="962" y="113"/>
                  </a:lnTo>
                  <a:lnTo>
                    <a:pt x="961" y="110"/>
                  </a:lnTo>
                  <a:lnTo>
                    <a:pt x="959" y="107"/>
                  </a:lnTo>
                  <a:lnTo>
                    <a:pt x="956" y="105"/>
                  </a:lnTo>
                  <a:lnTo>
                    <a:pt x="954" y="104"/>
                  </a:lnTo>
                  <a:lnTo>
                    <a:pt x="953" y="102"/>
                  </a:lnTo>
                  <a:lnTo>
                    <a:pt x="951" y="102"/>
                  </a:lnTo>
                  <a:lnTo>
                    <a:pt x="949" y="102"/>
                  </a:lnTo>
                  <a:lnTo>
                    <a:pt x="948" y="102"/>
                  </a:lnTo>
                  <a:lnTo>
                    <a:pt x="946" y="104"/>
                  </a:lnTo>
                  <a:lnTo>
                    <a:pt x="946" y="105"/>
                  </a:lnTo>
                  <a:lnTo>
                    <a:pt x="946" y="109"/>
                  </a:lnTo>
                  <a:lnTo>
                    <a:pt x="946" y="112"/>
                  </a:lnTo>
                  <a:lnTo>
                    <a:pt x="943" y="120"/>
                  </a:lnTo>
                  <a:lnTo>
                    <a:pt x="938" y="126"/>
                  </a:lnTo>
                  <a:lnTo>
                    <a:pt x="937" y="128"/>
                  </a:lnTo>
                  <a:lnTo>
                    <a:pt x="935" y="131"/>
                  </a:lnTo>
                  <a:lnTo>
                    <a:pt x="934" y="132"/>
                  </a:lnTo>
                  <a:lnTo>
                    <a:pt x="931" y="135"/>
                  </a:lnTo>
                  <a:lnTo>
                    <a:pt x="929" y="132"/>
                  </a:lnTo>
                  <a:lnTo>
                    <a:pt x="927" y="131"/>
                  </a:lnTo>
                  <a:lnTo>
                    <a:pt x="927" y="128"/>
                  </a:lnTo>
                  <a:lnTo>
                    <a:pt x="927" y="126"/>
                  </a:lnTo>
                  <a:lnTo>
                    <a:pt x="927" y="123"/>
                  </a:lnTo>
                  <a:lnTo>
                    <a:pt x="927" y="120"/>
                  </a:lnTo>
                  <a:lnTo>
                    <a:pt x="929" y="118"/>
                  </a:lnTo>
                  <a:lnTo>
                    <a:pt x="931" y="115"/>
                  </a:lnTo>
                  <a:lnTo>
                    <a:pt x="932" y="112"/>
                  </a:lnTo>
                  <a:lnTo>
                    <a:pt x="934" y="110"/>
                  </a:lnTo>
                  <a:lnTo>
                    <a:pt x="934" y="107"/>
                  </a:lnTo>
                  <a:lnTo>
                    <a:pt x="935" y="105"/>
                  </a:lnTo>
                  <a:lnTo>
                    <a:pt x="935" y="101"/>
                  </a:lnTo>
                  <a:lnTo>
                    <a:pt x="934" y="99"/>
                  </a:lnTo>
                  <a:lnTo>
                    <a:pt x="934" y="98"/>
                  </a:lnTo>
                  <a:lnTo>
                    <a:pt x="932" y="98"/>
                  </a:lnTo>
                  <a:lnTo>
                    <a:pt x="927" y="98"/>
                  </a:lnTo>
                  <a:lnTo>
                    <a:pt x="923" y="98"/>
                  </a:lnTo>
                  <a:close/>
                  <a:moveTo>
                    <a:pt x="910" y="28"/>
                  </a:moveTo>
                  <a:lnTo>
                    <a:pt x="910" y="27"/>
                  </a:lnTo>
                  <a:lnTo>
                    <a:pt x="907" y="25"/>
                  </a:lnTo>
                  <a:lnTo>
                    <a:pt x="905" y="23"/>
                  </a:lnTo>
                  <a:lnTo>
                    <a:pt x="904" y="19"/>
                  </a:lnTo>
                  <a:lnTo>
                    <a:pt x="900" y="12"/>
                  </a:lnTo>
                  <a:lnTo>
                    <a:pt x="899" y="8"/>
                  </a:lnTo>
                  <a:lnTo>
                    <a:pt x="896" y="4"/>
                  </a:lnTo>
                  <a:lnTo>
                    <a:pt x="894" y="3"/>
                  </a:lnTo>
                  <a:lnTo>
                    <a:pt x="893" y="0"/>
                  </a:lnTo>
                  <a:lnTo>
                    <a:pt x="889" y="0"/>
                  </a:lnTo>
                  <a:lnTo>
                    <a:pt x="888" y="0"/>
                  </a:lnTo>
                  <a:lnTo>
                    <a:pt x="886" y="0"/>
                  </a:lnTo>
                  <a:lnTo>
                    <a:pt x="886" y="1"/>
                  </a:lnTo>
                  <a:lnTo>
                    <a:pt x="885" y="3"/>
                  </a:lnTo>
                  <a:lnTo>
                    <a:pt x="885" y="4"/>
                  </a:lnTo>
                  <a:lnTo>
                    <a:pt x="885" y="8"/>
                  </a:lnTo>
                  <a:lnTo>
                    <a:pt x="883" y="8"/>
                  </a:lnTo>
                  <a:lnTo>
                    <a:pt x="878" y="12"/>
                  </a:lnTo>
                  <a:lnTo>
                    <a:pt x="874" y="16"/>
                  </a:lnTo>
                  <a:lnTo>
                    <a:pt x="872" y="19"/>
                  </a:lnTo>
                  <a:lnTo>
                    <a:pt x="869" y="19"/>
                  </a:lnTo>
                  <a:lnTo>
                    <a:pt x="866" y="19"/>
                  </a:lnTo>
                  <a:lnTo>
                    <a:pt x="863" y="20"/>
                  </a:lnTo>
                  <a:lnTo>
                    <a:pt x="859" y="23"/>
                  </a:lnTo>
                  <a:lnTo>
                    <a:pt x="856" y="25"/>
                  </a:lnTo>
                  <a:lnTo>
                    <a:pt x="853" y="28"/>
                  </a:lnTo>
                  <a:lnTo>
                    <a:pt x="852" y="31"/>
                  </a:lnTo>
                  <a:lnTo>
                    <a:pt x="852" y="33"/>
                  </a:lnTo>
                  <a:lnTo>
                    <a:pt x="852" y="34"/>
                  </a:lnTo>
                  <a:lnTo>
                    <a:pt x="852" y="38"/>
                  </a:lnTo>
                  <a:lnTo>
                    <a:pt x="852" y="39"/>
                  </a:lnTo>
                  <a:lnTo>
                    <a:pt x="853" y="41"/>
                  </a:lnTo>
                  <a:lnTo>
                    <a:pt x="856" y="42"/>
                  </a:lnTo>
                  <a:lnTo>
                    <a:pt x="856" y="44"/>
                  </a:lnTo>
                  <a:lnTo>
                    <a:pt x="859" y="44"/>
                  </a:lnTo>
                  <a:lnTo>
                    <a:pt x="859" y="45"/>
                  </a:lnTo>
                  <a:lnTo>
                    <a:pt x="859" y="47"/>
                  </a:lnTo>
                  <a:lnTo>
                    <a:pt x="859" y="52"/>
                  </a:lnTo>
                  <a:lnTo>
                    <a:pt x="859" y="55"/>
                  </a:lnTo>
                  <a:lnTo>
                    <a:pt x="856" y="58"/>
                  </a:lnTo>
                  <a:lnTo>
                    <a:pt x="855" y="61"/>
                  </a:lnTo>
                  <a:lnTo>
                    <a:pt x="853" y="66"/>
                  </a:lnTo>
                  <a:lnTo>
                    <a:pt x="850" y="68"/>
                  </a:lnTo>
                  <a:lnTo>
                    <a:pt x="848" y="69"/>
                  </a:lnTo>
                  <a:lnTo>
                    <a:pt x="847" y="69"/>
                  </a:lnTo>
                  <a:lnTo>
                    <a:pt x="845" y="69"/>
                  </a:lnTo>
                  <a:lnTo>
                    <a:pt x="844" y="69"/>
                  </a:lnTo>
                  <a:lnTo>
                    <a:pt x="844" y="74"/>
                  </a:lnTo>
                  <a:lnTo>
                    <a:pt x="844" y="77"/>
                  </a:lnTo>
                  <a:lnTo>
                    <a:pt x="840" y="79"/>
                  </a:lnTo>
                  <a:lnTo>
                    <a:pt x="839" y="80"/>
                  </a:lnTo>
                  <a:lnTo>
                    <a:pt x="836" y="82"/>
                  </a:lnTo>
                  <a:lnTo>
                    <a:pt x="836" y="85"/>
                  </a:lnTo>
                  <a:lnTo>
                    <a:pt x="836" y="86"/>
                  </a:lnTo>
                  <a:lnTo>
                    <a:pt x="837" y="86"/>
                  </a:lnTo>
                  <a:lnTo>
                    <a:pt x="840" y="88"/>
                  </a:lnTo>
                  <a:lnTo>
                    <a:pt x="840" y="90"/>
                  </a:lnTo>
                  <a:lnTo>
                    <a:pt x="847" y="90"/>
                  </a:lnTo>
                  <a:lnTo>
                    <a:pt x="852" y="91"/>
                  </a:lnTo>
                  <a:lnTo>
                    <a:pt x="853" y="94"/>
                  </a:lnTo>
                  <a:lnTo>
                    <a:pt x="856" y="98"/>
                  </a:lnTo>
                  <a:lnTo>
                    <a:pt x="856" y="101"/>
                  </a:lnTo>
                  <a:lnTo>
                    <a:pt x="859" y="104"/>
                  </a:lnTo>
                  <a:lnTo>
                    <a:pt x="861" y="107"/>
                  </a:lnTo>
                  <a:lnTo>
                    <a:pt x="863" y="110"/>
                  </a:lnTo>
                  <a:lnTo>
                    <a:pt x="864" y="110"/>
                  </a:lnTo>
                  <a:lnTo>
                    <a:pt x="866" y="112"/>
                  </a:lnTo>
                  <a:lnTo>
                    <a:pt x="867" y="112"/>
                  </a:lnTo>
                  <a:lnTo>
                    <a:pt x="869" y="112"/>
                  </a:lnTo>
                  <a:lnTo>
                    <a:pt x="872" y="112"/>
                  </a:lnTo>
                  <a:lnTo>
                    <a:pt x="874" y="112"/>
                  </a:lnTo>
                  <a:lnTo>
                    <a:pt x="877" y="110"/>
                  </a:lnTo>
                  <a:lnTo>
                    <a:pt x="878" y="110"/>
                  </a:lnTo>
                  <a:lnTo>
                    <a:pt x="882" y="107"/>
                  </a:lnTo>
                  <a:lnTo>
                    <a:pt x="885" y="105"/>
                  </a:lnTo>
                  <a:lnTo>
                    <a:pt x="888" y="102"/>
                  </a:lnTo>
                  <a:lnTo>
                    <a:pt x="891" y="99"/>
                  </a:lnTo>
                  <a:lnTo>
                    <a:pt x="893" y="98"/>
                  </a:lnTo>
                  <a:lnTo>
                    <a:pt x="894" y="98"/>
                  </a:lnTo>
                  <a:lnTo>
                    <a:pt x="896" y="96"/>
                  </a:lnTo>
                  <a:lnTo>
                    <a:pt x="897" y="94"/>
                  </a:lnTo>
                  <a:lnTo>
                    <a:pt x="905" y="94"/>
                  </a:lnTo>
                  <a:lnTo>
                    <a:pt x="915" y="91"/>
                  </a:lnTo>
                  <a:lnTo>
                    <a:pt x="916" y="90"/>
                  </a:lnTo>
                  <a:lnTo>
                    <a:pt x="919" y="90"/>
                  </a:lnTo>
                  <a:lnTo>
                    <a:pt x="919" y="88"/>
                  </a:lnTo>
                  <a:lnTo>
                    <a:pt x="923" y="86"/>
                  </a:lnTo>
                  <a:lnTo>
                    <a:pt x="924" y="86"/>
                  </a:lnTo>
                  <a:lnTo>
                    <a:pt x="926" y="85"/>
                  </a:lnTo>
                  <a:lnTo>
                    <a:pt x="926" y="82"/>
                  </a:lnTo>
                  <a:lnTo>
                    <a:pt x="926" y="80"/>
                  </a:lnTo>
                  <a:lnTo>
                    <a:pt x="926" y="79"/>
                  </a:lnTo>
                  <a:lnTo>
                    <a:pt x="924" y="77"/>
                  </a:lnTo>
                  <a:lnTo>
                    <a:pt x="923" y="75"/>
                  </a:lnTo>
                  <a:lnTo>
                    <a:pt x="921" y="74"/>
                  </a:lnTo>
                  <a:lnTo>
                    <a:pt x="919" y="72"/>
                  </a:lnTo>
                  <a:lnTo>
                    <a:pt x="916" y="71"/>
                  </a:lnTo>
                  <a:lnTo>
                    <a:pt x="915" y="68"/>
                  </a:lnTo>
                  <a:lnTo>
                    <a:pt x="915" y="66"/>
                  </a:lnTo>
                  <a:lnTo>
                    <a:pt x="913" y="66"/>
                  </a:lnTo>
                  <a:lnTo>
                    <a:pt x="913" y="64"/>
                  </a:lnTo>
                  <a:lnTo>
                    <a:pt x="913" y="61"/>
                  </a:lnTo>
                  <a:lnTo>
                    <a:pt x="913" y="60"/>
                  </a:lnTo>
                  <a:lnTo>
                    <a:pt x="915" y="58"/>
                  </a:lnTo>
                  <a:lnTo>
                    <a:pt x="915" y="57"/>
                  </a:lnTo>
                  <a:lnTo>
                    <a:pt x="916" y="55"/>
                  </a:lnTo>
                  <a:lnTo>
                    <a:pt x="919" y="53"/>
                  </a:lnTo>
                  <a:lnTo>
                    <a:pt x="921" y="52"/>
                  </a:lnTo>
                  <a:lnTo>
                    <a:pt x="923" y="49"/>
                  </a:lnTo>
                  <a:lnTo>
                    <a:pt x="924" y="47"/>
                  </a:lnTo>
                  <a:lnTo>
                    <a:pt x="926" y="45"/>
                  </a:lnTo>
                  <a:lnTo>
                    <a:pt x="926" y="44"/>
                  </a:lnTo>
                  <a:lnTo>
                    <a:pt x="926" y="42"/>
                  </a:lnTo>
                  <a:lnTo>
                    <a:pt x="926" y="38"/>
                  </a:lnTo>
                  <a:lnTo>
                    <a:pt x="924" y="36"/>
                  </a:lnTo>
                  <a:lnTo>
                    <a:pt x="923" y="33"/>
                  </a:lnTo>
                  <a:lnTo>
                    <a:pt x="921" y="31"/>
                  </a:lnTo>
                  <a:lnTo>
                    <a:pt x="919" y="28"/>
                  </a:lnTo>
                  <a:lnTo>
                    <a:pt x="916" y="28"/>
                  </a:lnTo>
                  <a:lnTo>
                    <a:pt x="913" y="28"/>
                  </a:lnTo>
                  <a:lnTo>
                    <a:pt x="910" y="28"/>
                  </a:lnTo>
                  <a:close/>
                  <a:moveTo>
                    <a:pt x="842" y="107"/>
                  </a:moveTo>
                  <a:lnTo>
                    <a:pt x="840" y="107"/>
                  </a:lnTo>
                  <a:lnTo>
                    <a:pt x="839" y="109"/>
                  </a:lnTo>
                  <a:lnTo>
                    <a:pt x="837" y="110"/>
                  </a:lnTo>
                  <a:lnTo>
                    <a:pt x="836" y="110"/>
                  </a:lnTo>
                  <a:lnTo>
                    <a:pt x="834" y="112"/>
                  </a:lnTo>
                  <a:lnTo>
                    <a:pt x="833" y="112"/>
                  </a:lnTo>
                  <a:lnTo>
                    <a:pt x="833" y="115"/>
                  </a:lnTo>
                  <a:lnTo>
                    <a:pt x="833" y="118"/>
                  </a:lnTo>
                  <a:lnTo>
                    <a:pt x="833" y="120"/>
                  </a:lnTo>
                  <a:lnTo>
                    <a:pt x="833" y="123"/>
                  </a:lnTo>
                  <a:lnTo>
                    <a:pt x="833" y="126"/>
                  </a:lnTo>
                  <a:lnTo>
                    <a:pt x="834" y="128"/>
                  </a:lnTo>
                  <a:lnTo>
                    <a:pt x="836" y="131"/>
                  </a:lnTo>
                  <a:lnTo>
                    <a:pt x="837" y="132"/>
                  </a:lnTo>
                  <a:lnTo>
                    <a:pt x="839" y="134"/>
                  </a:lnTo>
                  <a:lnTo>
                    <a:pt x="842" y="135"/>
                  </a:lnTo>
                  <a:lnTo>
                    <a:pt x="845" y="135"/>
                  </a:lnTo>
                  <a:lnTo>
                    <a:pt x="850" y="137"/>
                  </a:lnTo>
                  <a:lnTo>
                    <a:pt x="850" y="139"/>
                  </a:lnTo>
                  <a:lnTo>
                    <a:pt x="852" y="140"/>
                  </a:lnTo>
                  <a:lnTo>
                    <a:pt x="852" y="142"/>
                  </a:lnTo>
                  <a:lnTo>
                    <a:pt x="852" y="143"/>
                  </a:lnTo>
                  <a:lnTo>
                    <a:pt x="853" y="143"/>
                  </a:lnTo>
                  <a:lnTo>
                    <a:pt x="855" y="143"/>
                  </a:lnTo>
                  <a:lnTo>
                    <a:pt x="856" y="143"/>
                  </a:lnTo>
                  <a:lnTo>
                    <a:pt x="858" y="145"/>
                  </a:lnTo>
                  <a:lnTo>
                    <a:pt x="859" y="143"/>
                  </a:lnTo>
                  <a:lnTo>
                    <a:pt x="861" y="142"/>
                  </a:lnTo>
                  <a:lnTo>
                    <a:pt x="864" y="139"/>
                  </a:lnTo>
                  <a:lnTo>
                    <a:pt x="866" y="135"/>
                  </a:lnTo>
                  <a:lnTo>
                    <a:pt x="869" y="128"/>
                  </a:lnTo>
                  <a:lnTo>
                    <a:pt x="870" y="126"/>
                  </a:lnTo>
                  <a:lnTo>
                    <a:pt x="870" y="123"/>
                  </a:lnTo>
                  <a:lnTo>
                    <a:pt x="869" y="121"/>
                  </a:lnTo>
                  <a:lnTo>
                    <a:pt x="869" y="120"/>
                  </a:lnTo>
                  <a:lnTo>
                    <a:pt x="867" y="118"/>
                  </a:lnTo>
                  <a:lnTo>
                    <a:pt x="866" y="116"/>
                  </a:lnTo>
                  <a:lnTo>
                    <a:pt x="864" y="115"/>
                  </a:lnTo>
                  <a:lnTo>
                    <a:pt x="861" y="113"/>
                  </a:lnTo>
                  <a:lnTo>
                    <a:pt x="859" y="112"/>
                  </a:lnTo>
                  <a:lnTo>
                    <a:pt x="855" y="110"/>
                  </a:lnTo>
                  <a:lnTo>
                    <a:pt x="850" y="109"/>
                  </a:lnTo>
                  <a:lnTo>
                    <a:pt x="845" y="107"/>
                  </a:lnTo>
                  <a:lnTo>
                    <a:pt x="842" y="107"/>
                  </a:lnTo>
                  <a:close/>
                  <a:moveTo>
                    <a:pt x="826" y="4"/>
                  </a:moveTo>
                  <a:lnTo>
                    <a:pt x="821" y="4"/>
                  </a:lnTo>
                  <a:lnTo>
                    <a:pt x="818" y="4"/>
                  </a:lnTo>
                  <a:lnTo>
                    <a:pt x="817" y="6"/>
                  </a:lnTo>
                  <a:lnTo>
                    <a:pt x="815" y="6"/>
                  </a:lnTo>
                  <a:lnTo>
                    <a:pt x="815" y="8"/>
                  </a:lnTo>
                  <a:lnTo>
                    <a:pt x="815" y="11"/>
                  </a:lnTo>
                  <a:lnTo>
                    <a:pt x="815" y="12"/>
                  </a:lnTo>
                  <a:lnTo>
                    <a:pt x="815" y="16"/>
                  </a:lnTo>
                  <a:lnTo>
                    <a:pt x="815" y="19"/>
                  </a:lnTo>
                  <a:lnTo>
                    <a:pt x="818" y="19"/>
                  </a:lnTo>
                  <a:lnTo>
                    <a:pt x="818" y="20"/>
                  </a:lnTo>
                  <a:lnTo>
                    <a:pt x="820" y="22"/>
                  </a:lnTo>
                  <a:lnTo>
                    <a:pt x="823" y="22"/>
                  </a:lnTo>
                  <a:lnTo>
                    <a:pt x="826" y="22"/>
                  </a:lnTo>
                  <a:lnTo>
                    <a:pt x="828" y="22"/>
                  </a:lnTo>
                  <a:lnTo>
                    <a:pt x="829" y="20"/>
                  </a:lnTo>
                  <a:lnTo>
                    <a:pt x="831" y="20"/>
                  </a:lnTo>
                  <a:lnTo>
                    <a:pt x="831" y="19"/>
                  </a:lnTo>
                  <a:lnTo>
                    <a:pt x="833" y="16"/>
                  </a:lnTo>
                  <a:lnTo>
                    <a:pt x="836" y="14"/>
                  </a:lnTo>
                  <a:lnTo>
                    <a:pt x="829" y="8"/>
                  </a:lnTo>
                  <a:lnTo>
                    <a:pt x="826" y="4"/>
                  </a:lnTo>
                  <a:close/>
                </a:path>
              </a:pathLst>
            </a:custGeom>
            <a:solidFill>
              <a:srgbClr val="0070C0">
                <a:alpha val="10000"/>
              </a:srgbClr>
            </a:solidFill>
            <a:ln w="9525">
              <a:solidFill>
                <a:srgbClr val="FFFFFF">
                  <a:alpha val="0"/>
                </a:srgbClr>
              </a:solidFill>
              <a:round/>
              <a:headEnd/>
              <a:tailEnd/>
            </a:ln>
          </p:spPr>
          <p:txBody>
            <a:bodyPr lIns="91413" tIns="45707" rIns="91413" bIns="45707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372">
                <a:defRPr/>
              </a:pPr>
              <a:endParaRPr lang="ru-RU" sz="1700" dirty="0">
                <a:solidFill>
                  <a:srgbClr val="000000"/>
                </a:solidFill>
                <a:latin typeface="Arial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58" name="Freeform 12">
              <a:extLst>
                <a:ext uri="{FF2B5EF4-FFF2-40B4-BE49-F238E27FC236}">
                  <a16:creationId xmlns:a16="http://schemas.microsoft.com/office/drawing/2014/main" id="{919FA60D-5658-497E-9054-3D90AF0D3A20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 rot="389746">
              <a:off x="4971987" y="7406729"/>
              <a:ext cx="1885801" cy="2067672"/>
            </a:xfrm>
            <a:custGeom>
              <a:avLst/>
              <a:gdLst>
                <a:gd name="T0" fmla="*/ 2147483647 w 687"/>
                <a:gd name="T1" fmla="*/ 2147483647 h 819"/>
                <a:gd name="T2" fmla="*/ 2147483647 w 687"/>
                <a:gd name="T3" fmla="*/ 2147483647 h 819"/>
                <a:gd name="T4" fmla="*/ 2147483647 w 687"/>
                <a:gd name="T5" fmla="*/ 2147483647 h 819"/>
                <a:gd name="T6" fmla="*/ 2147483647 w 687"/>
                <a:gd name="T7" fmla="*/ 2147483647 h 819"/>
                <a:gd name="T8" fmla="*/ 2147483647 w 687"/>
                <a:gd name="T9" fmla="*/ 2147483647 h 819"/>
                <a:gd name="T10" fmla="*/ 2147483647 w 687"/>
                <a:gd name="T11" fmla="*/ 2147483647 h 819"/>
                <a:gd name="T12" fmla="*/ 2147483647 w 687"/>
                <a:gd name="T13" fmla="*/ 2147483647 h 819"/>
                <a:gd name="T14" fmla="*/ 2147483647 w 687"/>
                <a:gd name="T15" fmla="*/ 2147483647 h 819"/>
                <a:gd name="T16" fmla="*/ 2147483647 w 687"/>
                <a:gd name="T17" fmla="*/ 2147483647 h 819"/>
                <a:gd name="T18" fmla="*/ 2147483647 w 687"/>
                <a:gd name="T19" fmla="*/ 2147483647 h 819"/>
                <a:gd name="T20" fmla="*/ 2147483647 w 687"/>
                <a:gd name="T21" fmla="*/ 2147483647 h 819"/>
                <a:gd name="T22" fmla="*/ 2147483647 w 687"/>
                <a:gd name="T23" fmla="*/ 2147483647 h 819"/>
                <a:gd name="T24" fmla="*/ 2147483647 w 687"/>
                <a:gd name="T25" fmla="*/ 2147483647 h 819"/>
                <a:gd name="T26" fmla="*/ 2147483647 w 687"/>
                <a:gd name="T27" fmla="*/ 2147483647 h 819"/>
                <a:gd name="T28" fmla="*/ 2147483647 w 687"/>
                <a:gd name="T29" fmla="*/ 2147483647 h 819"/>
                <a:gd name="T30" fmla="*/ 2147483647 w 687"/>
                <a:gd name="T31" fmla="*/ 2147483647 h 819"/>
                <a:gd name="T32" fmla="*/ 2147483647 w 687"/>
                <a:gd name="T33" fmla="*/ 2147483647 h 819"/>
                <a:gd name="T34" fmla="*/ 2147483647 w 687"/>
                <a:gd name="T35" fmla="*/ 2147483647 h 819"/>
                <a:gd name="T36" fmla="*/ 2147483647 w 687"/>
                <a:gd name="T37" fmla="*/ 2147483647 h 819"/>
                <a:gd name="T38" fmla="*/ 2147483647 w 687"/>
                <a:gd name="T39" fmla="*/ 2147483647 h 819"/>
                <a:gd name="T40" fmla="*/ 2147483647 w 687"/>
                <a:gd name="T41" fmla="*/ 2147483647 h 819"/>
                <a:gd name="T42" fmla="*/ 2147483647 w 687"/>
                <a:gd name="T43" fmla="*/ 2147483647 h 819"/>
                <a:gd name="T44" fmla="*/ 2147483647 w 687"/>
                <a:gd name="T45" fmla="*/ 2147483647 h 819"/>
                <a:gd name="T46" fmla="*/ 2147483647 w 687"/>
                <a:gd name="T47" fmla="*/ 2147483647 h 819"/>
                <a:gd name="T48" fmla="*/ 2147483647 w 687"/>
                <a:gd name="T49" fmla="*/ 2147483647 h 819"/>
                <a:gd name="T50" fmla="*/ 2147483647 w 687"/>
                <a:gd name="T51" fmla="*/ 2147483647 h 819"/>
                <a:gd name="T52" fmla="*/ 2147483647 w 687"/>
                <a:gd name="T53" fmla="*/ 2147483647 h 819"/>
                <a:gd name="T54" fmla="*/ 2147483647 w 687"/>
                <a:gd name="T55" fmla="*/ 2147483647 h 819"/>
                <a:gd name="T56" fmla="*/ 2147483647 w 687"/>
                <a:gd name="T57" fmla="*/ 2147483647 h 819"/>
                <a:gd name="T58" fmla="*/ 2147483647 w 687"/>
                <a:gd name="T59" fmla="*/ 2147483647 h 819"/>
                <a:gd name="T60" fmla="*/ 2147483647 w 687"/>
                <a:gd name="T61" fmla="*/ 2147483647 h 819"/>
                <a:gd name="T62" fmla="*/ 2147483647 w 687"/>
                <a:gd name="T63" fmla="*/ 2147483647 h 819"/>
                <a:gd name="T64" fmla="*/ 2147483647 w 687"/>
                <a:gd name="T65" fmla="*/ 2147483647 h 819"/>
                <a:gd name="T66" fmla="*/ 2147483647 w 687"/>
                <a:gd name="T67" fmla="*/ 2147483647 h 819"/>
                <a:gd name="T68" fmla="*/ 2147483647 w 687"/>
                <a:gd name="T69" fmla="*/ 2147483647 h 819"/>
                <a:gd name="T70" fmla="*/ 2147483647 w 687"/>
                <a:gd name="T71" fmla="*/ 2147483647 h 819"/>
                <a:gd name="T72" fmla="*/ 2147483647 w 687"/>
                <a:gd name="T73" fmla="*/ 2147483647 h 819"/>
                <a:gd name="T74" fmla="*/ 2147483647 w 687"/>
                <a:gd name="T75" fmla="*/ 2147483647 h 819"/>
                <a:gd name="T76" fmla="*/ 2147483647 w 687"/>
                <a:gd name="T77" fmla="*/ 2147483647 h 819"/>
                <a:gd name="T78" fmla="*/ 2147483647 w 687"/>
                <a:gd name="T79" fmla="*/ 2147483647 h 819"/>
                <a:gd name="T80" fmla="*/ 2147483647 w 687"/>
                <a:gd name="T81" fmla="*/ 2147483647 h 819"/>
                <a:gd name="T82" fmla="*/ 2147483647 w 687"/>
                <a:gd name="T83" fmla="*/ 2147483647 h 819"/>
                <a:gd name="T84" fmla="*/ 2147483647 w 687"/>
                <a:gd name="T85" fmla="*/ 2147483647 h 819"/>
                <a:gd name="T86" fmla="*/ 2147483647 w 687"/>
                <a:gd name="T87" fmla="*/ 2147483647 h 819"/>
                <a:gd name="T88" fmla="*/ 2147483647 w 687"/>
                <a:gd name="T89" fmla="*/ 2147483647 h 819"/>
                <a:gd name="T90" fmla="*/ 2147483647 w 687"/>
                <a:gd name="T91" fmla="*/ 2147483647 h 819"/>
                <a:gd name="T92" fmla="*/ 2147483647 w 687"/>
                <a:gd name="T93" fmla="*/ 2147483647 h 819"/>
                <a:gd name="T94" fmla="*/ 2147483647 w 687"/>
                <a:gd name="T95" fmla="*/ 2147483647 h 819"/>
                <a:gd name="T96" fmla="*/ 2147483647 w 687"/>
                <a:gd name="T97" fmla="*/ 2147483647 h 819"/>
                <a:gd name="T98" fmla="*/ 2147483647 w 687"/>
                <a:gd name="T99" fmla="*/ 2147483647 h 819"/>
                <a:gd name="T100" fmla="*/ 2147483647 w 687"/>
                <a:gd name="T101" fmla="*/ 2147483647 h 819"/>
                <a:gd name="T102" fmla="*/ 2147483647 w 687"/>
                <a:gd name="T103" fmla="*/ 2147483647 h 819"/>
                <a:gd name="T104" fmla="*/ 2147483647 w 687"/>
                <a:gd name="T105" fmla="*/ 2147483647 h 819"/>
                <a:gd name="T106" fmla="*/ 2147483647 w 687"/>
                <a:gd name="T107" fmla="*/ 2147483647 h 819"/>
                <a:gd name="T108" fmla="*/ 2147483647 w 687"/>
                <a:gd name="T109" fmla="*/ 2147483647 h 819"/>
                <a:gd name="T110" fmla="*/ 2147483647 w 687"/>
                <a:gd name="T111" fmla="*/ 2147483647 h 819"/>
                <a:gd name="T112" fmla="*/ 2147483647 w 687"/>
                <a:gd name="T113" fmla="*/ 2147483647 h 819"/>
                <a:gd name="T114" fmla="*/ 2147483647 w 687"/>
                <a:gd name="T115" fmla="*/ 2147483647 h 819"/>
                <a:gd name="T116" fmla="*/ 2147483647 w 687"/>
                <a:gd name="T117" fmla="*/ 2147483647 h 81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87"/>
                <a:gd name="T178" fmla="*/ 0 h 819"/>
                <a:gd name="T179" fmla="*/ 687 w 687"/>
                <a:gd name="T180" fmla="*/ 819 h 81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87" h="819">
                  <a:moveTo>
                    <a:pt x="174" y="555"/>
                  </a:moveTo>
                  <a:lnTo>
                    <a:pt x="174" y="557"/>
                  </a:lnTo>
                  <a:lnTo>
                    <a:pt x="174" y="558"/>
                  </a:lnTo>
                  <a:lnTo>
                    <a:pt x="175" y="560"/>
                  </a:lnTo>
                  <a:lnTo>
                    <a:pt x="178" y="563"/>
                  </a:lnTo>
                  <a:lnTo>
                    <a:pt x="180" y="566"/>
                  </a:lnTo>
                  <a:lnTo>
                    <a:pt x="182" y="568"/>
                  </a:lnTo>
                  <a:lnTo>
                    <a:pt x="185" y="571"/>
                  </a:lnTo>
                  <a:lnTo>
                    <a:pt x="185" y="573"/>
                  </a:lnTo>
                  <a:lnTo>
                    <a:pt x="185" y="576"/>
                  </a:lnTo>
                  <a:lnTo>
                    <a:pt x="182" y="581"/>
                  </a:lnTo>
                  <a:lnTo>
                    <a:pt x="180" y="585"/>
                  </a:lnTo>
                  <a:lnTo>
                    <a:pt x="180" y="587"/>
                  </a:lnTo>
                  <a:lnTo>
                    <a:pt x="182" y="590"/>
                  </a:lnTo>
                  <a:lnTo>
                    <a:pt x="183" y="592"/>
                  </a:lnTo>
                  <a:lnTo>
                    <a:pt x="185" y="593"/>
                  </a:lnTo>
                  <a:lnTo>
                    <a:pt x="188" y="595"/>
                  </a:lnTo>
                  <a:lnTo>
                    <a:pt x="191" y="596"/>
                  </a:lnTo>
                  <a:lnTo>
                    <a:pt x="194" y="596"/>
                  </a:lnTo>
                  <a:lnTo>
                    <a:pt x="197" y="598"/>
                  </a:lnTo>
                  <a:lnTo>
                    <a:pt x="207" y="599"/>
                  </a:lnTo>
                  <a:lnTo>
                    <a:pt x="215" y="599"/>
                  </a:lnTo>
                  <a:lnTo>
                    <a:pt x="221" y="599"/>
                  </a:lnTo>
                  <a:lnTo>
                    <a:pt x="226" y="599"/>
                  </a:lnTo>
                  <a:lnTo>
                    <a:pt x="226" y="601"/>
                  </a:lnTo>
                  <a:lnTo>
                    <a:pt x="226" y="603"/>
                  </a:lnTo>
                  <a:lnTo>
                    <a:pt x="226" y="607"/>
                  </a:lnTo>
                  <a:lnTo>
                    <a:pt x="226" y="609"/>
                  </a:lnTo>
                  <a:lnTo>
                    <a:pt x="226" y="610"/>
                  </a:lnTo>
                  <a:lnTo>
                    <a:pt x="227" y="612"/>
                  </a:lnTo>
                  <a:lnTo>
                    <a:pt x="227" y="614"/>
                  </a:lnTo>
                  <a:lnTo>
                    <a:pt x="232" y="615"/>
                  </a:lnTo>
                  <a:lnTo>
                    <a:pt x="235" y="617"/>
                  </a:lnTo>
                  <a:lnTo>
                    <a:pt x="240" y="620"/>
                  </a:lnTo>
                  <a:lnTo>
                    <a:pt x="243" y="622"/>
                  </a:lnTo>
                  <a:lnTo>
                    <a:pt x="246" y="623"/>
                  </a:lnTo>
                  <a:lnTo>
                    <a:pt x="248" y="625"/>
                  </a:lnTo>
                  <a:lnTo>
                    <a:pt x="250" y="626"/>
                  </a:lnTo>
                  <a:lnTo>
                    <a:pt x="251" y="629"/>
                  </a:lnTo>
                  <a:lnTo>
                    <a:pt x="254" y="633"/>
                  </a:lnTo>
                  <a:lnTo>
                    <a:pt x="256" y="636"/>
                  </a:lnTo>
                  <a:lnTo>
                    <a:pt x="256" y="640"/>
                  </a:lnTo>
                  <a:lnTo>
                    <a:pt x="256" y="644"/>
                  </a:lnTo>
                  <a:lnTo>
                    <a:pt x="257" y="648"/>
                  </a:lnTo>
                  <a:lnTo>
                    <a:pt x="256" y="663"/>
                  </a:lnTo>
                  <a:lnTo>
                    <a:pt x="254" y="666"/>
                  </a:lnTo>
                  <a:lnTo>
                    <a:pt x="251" y="669"/>
                  </a:lnTo>
                  <a:lnTo>
                    <a:pt x="250" y="672"/>
                  </a:lnTo>
                  <a:lnTo>
                    <a:pt x="248" y="675"/>
                  </a:lnTo>
                  <a:lnTo>
                    <a:pt x="246" y="678"/>
                  </a:lnTo>
                  <a:lnTo>
                    <a:pt x="246" y="683"/>
                  </a:lnTo>
                  <a:lnTo>
                    <a:pt x="246" y="686"/>
                  </a:lnTo>
                  <a:lnTo>
                    <a:pt x="246" y="689"/>
                  </a:lnTo>
                  <a:lnTo>
                    <a:pt x="246" y="694"/>
                  </a:lnTo>
                  <a:lnTo>
                    <a:pt x="248" y="696"/>
                  </a:lnTo>
                  <a:lnTo>
                    <a:pt x="248" y="697"/>
                  </a:lnTo>
                  <a:lnTo>
                    <a:pt x="250" y="700"/>
                  </a:lnTo>
                  <a:lnTo>
                    <a:pt x="251" y="700"/>
                  </a:lnTo>
                  <a:lnTo>
                    <a:pt x="253" y="702"/>
                  </a:lnTo>
                  <a:lnTo>
                    <a:pt x="256" y="704"/>
                  </a:lnTo>
                  <a:lnTo>
                    <a:pt x="259" y="707"/>
                  </a:lnTo>
                  <a:lnTo>
                    <a:pt x="262" y="708"/>
                  </a:lnTo>
                  <a:lnTo>
                    <a:pt x="264" y="710"/>
                  </a:lnTo>
                  <a:lnTo>
                    <a:pt x="264" y="711"/>
                  </a:lnTo>
                  <a:lnTo>
                    <a:pt x="265" y="715"/>
                  </a:lnTo>
                  <a:lnTo>
                    <a:pt x="267" y="716"/>
                  </a:lnTo>
                  <a:lnTo>
                    <a:pt x="268" y="727"/>
                  </a:lnTo>
                  <a:lnTo>
                    <a:pt x="272" y="738"/>
                  </a:lnTo>
                  <a:lnTo>
                    <a:pt x="275" y="743"/>
                  </a:lnTo>
                  <a:lnTo>
                    <a:pt x="275" y="748"/>
                  </a:lnTo>
                  <a:lnTo>
                    <a:pt x="278" y="752"/>
                  </a:lnTo>
                  <a:lnTo>
                    <a:pt x="281" y="757"/>
                  </a:lnTo>
                  <a:lnTo>
                    <a:pt x="281" y="798"/>
                  </a:lnTo>
                  <a:lnTo>
                    <a:pt x="281" y="801"/>
                  </a:lnTo>
                  <a:lnTo>
                    <a:pt x="284" y="805"/>
                  </a:lnTo>
                  <a:lnTo>
                    <a:pt x="286" y="808"/>
                  </a:lnTo>
                  <a:lnTo>
                    <a:pt x="289" y="811"/>
                  </a:lnTo>
                  <a:lnTo>
                    <a:pt x="292" y="814"/>
                  </a:lnTo>
                  <a:lnTo>
                    <a:pt x="295" y="816"/>
                  </a:lnTo>
                  <a:lnTo>
                    <a:pt x="297" y="817"/>
                  </a:lnTo>
                  <a:lnTo>
                    <a:pt x="299" y="819"/>
                  </a:lnTo>
                  <a:lnTo>
                    <a:pt x="300" y="819"/>
                  </a:lnTo>
                  <a:lnTo>
                    <a:pt x="302" y="819"/>
                  </a:lnTo>
                  <a:lnTo>
                    <a:pt x="305" y="819"/>
                  </a:lnTo>
                  <a:lnTo>
                    <a:pt x="308" y="817"/>
                  </a:lnTo>
                  <a:lnTo>
                    <a:pt x="311" y="816"/>
                  </a:lnTo>
                  <a:lnTo>
                    <a:pt x="313" y="814"/>
                  </a:lnTo>
                  <a:lnTo>
                    <a:pt x="316" y="812"/>
                  </a:lnTo>
                  <a:lnTo>
                    <a:pt x="317" y="811"/>
                  </a:lnTo>
                  <a:lnTo>
                    <a:pt x="321" y="811"/>
                  </a:lnTo>
                  <a:lnTo>
                    <a:pt x="324" y="809"/>
                  </a:lnTo>
                  <a:lnTo>
                    <a:pt x="330" y="809"/>
                  </a:lnTo>
                  <a:lnTo>
                    <a:pt x="336" y="809"/>
                  </a:lnTo>
                  <a:lnTo>
                    <a:pt x="343" y="809"/>
                  </a:lnTo>
                  <a:lnTo>
                    <a:pt x="349" y="809"/>
                  </a:lnTo>
                  <a:lnTo>
                    <a:pt x="354" y="809"/>
                  </a:lnTo>
                  <a:lnTo>
                    <a:pt x="359" y="809"/>
                  </a:lnTo>
                  <a:lnTo>
                    <a:pt x="362" y="809"/>
                  </a:lnTo>
                  <a:lnTo>
                    <a:pt x="362" y="808"/>
                  </a:lnTo>
                  <a:lnTo>
                    <a:pt x="365" y="808"/>
                  </a:lnTo>
                  <a:lnTo>
                    <a:pt x="366" y="806"/>
                  </a:lnTo>
                  <a:lnTo>
                    <a:pt x="368" y="801"/>
                  </a:lnTo>
                  <a:lnTo>
                    <a:pt x="368" y="795"/>
                  </a:lnTo>
                  <a:lnTo>
                    <a:pt x="368" y="789"/>
                  </a:lnTo>
                  <a:lnTo>
                    <a:pt x="366" y="782"/>
                  </a:lnTo>
                  <a:lnTo>
                    <a:pt x="366" y="770"/>
                  </a:lnTo>
                  <a:lnTo>
                    <a:pt x="363" y="757"/>
                  </a:lnTo>
                  <a:lnTo>
                    <a:pt x="363" y="751"/>
                  </a:lnTo>
                  <a:lnTo>
                    <a:pt x="365" y="746"/>
                  </a:lnTo>
                  <a:lnTo>
                    <a:pt x="363" y="740"/>
                  </a:lnTo>
                  <a:lnTo>
                    <a:pt x="363" y="734"/>
                  </a:lnTo>
                  <a:lnTo>
                    <a:pt x="362" y="722"/>
                  </a:lnTo>
                  <a:lnTo>
                    <a:pt x="360" y="711"/>
                  </a:lnTo>
                  <a:lnTo>
                    <a:pt x="359" y="707"/>
                  </a:lnTo>
                  <a:lnTo>
                    <a:pt x="359" y="700"/>
                  </a:lnTo>
                  <a:lnTo>
                    <a:pt x="359" y="696"/>
                  </a:lnTo>
                  <a:lnTo>
                    <a:pt x="360" y="689"/>
                  </a:lnTo>
                  <a:lnTo>
                    <a:pt x="362" y="686"/>
                  </a:lnTo>
                  <a:lnTo>
                    <a:pt x="362" y="685"/>
                  </a:lnTo>
                  <a:lnTo>
                    <a:pt x="363" y="681"/>
                  </a:lnTo>
                  <a:lnTo>
                    <a:pt x="365" y="678"/>
                  </a:lnTo>
                  <a:lnTo>
                    <a:pt x="366" y="675"/>
                  </a:lnTo>
                  <a:lnTo>
                    <a:pt x="370" y="674"/>
                  </a:lnTo>
                  <a:lnTo>
                    <a:pt x="371" y="670"/>
                  </a:lnTo>
                  <a:lnTo>
                    <a:pt x="374" y="667"/>
                  </a:lnTo>
                  <a:lnTo>
                    <a:pt x="376" y="666"/>
                  </a:lnTo>
                  <a:lnTo>
                    <a:pt x="376" y="663"/>
                  </a:lnTo>
                  <a:lnTo>
                    <a:pt x="379" y="661"/>
                  </a:lnTo>
                  <a:lnTo>
                    <a:pt x="382" y="658"/>
                  </a:lnTo>
                  <a:lnTo>
                    <a:pt x="389" y="652"/>
                  </a:lnTo>
                  <a:lnTo>
                    <a:pt x="395" y="645"/>
                  </a:lnTo>
                  <a:lnTo>
                    <a:pt x="398" y="642"/>
                  </a:lnTo>
                  <a:lnTo>
                    <a:pt x="401" y="637"/>
                  </a:lnTo>
                  <a:lnTo>
                    <a:pt x="403" y="634"/>
                  </a:lnTo>
                  <a:lnTo>
                    <a:pt x="404" y="629"/>
                  </a:lnTo>
                  <a:lnTo>
                    <a:pt x="404" y="628"/>
                  </a:lnTo>
                  <a:lnTo>
                    <a:pt x="406" y="626"/>
                  </a:lnTo>
                  <a:lnTo>
                    <a:pt x="406" y="625"/>
                  </a:lnTo>
                  <a:lnTo>
                    <a:pt x="406" y="622"/>
                  </a:lnTo>
                  <a:lnTo>
                    <a:pt x="404" y="620"/>
                  </a:lnTo>
                  <a:lnTo>
                    <a:pt x="404" y="617"/>
                  </a:lnTo>
                  <a:lnTo>
                    <a:pt x="403" y="615"/>
                  </a:lnTo>
                  <a:lnTo>
                    <a:pt x="403" y="614"/>
                  </a:lnTo>
                  <a:lnTo>
                    <a:pt x="398" y="607"/>
                  </a:lnTo>
                  <a:lnTo>
                    <a:pt x="395" y="601"/>
                  </a:lnTo>
                  <a:lnTo>
                    <a:pt x="393" y="596"/>
                  </a:lnTo>
                  <a:lnTo>
                    <a:pt x="392" y="595"/>
                  </a:lnTo>
                  <a:lnTo>
                    <a:pt x="392" y="592"/>
                  </a:lnTo>
                  <a:lnTo>
                    <a:pt x="392" y="588"/>
                  </a:lnTo>
                  <a:lnTo>
                    <a:pt x="392" y="585"/>
                  </a:lnTo>
                  <a:lnTo>
                    <a:pt x="392" y="582"/>
                  </a:lnTo>
                  <a:lnTo>
                    <a:pt x="392" y="579"/>
                  </a:lnTo>
                  <a:lnTo>
                    <a:pt x="393" y="576"/>
                  </a:lnTo>
                  <a:lnTo>
                    <a:pt x="393" y="573"/>
                  </a:lnTo>
                  <a:lnTo>
                    <a:pt x="395" y="569"/>
                  </a:lnTo>
                  <a:lnTo>
                    <a:pt x="396" y="566"/>
                  </a:lnTo>
                  <a:lnTo>
                    <a:pt x="398" y="563"/>
                  </a:lnTo>
                  <a:lnTo>
                    <a:pt x="400" y="562"/>
                  </a:lnTo>
                  <a:lnTo>
                    <a:pt x="401" y="560"/>
                  </a:lnTo>
                  <a:lnTo>
                    <a:pt x="403" y="558"/>
                  </a:lnTo>
                  <a:lnTo>
                    <a:pt x="404" y="558"/>
                  </a:lnTo>
                  <a:lnTo>
                    <a:pt x="408" y="557"/>
                  </a:lnTo>
                  <a:lnTo>
                    <a:pt x="414" y="555"/>
                  </a:lnTo>
                  <a:lnTo>
                    <a:pt x="417" y="555"/>
                  </a:lnTo>
                  <a:lnTo>
                    <a:pt x="423" y="554"/>
                  </a:lnTo>
                  <a:lnTo>
                    <a:pt x="428" y="552"/>
                  </a:lnTo>
                  <a:lnTo>
                    <a:pt x="433" y="551"/>
                  </a:lnTo>
                  <a:lnTo>
                    <a:pt x="439" y="547"/>
                  </a:lnTo>
                  <a:lnTo>
                    <a:pt x="444" y="543"/>
                  </a:lnTo>
                  <a:lnTo>
                    <a:pt x="447" y="541"/>
                  </a:lnTo>
                  <a:lnTo>
                    <a:pt x="449" y="540"/>
                  </a:lnTo>
                  <a:lnTo>
                    <a:pt x="453" y="536"/>
                  </a:lnTo>
                  <a:lnTo>
                    <a:pt x="455" y="533"/>
                  </a:lnTo>
                  <a:lnTo>
                    <a:pt x="458" y="530"/>
                  </a:lnTo>
                  <a:lnTo>
                    <a:pt x="460" y="527"/>
                  </a:lnTo>
                  <a:lnTo>
                    <a:pt x="463" y="524"/>
                  </a:lnTo>
                  <a:lnTo>
                    <a:pt x="466" y="522"/>
                  </a:lnTo>
                  <a:lnTo>
                    <a:pt x="469" y="519"/>
                  </a:lnTo>
                  <a:lnTo>
                    <a:pt x="472" y="519"/>
                  </a:lnTo>
                  <a:lnTo>
                    <a:pt x="475" y="517"/>
                  </a:lnTo>
                  <a:lnTo>
                    <a:pt x="479" y="517"/>
                  </a:lnTo>
                  <a:lnTo>
                    <a:pt x="483" y="517"/>
                  </a:lnTo>
                  <a:lnTo>
                    <a:pt x="490" y="519"/>
                  </a:lnTo>
                  <a:lnTo>
                    <a:pt x="494" y="521"/>
                  </a:lnTo>
                  <a:lnTo>
                    <a:pt x="498" y="522"/>
                  </a:lnTo>
                  <a:lnTo>
                    <a:pt x="502" y="522"/>
                  </a:lnTo>
                  <a:lnTo>
                    <a:pt x="507" y="525"/>
                  </a:lnTo>
                  <a:lnTo>
                    <a:pt x="512" y="525"/>
                  </a:lnTo>
                  <a:lnTo>
                    <a:pt x="517" y="525"/>
                  </a:lnTo>
                  <a:lnTo>
                    <a:pt x="524" y="524"/>
                  </a:lnTo>
                  <a:lnTo>
                    <a:pt x="532" y="522"/>
                  </a:lnTo>
                  <a:lnTo>
                    <a:pt x="539" y="522"/>
                  </a:lnTo>
                  <a:lnTo>
                    <a:pt x="547" y="522"/>
                  </a:lnTo>
                  <a:lnTo>
                    <a:pt x="554" y="522"/>
                  </a:lnTo>
                  <a:lnTo>
                    <a:pt x="561" y="522"/>
                  </a:lnTo>
                  <a:lnTo>
                    <a:pt x="569" y="522"/>
                  </a:lnTo>
                  <a:lnTo>
                    <a:pt x="577" y="524"/>
                  </a:lnTo>
                  <a:lnTo>
                    <a:pt x="573" y="521"/>
                  </a:lnTo>
                  <a:lnTo>
                    <a:pt x="572" y="517"/>
                  </a:lnTo>
                  <a:lnTo>
                    <a:pt x="569" y="516"/>
                  </a:lnTo>
                  <a:lnTo>
                    <a:pt x="567" y="513"/>
                  </a:lnTo>
                  <a:lnTo>
                    <a:pt x="567" y="476"/>
                  </a:lnTo>
                  <a:lnTo>
                    <a:pt x="572" y="480"/>
                  </a:lnTo>
                  <a:lnTo>
                    <a:pt x="573" y="480"/>
                  </a:lnTo>
                  <a:lnTo>
                    <a:pt x="577" y="481"/>
                  </a:lnTo>
                  <a:lnTo>
                    <a:pt x="580" y="484"/>
                  </a:lnTo>
                  <a:lnTo>
                    <a:pt x="581" y="486"/>
                  </a:lnTo>
                  <a:lnTo>
                    <a:pt x="584" y="489"/>
                  </a:lnTo>
                  <a:lnTo>
                    <a:pt x="586" y="491"/>
                  </a:lnTo>
                  <a:lnTo>
                    <a:pt x="591" y="492"/>
                  </a:lnTo>
                  <a:lnTo>
                    <a:pt x="592" y="486"/>
                  </a:lnTo>
                  <a:lnTo>
                    <a:pt x="594" y="481"/>
                  </a:lnTo>
                  <a:lnTo>
                    <a:pt x="594" y="476"/>
                  </a:lnTo>
                  <a:lnTo>
                    <a:pt x="594" y="472"/>
                  </a:lnTo>
                  <a:lnTo>
                    <a:pt x="594" y="461"/>
                  </a:lnTo>
                  <a:lnTo>
                    <a:pt x="594" y="446"/>
                  </a:lnTo>
                  <a:lnTo>
                    <a:pt x="594" y="432"/>
                  </a:lnTo>
                  <a:lnTo>
                    <a:pt x="594" y="416"/>
                  </a:lnTo>
                  <a:lnTo>
                    <a:pt x="594" y="413"/>
                  </a:lnTo>
                  <a:lnTo>
                    <a:pt x="594" y="410"/>
                  </a:lnTo>
                  <a:lnTo>
                    <a:pt x="592" y="407"/>
                  </a:lnTo>
                  <a:lnTo>
                    <a:pt x="592" y="404"/>
                  </a:lnTo>
                  <a:lnTo>
                    <a:pt x="589" y="401"/>
                  </a:lnTo>
                  <a:lnTo>
                    <a:pt x="588" y="398"/>
                  </a:lnTo>
                  <a:lnTo>
                    <a:pt x="586" y="394"/>
                  </a:lnTo>
                  <a:lnTo>
                    <a:pt x="583" y="393"/>
                  </a:lnTo>
                  <a:lnTo>
                    <a:pt x="581" y="391"/>
                  </a:lnTo>
                  <a:lnTo>
                    <a:pt x="580" y="390"/>
                  </a:lnTo>
                  <a:lnTo>
                    <a:pt x="577" y="390"/>
                  </a:lnTo>
                  <a:lnTo>
                    <a:pt x="575" y="390"/>
                  </a:lnTo>
                  <a:lnTo>
                    <a:pt x="570" y="388"/>
                  </a:lnTo>
                  <a:lnTo>
                    <a:pt x="566" y="387"/>
                  </a:lnTo>
                  <a:lnTo>
                    <a:pt x="562" y="385"/>
                  </a:lnTo>
                  <a:lnTo>
                    <a:pt x="561" y="385"/>
                  </a:lnTo>
                  <a:lnTo>
                    <a:pt x="558" y="383"/>
                  </a:lnTo>
                  <a:lnTo>
                    <a:pt x="556" y="382"/>
                  </a:lnTo>
                  <a:lnTo>
                    <a:pt x="556" y="380"/>
                  </a:lnTo>
                  <a:lnTo>
                    <a:pt x="554" y="379"/>
                  </a:lnTo>
                  <a:lnTo>
                    <a:pt x="554" y="375"/>
                  </a:lnTo>
                  <a:lnTo>
                    <a:pt x="553" y="372"/>
                  </a:lnTo>
                  <a:lnTo>
                    <a:pt x="554" y="369"/>
                  </a:lnTo>
                  <a:lnTo>
                    <a:pt x="554" y="366"/>
                  </a:lnTo>
                  <a:lnTo>
                    <a:pt x="554" y="364"/>
                  </a:lnTo>
                  <a:lnTo>
                    <a:pt x="556" y="363"/>
                  </a:lnTo>
                  <a:lnTo>
                    <a:pt x="558" y="360"/>
                  </a:lnTo>
                  <a:lnTo>
                    <a:pt x="561" y="357"/>
                  </a:lnTo>
                  <a:lnTo>
                    <a:pt x="564" y="353"/>
                  </a:lnTo>
                  <a:lnTo>
                    <a:pt x="567" y="350"/>
                  </a:lnTo>
                  <a:lnTo>
                    <a:pt x="570" y="346"/>
                  </a:lnTo>
                  <a:lnTo>
                    <a:pt x="572" y="342"/>
                  </a:lnTo>
                  <a:lnTo>
                    <a:pt x="567" y="336"/>
                  </a:lnTo>
                  <a:lnTo>
                    <a:pt x="564" y="333"/>
                  </a:lnTo>
                  <a:lnTo>
                    <a:pt x="558" y="330"/>
                  </a:lnTo>
                  <a:lnTo>
                    <a:pt x="556" y="328"/>
                  </a:lnTo>
                  <a:lnTo>
                    <a:pt x="556" y="325"/>
                  </a:lnTo>
                  <a:lnTo>
                    <a:pt x="554" y="322"/>
                  </a:lnTo>
                  <a:lnTo>
                    <a:pt x="553" y="319"/>
                  </a:lnTo>
                  <a:lnTo>
                    <a:pt x="554" y="314"/>
                  </a:lnTo>
                  <a:lnTo>
                    <a:pt x="554" y="311"/>
                  </a:lnTo>
                  <a:lnTo>
                    <a:pt x="556" y="308"/>
                  </a:lnTo>
                  <a:lnTo>
                    <a:pt x="558" y="304"/>
                  </a:lnTo>
                  <a:lnTo>
                    <a:pt x="561" y="303"/>
                  </a:lnTo>
                  <a:lnTo>
                    <a:pt x="564" y="300"/>
                  </a:lnTo>
                  <a:lnTo>
                    <a:pt x="566" y="298"/>
                  </a:lnTo>
                  <a:lnTo>
                    <a:pt x="569" y="295"/>
                  </a:lnTo>
                  <a:lnTo>
                    <a:pt x="580" y="290"/>
                  </a:lnTo>
                  <a:lnTo>
                    <a:pt x="592" y="284"/>
                  </a:lnTo>
                  <a:lnTo>
                    <a:pt x="596" y="282"/>
                  </a:lnTo>
                  <a:lnTo>
                    <a:pt x="597" y="279"/>
                  </a:lnTo>
                  <a:lnTo>
                    <a:pt x="599" y="278"/>
                  </a:lnTo>
                  <a:lnTo>
                    <a:pt x="602" y="275"/>
                  </a:lnTo>
                  <a:lnTo>
                    <a:pt x="603" y="271"/>
                  </a:lnTo>
                  <a:lnTo>
                    <a:pt x="605" y="267"/>
                  </a:lnTo>
                  <a:lnTo>
                    <a:pt x="607" y="262"/>
                  </a:lnTo>
                  <a:lnTo>
                    <a:pt x="607" y="257"/>
                  </a:lnTo>
                  <a:lnTo>
                    <a:pt x="610" y="254"/>
                  </a:lnTo>
                  <a:lnTo>
                    <a:pt x="610" y="251"/>
                  </a:lnTo>
                  <a:lnTo>
                    <a:pt x="613" y="249"/>
                  </a:lnTo>
                  <a:lnTo>
                    <a:pt x="614" y="246"/>
                  </a:lnTo>
                  <a:lnTo>
                    <a:pt x="618" y="245"/>
                  </a:lnTo>
                  <a:lnTo>
                    <a:pt x="621" y="241"/>
                  </a:lnTo>
                  <a:lnTo>
                    <a:pt x="626" y="240"/>
                  </a:lnTo>
                  <a:lnTo>
                    <a:pt x="629" y="238"/>
                  </a:lnTo>
                  <a:lnTo>
                    <a:pt x="646" y="234"/>
                  </a:lnTo>
                  <a:lnTo>
                    <a:pt x="660" y="230"/>
                  </a:lnTo>
                  <a:lnTo>
                    <a:pt x="663" y="229"/>
                  </a:lnTo>
                  <a:lnTo>
                    <a:pt x="665" y="227"/>
                  </a:lnTo>
                  <a:lnTo>
                    <a:pt x="667" y="226"/>
                  </a:lnTo>
                  <a:lnTo>
                    <a:pt x="668" y="224"/>
                  </a:lnTo>
                  <a:lnTo>
                    <a:pt x="668" y="221"/>
                  </a:lnTo>
                  <a:lnTo>
                    <a:pt x="671" y="221"/>
                  </a:lnTo>
                  <a:lnTo>
                    <a:pt x="673" y="221"/>
                  </a:lnTo>
                  <a:lnTo>
                    <a:pt x="673" y="219"/>
                  </a:lnTo>
                  <a:lnTo>
                    <a:pt x="675" y="219"/>
                  </a:lnTo>
                  <a:lnTo>
                    <a:pt x="676" y="218"/>
                  </a:lnTo>
                  <a:lnTo>
                    <a:pt x="687" y="218"/>
                  </a:lnTo>
                  <a:lnTo>
                    <a:pt x="684" y="218"/>
                  </a:lnTo>
                  <a:lnTo>
                    <a:pt x="682" y="218"/>
                  </a:lnTo>
                  <a:lnTo>
                    <a:pt x="681" y="218"/>
                  </a:lnTo>
                  <a:lnTo>
                    <a:pt x="681" y="216"/>
                  </a:lnTo>
                  <a:lnTo>
                    <a:pt x="676" y="208"/>
                  </a:lnTo>
                  <a:lnTo>
                    <a:pt x="668" y="193"/>
                  </a:lnTo>
                  <a:lnTo>
                    <a:pt x="660" y="180"/>
                  </a:lnTo>
                  <a:lnTo>
                    <a:pt x="656" y="174"/>
                  </a:lnTo>
                  <a:lnTo>
                    <a:pt x="652" y="174"/>
                  </a:lnTo>
                  <a:lnTo>
                    <a:pt x="646" y="174"/>
                  </a:lnTo>
                  <a:lnTo>
                    <a:pt x="643" y="174"/>
                  </a:lnTo>
                  <a:lnTo>
                    <a:pt x="640" y="172"/>
                  </a:lnTo>
                  <a:lnTo>
                    <a:pt x="638" y="172"/>
                  </a:lnTo>
                  <a:lnTo>
                    <a:pt x="638" y="170"/>
                  </a:lnTo>
                  <a:lnTo>
                    <a:pt x="637" y="167"/>
                  </a:lnTo>
                  <a:lnTo>
                    <a:pt x="635" y="164"/>
                  </a:lnTo>
                  <a:lnTo>
                    <a:pt x="635" y="163"/>
                  </a:lnTo>
                  <a:lnTo>
                    <a:pt x="635" y="159"/>
                  </a:lnTo>
                  <a:lnTo>
                    <a:pt x="633" y="155"/>
                  </a:lnTo>
                  <a:lnTo>
                    <a:pt x="633" y="150"/>
                  </a:lnTo>
                  <a:lnTo>
                    <a:pt x="632" y="148"/>
                  </a:lnTo>
                  <a:lnTo>
                    <a:pt x="632" y="147"/>
                  </a:lnTo>
                  <a:lnTo>
                    <a:pt x="630" y="147"/>
                  </a:lnTo>
                  <a:lnTo>
                    <a:pt x="630" y="145"/>
                  </a:lnTo>
                  <a:lnTo>
                    <a:pt x="627" y="145"/>
                  </a:lnTo>
                  <a:lnTo>
                    <a:pt x="626" y="145"/>
                  </a:lnTo>
                  <a:lnTo>
                    <a:pt x="622" y="145"/>
                  </a:lnTo>
                  <a:lnTo>
                    <a:pt x="618" y="145"/>
                  </a:lnTo>
                  <a:lnTo>
                    <a:pt x="614" y="145"/>
                  </a:lnTo>
                  <a:lnTo>
                    <a:pt x="613" y="145"/>
                  </a:lnTo>
                  <a:lnTo>
                    <a:pt x="610" y="144"/>
                  </a:lnTo>
                  <a:lnTo>
                    <a:pt x="608" y="144"/>
                  </a:lnTo>
                  <a:lnTo>
                    <a:pt x="607" y="142"/>
                  </a:lnTo>
                  <a:lnTo>
                    <a:pt x="605" y="139"/>
                  </a:lnTo>
                  <a:lnTo>
                    <a:pt x="605" y="137"/>
                  </a:lnTo>
                  <a:lnTo>
                    <a:pt x="603" y="134"/>
                  </a:lnTo>
                  <a:lnTo>
                    <a:pt x="605" y="133"/>
                  </a:lnTo>
                  <a:lnTo>
                    <a:pt x="605" y="131"/>
                  </a:lnTo>
                  <a:lnTo>
                    <a:pt x="605" y="129"/>
                  </a:lnTo>
                  <a:lnTo>
                    <a:pt x="607" y="128"/>
                  </a:lnTo>
                  <a:lnTo>
                    <a:pt x="610" y="125"/>
                  </a:lnTo>
                  <a:lnTo>
                    <a:pt x="611" y="123"/>
                  </a:lnTo>
                  <a:lnTo>
                    <a:pt x="614" y="120"/>
                  </a:lnTo>
                  <a:lnTo>
                    <a:pt x="616" y="117"/>
                  </a:lnTo>
                  <a:lnTo>
                    <a:pt x="618" y="117"/>
                  </a:lnTo>
                  <a:lnTo>
                    <a:pt x="618" y="114"/>
                  </a:lnTo>
                  <a:lnTo>
                    <a:pt x="619" y="112"/>
                  </a:lnTo>
                  <a:lnTo>
                    <a:pt x="619" y="110"/>
                  </a:lnTo>
                  <a:lnTo>
                    <a:pt x="618" y="106"/>
                  </a:lnTo>
                  <a:lnTo>
                    <a:pt x="618" y="101"/>
                  </a:lnTo>
                  <a:lnTo>
                    <a:pt x="616" y="96"/>
                  </a:lnTo>
                  <a:lnTo>
                    <a:pt x="613" y="93"/>
                  </a:lnTo>
                  <a:lnTo>
                    <a:pt x="610" y="90"/>
                  </a:lnTo>
                  <a:lnTo>
                    <a:pt x="607" y="87"/>
                  </a:lnTo>
                  <a:lnTo>
                    <a:pt x="605" y="84"/>
                  </a:lnTo>
                  <a:lnTo>
                    <a:pt x="600" y="82"/>
                  </a:lnTo>
                  <a:lnTo>
                    <a:pt x="592" y="77"/>
                  </a:lnTo>
                  <a:lnTo>
                    <a:pt x="586" y="73"/>
                  </a:lnTo>
                  <a:lnTo>
                    <a:pt x="581" y="69"/>
                  </a:lnTo>
                  <a:lnTo>
                    <a:pt x="578" y="68"/>
                  </a:lnTo>
                  <a:lnTo>
                    <a:pt x="577" y="65"/>
                  </a:lnTo>
                  <a:lnTo>
                    <a:pt x="573" y="62"/>
                  </a:lnTo>
                  <a:lnTo>
                    <a:pt x="572" y="60"/>
                  </a:lnTo>
                  <a:lnTo>
                    <a:pt x="570" y="57"/>
                  </a:lnTo>
                  <a:lnTo>
                    <a:pt x="569" y="55"/>
                  </a:lnTo>
                  <a:lnTo>
                    <a:pt x="566" y="55"/>
                  </a:lnTo>
                  <a:lnTo>
                    <a:pt x="559" y="52"/>
                  </a:lnTo>
                  <a:lnTo>
                    <a:pt x="553" y="51"/>
                  </a:lnTo>
                  <a:lnTo>
                    <a:pt x="551" y="51"/>
                  </a:lnTo>
                  <a:lnTo>
                    <a:pt x="548" y="49"/>
                  </a:lnTo>
                  <a:lnTo>
                    <a:pt x="545" y="47"/>
                  </a:lnTo>
                  <a:lnTo>
                    <a:pt x="543" y="46"/>
                  </a:lnTo>
                  <a:lnTo>
                    <a:pt x="540" y="43"/>
                  </a:lnTo>
                  <a:lnTo>
                    <a:pt x="540" y="40"/>
                  </a:lnTo>
                  <a:lnTo>
                    <a:pt x="539" y="36"/>
                  </a:lnTo>
                  <a:lnTo>
                    <a:pt x="539" y="32"/>
                  </a:lnTo>
                  <a:lnTo>
                    <a:pt x="539" y="27"/>
                  </a:lnTo>
                  <a:lnTo>
                    <a:pt x="537" y="22"/>
                  </a:lnTo>
                  <a:lnTo>
                    <a:pt x="534" y="22"/>
                  </a:lnTo>
                  <a:lnTo>
                    <a:pt x="532" y="21"/>
                  </a:lnTo>
                  <a:lnTo>
                    <a:pt x="529" y="19"/>
                  </a:lnTo>
                  <a:lnTo>
                    <a:pt x="528" y="19"/>
                  </a:lnTo>
                  <a:lnTo>
                    <a:pt x="523" y="14"/>
                  </a:lnTo>
                  <a:lnTo>
                    <a:pt x="518" y="11"/>
                  </a:lnTo>
                  <a:lnTo>
                    <a:pt x="515" y="6"/>
                  </a:lnTo>
                  <a:lnTo>
                    <a:pt x="510" y="3"/>
                  </a:lnTo>
                  <a:lnTo>
                    <a:pt x="507" y="2"/>
                  </a:lnTo>
                  <a:lnTo>
                    <a:pt x="504" y="0"/>
                  </a:lnTo>
                  <a:lnTo>
                    <a:pt x="502" y="0"/>
                  </a:lnTo>
                  <a:lnTo>
                    <a:pt x="494" y="0"/>
                  </a:lnTo>
                  <a:lnTo>
                    <a:pt x="485" y="0"/>
                  </a:lnTo>
                  <a:lnTo>
                    <a:pt x="475" y="0"/>
                  </a:lnTo>
                  <a:lnTo>
                    <a:pt x="464" y="0"/>
                  </a:lnTo>
                  <a:lnTo>
                    <a:pt x="463" y="3"/>
                  </a:lnTo>
                  <a:lnTo>
                    <a:pt x="461" y="8"/>
                  </a:lnTo>
                  <a:lnTo>
                    <a:pt x="460" y="11"/>
                  </a:lnTo>
                  <a:lnTo>
                    <a:pt x="457" y="14"/>
                  </a:lnTo>
                  <a:lnTo>
                    <a:pt x="452" y="22"/>
                  </a:lnTo>
                  <a:lnTo>
                    <a:pt x="447" y="28"/>
                  </a:lnTo>
                  <a:lnTo>
                    <a:pt x="442" y="35"/>
                  </a:lnTo>
                  <a:lnTo>
                    <a:pt x="438" y="41"/>
                  </a:lnTo>
                  <a:lnTo>
                    <a:pt x="436" y="44"/>
                  </a:lnTo>
                  <a:lnTo>
                    <a:pt x="434" y="47"/>
                  </a:lnTo>
                  <a:lnTo>
                    <a:pt x="433" y="51"/>
                  </a:lnTo>
                  <a:lnTo>
                    <a:pt x="433" y="55"/>
                  </a:lnTo>
                  <a:lnTo>
                    <a:pt x="433" y="54"/>
                  </a:lnTo>
                  <a:lnTo>
                    <a:pt x="430" y="52"/>
                  </a:lnTo>
                  <a:lnTo>
                    <a:pt x="428" y="52"/>
                  </a:lnTo>
                  <a:lnTo>
                    <a:pt x="425" y="51"/>
                  </a:lnTo>
                  <a:lnTo>
                    <a:pt x="420" y="51"/>
                  </a:lnTo>
                  <a:lnTo>
                    <a:pt x="417" y="52"/>
                  </a:lnTo>
                  <a:lnTo>
                    <a:pt x="415" y="52"/>
                  </a:lnTo>
                  <a:lnTo>
                    <a:pt x="412" y="54"/>
                  </a:lnTo>
                  <a:lnTo>
                    <a:pt x="409" y="55"/>
                  </a:lnTo>
                  <a:lnTo>
                    <a:pt x="406" y="55"/>
                  </a:lnTo>
                  <a:lnTo>
                    <a:pt x="403" y="57"/>
                  </a:lnTo>
                  <a:lnTo>
                    <a:pt x="398" y="57"/>
                  </a:lnTo>
                  <a:lnTo>
                    <a:pt x="395" y="57"/>
                  </a:lnTo>
                  <a:lnTo>
                    <a:pt x="392" y="55"/>
                  </a:lnTo>
                  <a:lnTo>
                    <a:pt x="389" y="55"/>
                  </a:lnTo>
                  <a:lnTo>
                    <a:pt x="385" y="54"/>
                  </a:lnTo>
                  <a:lnTo>
                    <a:pt x="382" y="51"/>
                  </a:lnTo>
                  <a:lnTo>
                    <a:pt x="376" y="47"/>
                  </a:lnTo>
                  <a:lnTo>
                    <a:pt x="373" y="44"/>
                  </a:lnTo>
                  <a:lnTo>
                    <a:pt x="370" y="40"/>
                  </a:lnTo>
                  <a:lnTo>
                    <a:pt x="366" y="40"/>
                  </a:lnTo>
                  <a:lnTo>
                    <a:pt x="363" y="40"/>
                  </a:lnTo>
                  <a:lnTo>
                    <a:pt x="362" y="38"/>
                  </a:lnTo>
                  <a:lnTo>
                    <a:pt x="357" y="38"/>
                  </a:lnTo>
                  <a:lnTo>
                    <a:pt x="355" y="38"/>
                  </a:lnTo>
                  <a:lnTo>
                    <a:pt x="354" y="38"/>
                  </a:lnTo>
                  <a:lnTo>
                    <a:pt x="354" y="40"/>
                  </a:lnTo>
                  <a:lnTo>
                    <a:pt x="352" y="40"/>
                  </a:lnTo>
                  <a:lnTo>
                    <a:pt x="351" y="40"/>
                  </a:lnTo>
                  <a:lnTo>
                    <a:pt x="351" y="41"/>
                  </a:lnTo>
                  <a:lnTo>
                    <a:pt x="351" y="43"/>
                  </a:lnTo>
                  <a:lnTo>
                    <a:pt x="351" y="44"/>
                  </a:lnTo>
                  <a:lnTo>
                    <a:pt x="351" y="47"/>
                  </a:lnTo>
                  <a:lnTo>
                    <a:pt x="352" y="52"/>
                  </a:lnTo>
                  <a:lnTo>
                    <a:pt x="351" y="55"/>
                  </a:lnTo>
                  <a:lnTo>
                    <a:pt x="351" y="57"/>
                  </a:lnTo>
                  <a:lnTo>
                    <a:pt x="349" y="58"/>
                  </a:lnTo>
                  <a:lnTo>
                    <a:pt x="346" y="60"/>
                  </a:lnTo>
                  <a:lnTo>
                    <a:pt x="344" y="60"/>
                  </a:lnTo>
                  <a:lnTo>
                    <a:pt x="341" y="63"/>
                  </a:lnTo>
                  <a:lnTo>
                    <a:pt x="335" y="63"/>
                  </a:lnTo>
                  <a:lnTo>
                    <a:pt x="325" y="65"/>
                  </a:lnTo>
                  <a:lnTo>
                    <a:pt x="314" y="63"/>
                  </a:lnTo>
                  <a:lnTo>
                    <a:pt x="314" y="68"/>
                  </a:lnTo>
                  <a:lnTo>
                    <a:pt x="316" y="69"/>
                  </a:lnTo>
                  <a:lnTo>
                    <a:pt x="316" y="73"/>
                  </a:lnTo>
                  <a:lnTo>
                    <a:pt x="317" y="74"/>
                  </a:lnTo>
                  <a:lnTo>
                    <a:pt x="317" y="76"/>
                  </a:lnTo>
                  <a:lnTo>
                    <a:pt x="319" y="77"/>
                  </a:lnTo>
                  <a:lnTo>
                    <a:pt x="321" y="81"/>
                  </a:lnTo>
                  <a:lnTo>
                    <a:pt x="321" y="84"/>
                  </a:lnTo>
                  <a:lnTo>
                    <a:pt x="316" y="84"/>
                  </a:lnTo>
                  <a:lnTo>
                    <a:pt x="310" y="84"/>
                  </a:lnTo>
                  <a:lnTo>
                    <a:pt x="308" y="82"/>
                  </a:lnTo>
                  <a:lnTo>
                    <a:pt x="305" y="81"/>
                  </a:lnTo>
                  <a:lnTo>
                    <a:pt x="302" y="81"/>
                  </a:lnTo>
                  <a:lnTo>
                    <a:pt x="300" y="81"/>
                  </a:lnTo>
                  <a:lnTo>
                    <a:pt x="297" y="81"/>
                  </a:lnTo>
                  <a:lnTo>
                    <a:pt x="294" y="84"/>
                  </a:lnTo>
                  <a:lnTo>
                    <a:pt x="294" y="90"/>
                  </a:lnTo>
                  <a:lnTo>
                    <a:pt x="294" y="93"/>
                  </a:lnTo>
                  <a:lnTo>
                    <a:pt x="294" y="96"/>
                  </a:lnTo>
                  <a:lnTo>
                    <a:pt x="294" y="98"/>
                  </a:lnTo>
                  <a:lnTo>
                    <a:pt x="292" y="101"/>
                  </a:lnTo>
                  <a:lnTo>
                    <a:pt x="292" y="104"/>
                  </a:lnTo>
                  <a:lnTo>
                    <a:pt x="289" y="109"/>
                  </a:lnTo>
                  <a:lnTo>
                    <a:pt x="289" y="110"/>
                  </a:lnTo>
                  <a:lnTo>
                    <a:pt x="287" y="114"/>
                  </a:lnTo>
                  <a:lnTo>
                    <a:pt x="284" y="117"/>
                  </a:lnTo>
                  <a:lnTo>
                    <a:pt x="283" y="118"/>
                  </a:lnTo>
                  <a:lnTo>
                    <a:pt x="281" y="122"/>
                  </a:lnTo>
                  <a:lnTo>
                    <a:pt x="278" y="123"/>
                  </a:lnTo>
                  <a:lnTo>
                    <a:pt x="275" y="126"/>
                  </a:lnTo>
                  <a:lnTo>
                    <a:pt x="272" y="126"/>
                  </a:lnTo>
                  <a:lnTo>
                    <a:pt x="268" y="128"/>
                  </a:lnTo>
                  <a:lnTo>
                    <a:pt x="265" y="129"/>
                  </a:lnTo>
                  <a:lnTo>
                    <a:pt x="262" y="129"/>
                  </a:lnTo>
                  <a:lnTo>
                    <a:pt x="259" y="129"/>
                  </a:lnTo>
                  <a:lnTo>
                    <a:pt x="257" y="128"/>
                  </a:lnTo>
                  <a:lnTo>
                    <a:pt x="254" y="126"/>
                  </a:lnTo>
                  <a:lnTo>
                    <a:pt x="253" y="125"/>
                  </a:lnTo>
                  <a:lnTo>
                    <a:pt x="248" y="120"/>
                  </a:lnTo>
                  <a:lnTo>
                    <a:pt x="243" y="114"/>
                  </a:lnTo>
                  <a:lnTo>
                    <a:pt x="238" y="109"/>
                  </a:lnTo>
                  <a:lnTo>
                    <a:pt x="234" y="104"/>
                  </a:lnTo>
                  <a:lnTo>
                    <a:pt x="231" y="103"/>
                  </a:lnTo>
                  <a:lnTo>
                    <a:pt x="227" y="101"/>
                  </a:lnTo>
                  <a:lnTo>
                    <a:pt x="224" y="99"/>
                  </a:lnTo>
                  <a:lnTo>
                    <a:pt x="221" y="99"/>
                  </a:lnTo>
                  <a:lnTo>
                    <a:pt x="221" y="101"/>
                  </a:lnTo>
                  <a:lnTo>
                    <a:pt x="218" y="103"/>
                  </a:lnTo>
                  <a:lnTo>
                    <a:pt x="216" y="104"/>
                  </a:lnTo>
                  <a:lnTo>
                    <a:pt x="215" y="104"/>
                  </a:lnTo>
                  <a:lnTo>
                    <a:pt x="213" y="106"/>
                  </a:lnTo>
                  <a:lnTo>
                    <a:pt x="212" y="106"/>
                  </a:lnTo>
                  <a:lnTo>
                    <a:pt x="210" y="104"/>
                  </a:lnTo>
                  <a:lnTo>
                    <a:pt x="208" y="104"/>
                  </a:lnTo>
                  <a:lnTo>
                    <a:pt x="207" y="104"/>
                  </a:lnTo>
                  <a:lnTo>
                    <a:pt x="205" y="101"/>
                  </a:lnTo>
                  <a:lnTo>
                    <a:pt x="202" y="99"/>
                  </a:lnTo>
                  <a:lnTo>
                    <a:pt x="201" y="98"/>
                  </a:lnTo>
                  <a:lnTo>
                    <a:pt x="197" y="96"/>
                  </a:lnTo>
                  <a:lnTo>
                    <a:pt x="196" y="95"/>
                  </a:lnTo>
                  <a:lnTo>
                    <a:pt x="194" y="95"/>
                  </a:lnTo>
                  <a:lnTo>
                    <a:pt x="193" y="93"/>
                  </a:lnTo>
                  <a:lnTo>
                    <a:pt x="191" y="93"/>
                  </a:lnTo>
                  <a:lnTo>
                    <a:pt x="189" y="93"/>
                  </a:lnTo>
                  <a:lnTo>
                    <a:pt x="186" y="95"/>
                  </a:lnTo>
                  <a:lnTo>
                    <a:pt x="185" y="95"/>
                  </a:lnTo>
                  <a:lnTo>
                    <a:pt x="182" y="96"/>
                  </a:lnTo>
                  <a:lnTo>
                    <a:pt x="178" y="98"/>
                  </a:lnTo>
                  <a:lnTo>
                    <a:pt x="174" y="103"/>
                  </a:lnTo>
                  <a:lnTo>
                    <a:pt x="171" y="106"/>
                  </a:lnTo>
                  <a:lnTo>
                    <a:pt x="167" y="109"/>
                  </a:lnTo>
                  <a:lnTo>
                    <a:pt x="164" y="114"/>
                  </a:lnTo>
                  <a:lnTo>
                    <a:pt x="161" y="117"/>
                  </a:lnTo>
                  <a:lnTo>
                    <a:pt x="164" y="118"/>
                  </a:lnTo>
                  <a:lnTo>
                    <a:pt x="167" y="120"/>
                  </a:lnTo>
                  <a:lnTo>
                    <a:pt x="169" y="122"/>
                  </a:lnTo>
                  <a:lnTo>
                    <a:pt x="172" y="123"/>
                  </a:lnTo>
                  <a:lnTo>
                    <a:pt x="178" y="126"/>
                  </a:lnTo>
                  <a:lnTo>
                    <a:pt x="183" y="128"/>
                  </a:lnTo>
                  <a:lnTo>
                    <a:pt x="193" y="131"/>
                  </a:lnTo>
                  <a:lnTo>
                    <a:pt x="199" y="134"/>
                  </a:lnTo>
                  <a:lnTo>
                    <a:pt x="202" y="136"/>
                  </a:lnTo>
                  <a:lnTo>
                    <a:pt x="205" y="139"/>
                  </a:lnTo>
                  <a:lnTo>
                    <a:pt x="207" y="140"/>
                  </a:lnTo>
                  <a:lnTo>
                    <a:pt x="207" y="142"/>
                  </a:lnTo>
                  <a:lnTo>
                    <a:pt x="207" y="144"/>
                  </a:lnTo>
                  <a:lnTo>
                    <a:pt x="207" y="147"/>
                  </a:lnTo>
                  <a:lnTo>
                    <a:pt x="207" y="148"/>
                  </a:lnTo>
                  <a:lnTo>
                    <a:pt x="207" y="150"/>
                  </a:lnTo>
                  <a:lnTo>
                    <a:pt x="204" y="150"/>
                  </a:lnTo>
                  <a:lnTo>
                    <a:pt x="202" y="151"/>
                  </a:lnTo>
                  <a:lnTo>
                    <a:pt x="199" y="151"/>
                  </a:lnTo>
                  <a:lnTo>
                    <a:pt x="194" y="151"/>
                  </a:lnTo>
                  <a:lnTo>
                    <a:pt x="191" y="151"/>
                  </a:lnTo>
                  <a:lnTo>
                    <a:pt x="186" y="151"/>
                  </a:lnTo>
                  <a:lnTo>
                    <a:pt x="180" y="150"/>
                  </a:lnTo>
                  <a:lnTo>
                    <a:pt x="174" y="150"/>
                  </a:lnTo>
                  <a:lnTo>
                    <a:pt x="174" y="155"/>
                  </a:lnTo>
                  <a:lnTo>
                    <a:pt x="174" y="159"/>
                  </a:lnTo>
                  <a:lnTo>
                    <a:pt x="174" y="161"/>
                  </a:lnTo>
                  <a:lnTo>
                    <a:pt x="174" y="155"/>
                  </a:lnTo>
                  <a:lnTo>
                    <a:pt x="174" y="150"/>
                  </a:lnTo>
                  <a:lnTo>
                    <a:pt x="171" y="148"/>
                  </a:lnTo>
                  <a:lnTo>
                    <a:pt x="167" y="147"/>
                  </a:lnTo>
                  <a:lnTo>
                    <a:pt x="161" y="145"/>
                  </a:lnTo>
                  <a:lnTo>
                    <a:pt x="156" y="144"/>
                  </a:lnTo>
                  <a:lnTo>
                    <a:pt x="152" y="142"/>
                  </a:lnTo>
                  <a:lnTo>
                    <a:pt x="147" y="140"/>
                  </a:lnTo>
                  <a:lnTo>
                    <a:pt x="142" y="139"/>
                  </a:lnTo>
                  <a:lnTo>
                    <a:pt x="139" y="137"/>
                  </a:lnTo>
                  <a:lnTo>
                    <a:pt x="136" y="134"/>
                  </a:lnTo>
                  <a:lnTo>
                    <a:pt x="133" y="133"/>
                  </a:lnTo>
                  <a:lnTo>
                    <a:pt x="129" y="128"/>
                  </a:lnTo>
                  <a:lnTo>
                    <a:pt x="126" y="126"/>
                  </a:lnTo>
                  <a:lnTo>
                    <a:pt x="123" y="123"/>
                  </a:lnTo>
                  <a:lnTo>
                    <a:pt x="122" y="123"/>
                  </a:lnTo>
                  <a:lnTo>
                    <a:pt x="120" y="123"/>
                  </a:lnTo>
                  <a:lnTo>
                    <a:pt x="118" y="126"/>
                  </a:lnTo>
                  <a:lnTo>
                    <a:pt x="117" y="128"/>
                  </a:lnTo>
                  <a:lnTo>
                    <a:pt x="115" y="133"/>
                  </a:lnTo>
                  <a:lnTo>
                    <a:pt x="115" y="137"/>
                  </a:lnTo>
                  <a:lnTo>
                    <a:pt x="115" y="139"/>
                  </a:lnTo>
                  <a:lnTo>
                    <a:pt x="112" y="142"/>
                  </a:lnTo>
                  <a:lnTo>
                    <a:pt x="110" y="144"/>
                  </a:lnTo>
                  <a:lnTo>
                    <a:pt x="115" y="148"/>
                  </a:lnTo>
                  <a:lnTo>
                    <a:pt x="120" y="153"/>
                  </a:lnTo>
                  <a:lnTo>
                    <a:pt x="123" y="158"/>
                  </a:lnTo>
                  <a:lnTo>
                    <a:pt x="126" y="163"/>
                  </a:lnTo>
                  <a:lnTo>
                    <a:pt x="128" y="164"/>
                  </a:lnTo>
                  <a:lnTo>
                    <a:pt x="128" y="167"/>
                  </a:lnTo>
                  <a:lnTo>
                    <a:pt x="128" y="170"/>
                  </a:lnTo>
                  <a:lnTo>
                    <a:pt x="128" y="172"/>
                  </a:lnTo>
                  <a:lnTo>
                    <a:pt x="128" y="175"/>
                  </a:lnTo>
                  <a:lnTo>
                    <a:pt x="126" y="178"/>
                  </a:lnTo>
                  <a:lnTo>
                    <a:pt x="126" y="181"/>
                  </a:lnTo>
                  <a:lnTo>
                    <a:pt x="123" y="185"/>
                  </a:lnTo>
                  <a:lnTo>
                    <a:pt x="122" y="183"/>
                  </a:lnTo>
                  <a:lnTo>
                    <a:pt x="117" y="180"/>
                  </a:lnTo>
                  <a:lnTo>
                    <a:pt x="109" y="177"/>
                  </a:lnTo>
                  <a:lnTo>
                    <a:pt x="101" y="172"/>
                  </a:lnTo>
                  <a:lnTo>
                    <a:pt x="96" y="172"/>
                  </a:lnTo>
                  <a:lnTo>
                    <a:pt x="92" y="170"/>
                  </a:lnTo>
                  <a:lnTo>
                    <a:pt x="87" y="169"/>
                  </a:lnTo>
                  <a:lnTo>
                    <a:pt x="84" y="169"/>
                  </a:lnTo>
                  <a:lnTo>
                    <a:pt x="82" y="169"/>
                  </a:lnTo>
                  <a:lnTo>
                    <a:pt x="79" y="169"/>
                  </a:lnTo>
                  <a:lnTo>
                    <a:pt x="77" y="170"/>
                  </a:lnTo>
                  <a:lnTo>
                    <a:pt x="76" y="170"/>
                  </a:lnTo>
                  <a:lnTo>
                    <a:pt x="74" y="172"/>
                  </a:lnTo>
                  <a:lnTo>
                    <a:pt x="73" y="174"/>
                  </a:lnTo>
                  <a:lnTo>
                    <a:pt x="73" y="175"/>
                  </a:lnTo>
                  <a:lnTo>
                    <a:pt x="69" y="180"/>
                  </a:lnTo>
                  <a:lnTo>
                    <a:pt x="66" y="183"/>
                  </a:lnTo>
                  <a:lnTo>
                    <a:pt x="65" y="186"/>
                  </a:lnTo>
                  <a:lnTo>
                    <a:pt x="62" y="189"/>
                  </a:lnTo>
                  <a:lnTo>
                    <a:pt x="58" y="191"/>
                  </a:lnTo>
                  <a:lnTo>
                    <a:pt x="57" y="193"/>
                  </a:lnTo>
                  <a:lnTo>
                    <a:pt x="55" y="193"/>
                  </a:lnTo>
                  <a:lnTo>
                    <a:pt x="54" y="194"/>
                  </a:lnTo>
                  <a:lnTo>
                    <a:pt x="52" y="194"/>
                  </a:lnTo>
                  <a:lnTo>
                    <a:pt x="49" y="194"/>
                  </a:lnTo>
                  <a:lnTo>
                    <a:pt x="47" y="194"/>
                  </a:lnTo>
                  <a:lnTo>
                    <a:pt x="46" y="193"/>
                  </a:lnTo>
                  <a:lnTo>
                    <a:pt x="43" y="191"/>
                  </a:lnTo>
                  <a:lnTo>
                    <a:pt x="39" y="188"/>
                  </a:lnTo>
                  <a:lnTo>
                    <a:pt x="17" y="156"/>
                  </a:lnTo>
                  <a:lnTo>
                    <a:pt x="0" y="167"/>
                  </a:lnTo>
                  <a:lnTo>
                    <a:pt x="3" y="169"/>
                  </a:lnTo>
                  <a:lnTo>
                    <a:pt x="3" y="172"/>
                  </a:lnTo>
                  <a:lnTo>
                    <a:pt x="5" y="174"/>
                  </a:lnTo>
                  <a:lnTo>
                    <a:pt x="5" y="175"/>
                  </a:lnTo>
                  <a:lnTo>
                    <a:pt x="8" y="181"/>
                  </a:lnTo>
                  <a:lnTo>
                    <a:pt x="8" y="188"/>
                  </a:lnTo>
                  <a:lnTo>
                    <a:pt x="9" y="193"/>
                  </a:lnTo>
                  <a:lnTo>
                    <a:pt x="9" y="200"/>
                  </a:lnTo>
                  <a:lnTo>
                    <a:pt x="9" y="207"/>
                  </a:lnTo>
                  <a:lnTo>
                    <a:pt x="9" y="213"/>
                  </a:lnTo>
                  <a:lnTo>
                    <a:pt x="11" y="216"/>
                  </a:lnTo>
                  <a:lnTo>
                    <a:pt x="11" y="221"/>
                  </a:lnTo>
                  <a:lnTo>
                    <a:pt x="13" y="226"/>
                  </a:lnTo>
                  <a:lnTo>
                    <a:pt x="13" y="229"/>
                  </a:lnTo>
                  <a:lnTo>
                    <a:pt x="17" y="238"/>
                  </a:lnTo>
                  <a:lnTo>
                    <a:pt x="20" y="246"/>
                  </a:lnTo>
                  <a:lnTo>
                    <a:pt x="24" y="251"/>
                  </a:lnTo>
                  <a:lnTo>
                    <a:pt x="24" y="256"/>
                  </a:lnTo>
                  <a:lnTo>
                    <a:pt x="25" y="259"/>
                  </a:lnTo>
                  <a:lnTo>
                    <a:pt x="25" y="263"/>
                  </a:lnTo>
                  <a:lnTo>
                    <a:pt x="25" y="267"/>
                  </a:lnTo>
                  <a:lnTo>
                    <a:pt x="25" y="270"/>
                  </a:lnTo>
                  <a:lnTo>
                    <a:pt x="25" y="271"/>
                  </a:lnTo>
                  <a:lnTo>
                    <a:pt x="24" y="273"/>
                  </a:lnTo>
                  <a:lnTo>
                    <a:pt x="24" y="275"/>
                  </a:lnTo>
                  <a:lnTo>
                    <a:pt x="22" y="278"/>
                  </a:lnTo>
                  <a:lnTo>
                    <a:pt x="22" y="279"/>
                  </a:lnTo>
                  <a:lnTo>
                    <a:pt x="22" y="281"/>
                  </a:lnTo>
                  <a:lnTo>
                    <a:pt x="24" y="282"/>
                  </a:lnTo>
                  <a:lnTo>
                    <a:pt x="25" y="284"/>
                  </a:lnTo>
                  <a:lnTo>
                    <a:pt x="27" y="287"/>
                  </a:lnTo>
                  <a:lnTo>
                    <a:pt x="30" y="290"/>
                  </a:lnTo>
                  <a:lnTo>
                    <a:pt x="33" y="293"/>
                  </a:lnTo>
                  <a:lnTo>
                    <a:pt x="36" y="298"/>
                  </a:lnTo>
                  <a:lnTo>
                    <a:pt x="38" y="303"/>
                  </a:lnTo>
                  <a:lnTo>
                    <a:pt x="38" y="308"/>
                  </a:lnTo>
                  <a:lnTo>
                    <a:pt x="39" y="312"/>
                  </a:lnTo>
                  <a:lnTo>
                    <a:pt x="41" y="316"/>
                  </a:lnTo>
                  <a:lnTo>
                    <a:pt x="41" y="325"/>
                  </a:lnTo>
                  <a:lnTo>
                    <a:pt x="41" y="333"/>
                  </a:lnTo>
                  <a:lnTo>
                    <a:pt x="43" y="342"/>
                  </a:lnTo>
                  <a:lnTo>
                    <a:pt x="43" y="352"/>
                  </a:lnTo>
                  <a:lnTo>
                    <a:pt x="44" y="361"/>
                  </a:lnTo>
                  <a:lnTo>
                    <a:pt x="44" y="372"/>
                  </a:lnTo>
                  <a:lnTo>
                    <a:pt x="46" y="377"/>
                  </a:lnTo>
                  <a:lnTo>
                    <a:pt x="49" y="383"/>
                  </a:lnTo>
                  <a:lnTo>
                    <a:pt x="49" y="390"/>
                  </a:lnTo>
                  <a:lnTo>
                    <a:pt x="52" y="396"/>
                  </a:lnTo>
                  <a:lnTo>
                    <a:pt x="54" y="394"/>
                  </a:lnTo>
                  <a:lnTo>
                    <a:pt x="55" y="394"/>
                  </a:lnTo>
                  <a:lnTo>
                    <a:pt x="57" y="393"/>
                  </a:lnTo>
                  <a:lnTo>
                    <a:pt x="58" y="393"/>
                  </a:lnTo>
                  <a:lnTo>
                    <a:pt x="60" y="393"/>
                  </a:lnTo>
                  <a:lnTo>
                    <a:pt x="62" y="394"/>
                  </a:lnTo>
                  <a:lnTo>
                    <a:pt x="63" y="394"/>
                  </a:lnTo>
                  <a:lnTo>
                    <a:pt x="66" y="396"/>
                  </a:lnTo>
                  <a:lnTo>
                    <a:pt x="69" y="399"/>
                  </a:lnTo>
                  <a:lnTo>
                    <a:pt x="74" y="407"/>
                  </a:lnTo>
                  <a:lnTo>
                    <a:pt x="77" y="412"/>
                  </a:lnTo>
                  <a:lnTo>
                    <a:pt x="80" y="415"/>
                  </a:lnTo>
                  <a:lnTo>
                    <a:pt x="82" y="416"/>
                  </a:lnTo>
                  <a:lnTo>
                    <a:pt x="84" y="416"/>
                  </a:lnTo>
                  <a:lnTo>
                    <a:pt x="85" y="418"/>
                  </a:lnTo>
                  <a:lnTo>
                    <a:pt x="87" y="423"/>
                  </a:lnTo>
                  <a:lnTo>
                    <a:pt x="87" y="428"/>
                  </a:lnTo>
                  <a:lnTo>
                    <a:pt x="90" y="435"/>
                  </a:lnTo>
                  <a:lnTo>
                    <a:pt x="92" y="440"/>
                  </a:lnTo>
                  <a:lnTo>
                    <a:pt x="95" y="446"/>
                  </a:lnTo>
                  <a:lnTo>
                    <a:pt x="98" y="451"/>
                  </a:lnTo>
                  <a:lnTo>
                    <a:pt x="103" y="457"/>
                  </a:lnTo>
                  <a:lnTo>
                    <a:pt x="106" y="464"/>
                  </a:lnTo>
                  <a:lnTo>
                    <a:pt x="110" y="469"/>
                  </a:lnTo>
                  <a:lnTo>
                    <a:pt x="115" y="473"/>
                  </a:lnTo>
                  <a:lnTo>
                    <a:pt x="120" y="478"/>
                  </a:lnTo>
                  <a:lnTo>
                    <a:pt x="125" y="483"/>
                  </a:lnTo>
                  <a:lnTo>
                    <a:pt x="129" y="486"/>
                  </a:lnTo>
                  <a:lnTo>
                    <a:pt x="133" y="489"/>
                  </a:lnTo>
                  <a:lnTo>
                    <a:pt x="137" y="492"/>
                  </a:lnTo>
                  <a:lnTo>
                    <a:pt x="141" y="494"/>
                  </a:lnTo>
                  <a:lnTo>
                    <a:pt x="141" y="495"/>
                  </a:lnTo>
                  <a:lnTo>
                    <a:pt x="141" y="497"/>
                  </a:lnTo>
                  <a:lnTo>
                    <a:pt x="142" y="497"/>
                  </a:lnTo>
                  <a:lnTo>
                    <a:pt x="144" y="500"/>
                  </a:lnTo>
                  <a:lnTo>
                    <a:pt x="145" y="502"/>
                  </a:lnTo>
                  <a:lnTo>
                    <a:pt x="148" y="503"/>
                  </a:lnTo>
                  <a:lnTo>
                    <a:pt x="150" y="505"/>
                  </a:lnTo>
                  <a:lnTo>
                    <a:pt x="152" y="508"/>
                  </a:lnTo>
                  <a:lnTo>
                    <a:pt x="155" y="514"/>
                  </a:lnTo>
                  <a:lnTo>
                    <a:pt x="158" y="522"/>
                  </a:lnTo>
                  <a:lnTo>
                    <a:pt x="161" y="530"/>
                  </a:lnTo>
                  <a:lnTo>
                    <a:pt x="164" y="540"/>
                  </a:lnTo>
                  <a:lnTo>
                    <a:pt x="167" y="546"/>
                  </a:lnTo>
                  <a:lnTo>
                    <a:pt x="169" y="549"/>
                  </a:lnTo>
                  <a:lnTo>
                    <a:pt x="171" y="552"/>
                  </a:lnTo>
                  <a:lnTo>
                    <a:pt x="172" y="554"/>
                  </a:lnTo>
                  <a:lnTo>
                    <a:pt x="174" y="555"/>
                  </a:lnTo>
                  <a:close/>
                </a:path>
              </a:pathLst>
            </a:custGeom>
            <a:solidFill>
              <a:srgbClr val="0070C0">
                <a:alpha val="10000"/>
              </a:srgbClr>
            </a:solidFill>
            <a:ln w="9525">
              <a:solidFill>
                <a:srgbClr val="FFFFFF">
                  <a:alpha val="0"/>
                </a:srgbClr>
              </a:solidFill>
              <a:round/>
              <a:headEnd/>
              <a:tailEnd/>
            </a:ln>
          </p:spPr>
          <p:txBody>
            <a:bodyPr lIns="91413" tIns="45707" rIns="91413" bIns="45707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372">
                <a:defRPr/>
              </a:pPr>
              <a:endParaRPr lang="ru-RU" sz="1700" dirty="0">
                <a:solidFill>
                  <a:srgbClr val="C7E0FB"/>
                </a:solidFill>
                <a:latin typeface="Arial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A0992AEE-6CD8-41F9-B4DE-963808E1F130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 rot="389746">
              <a:off x="8520879" y="5217558"/>
              <a:ext cx="3424523" cy="3668366"/>
            </a:xfrm>
            <a:custGeom>
              <a:avLst/>
              <a:gdLst>
                <a:gd name="T0" fmla="*/ 2147483647 w 1246"/>
                <a:gd name="T1" fmla="*/ 2147483647 h 1455"/>
                <a:gd name="T2" fmla="*/ 2147483647 w 1246"/>
                <a:gd name="T3" fmla="*/ 2147483647 h 1455"/>
                <a:gd name="T4" fmla="*/ 2147483647 w 1246"/>
                <a:gd name="T5" fmla="*/ 2147483647 h 1455"/>
                <a:gd name="T6" fmla="*/ 2147483647 w 1246"/>
                <a:gd name="T7" fmla="*/ 2147483647 h 1455"/>
                <a:gd name="T8" fmla="*/ 2147483647 w 1246"/>
                <a:gd name="T9" fmla="*/ 2147483647 h 1455"/>
                <a:gd name="T10" fmla="*/ 2147483647 w 1246"/>
                <a:gd name="T11" fmla="*/ 2147483647 h 1455"/>
                <a:gd name="T12" fmla="*/ 2147483647 w 1246"/>
                <a:gd name="T13" fmla="*/ 2147483647 h 1455"/>
                <a:gd name="T14" fmla="*/ 2147483647 w 1246"/>
                <a:gd name="T15" fmla="*/ 2147483647 h 1455"/>
                <a:gd name="T16" fmla="*/ 2147483647 w 1246"/>
                <a:gd name="T17" fmla="*/ 2147483647 h 1455"/>
                <a:gd name="T18" fmla="*/ 2147483647 w 1246"/>
                <a:gd name="T19" fmla="*/ 2147483647 h 1455"/>
                <a:gd name="T20" fmla="*/ 2147483647 w 1246"/>
                <a:gd name="T21" fmla="*/ 2147483647 h 1455"/>
                <a:gd name="T22" fmla="*/ 2147483647 w 1246"/>
                <a:gd name="T23" fmla="*/ 2147483647 h 1455"/>
                <a:gd name="T24" fmla="*/ 2147483647 w 1246"/>
                <a:gd name="T25" fmla="*/ 2147483647 h 1455"/>
                <a:gd name="T26" fmla="*/ 2147483647 w 1246"/>
                <a:gd name="T27" fmla="*/ 2147483647 h 1455"/>
                <a:gd name="T28" fmla="*/ 2147483647 w 1246"/>
                <a:gd name="T29" fmla="*/ 2147483647 h 1455"/>
                <a:gd name="T30" fmla="*/ 2147483647 w 1246"/>
                <a:gd name="T31" fmla="*/ 2147483647 h 1455"/>
                <a:gd name="T32" fmla="*/ 2147483647 w 1246"/>
                <a:gd name="T33" fmla="*/ 2147483647 h 1455"/>
                <a:gd name="T34" fmla="*/ 2147483647 w 1246"/>
                <a:gd name="T35" fmla="*/ 2147483647 h 1455"/>
                <a:gd name="T36" fmla="*/ 2147483647 w 1246"/>
                <a:gd name="T37" fmla="*/ 2147483647 h 1455"/>
                <a:gd name="T38" fmla="*/ 2147483647 w 1246"/>
                <a:gd name="T39" fmla="*/ 2147483647 h 1455"/>
                <a:gd name="T40" fmla="*/ 2147483647 w 1246"/>
                <a:gd name="T41" fmla="*/ 2147483647 h 1455"/>
                <a:gd name="T42" fmla="*/ 2147483647 w 1246"/>
                <a:gd name="T43" fmla="*/ 2147483647 h 1455"/>
                <a:gd name="T44" fmla="*/ 2147483647 w 1246"/>
                <a:gd name="T45" fmla="*/ 2147483647 h 1455"/>
                <a:gd name="T46" fmla="*/ 2147483647 w 1246"/>
                <a:gd name="T47" fmla="*/ 2147483647 h 1455"/>
                <a:gd name="T48" fmla="*/ 2147483647 w 1246"/>
                <a:gd name="T49" fmla="*/ 2147483647 h 1455"/>
                <a:gd name="T50" fmla="*/ 2147483647 w 1246"/>
                <a:gd name="T51" fmla="*/ 2147483647 h 1455"/>
                <a:gd name="T52" fmla="*/ 2147483647 w 1246"/>
                <a:gd name="T53" fmla="*/ 2147483647 h 1455"/>
                <a:gd name="T54" fmla="*/ 2147483647 w 1246"/>
                <a:gd name="T55" fmla="*/ 2147483647 h 1455"/>
                <a:gd name="T56" fmla="*/ 2147483647 w 1246"/>
                <a:gd name="T57" fmla="*/ 2147483647 h 1455"/>
                <a:gd name="T58" fmla="*/ 2147483647 w 1246"/>
                <a:gd name="T59" fmla="*/ 2147483647 h 1455"/>
                <a:gd name="T60" fmla="*/ 2147483647 w 1246"/>
                <a:gd name="T61" fmla="*/ 2147483647 h 1455"/>
                <a:gd name="T62" fmla="*/ 2147483647 w 1246"/>
                <a:gd name="T63" fmla="*/ 2147483647 h 1455"/>
                <a:gd name="T64" fmla="*/ 2147483647 w 1246"/>
                <a:gd name="T65" fmla="*/ 2147483647 h 1455"/>
                <a:gd name="T66" fmla="*/ 2147483647 w 1246"/>
                <a:gd name="T67" fmla="*/ 2147483647 h 1455"/>
                <a:gd name="T68" fmla="*/ 2147483647 w 1246"/>
                <a:gd name="T69" fmla="*/ 2147483647 h 1455"/>
                <a:gd name="T70" fmla="*/ 2147483647 w 1246"/>
                <a:gd name="T71" fmla="*/ 2147483647 h 1455"/>
                <a:gd name="T72" fmla="*/ 2147483647 w 1246"/>
                <a:gd name="T73" fmla="*/ 2147483647 h 1455"/>
                <a:gd name="T74" fmla="*/ 2147483647 w 1246"/>
                <a:gd name="T75" fmla="*/ 2147483647 h 1455"/>
                <a:gd name="T76" fmla="*/ 2147483647 w 1246"/>
                <a:gd name="T77" fmla="*/ 2147483647 h 1455"/>
                <a:gd name="T78" fmla="*/ 2147483647 w 1246"/>
                <a:gd name="T79" fmla="*/ 2147483647 h 1455"/>
                <a:gd name="T80" fmla="*/ 2147483647 w 1246"/>
                <a:gd name="T81" fmla="*/ 2147483647 h 1455"/>
                <a:gd name="T82" fmla="*/ 2147483647 w 1246"/>
                <a:gd name="T83" fmla="*/ 2147483647 h 1455"/>
                <a:gd name="T84" fmla="*/ 2147483647 w 1246"/>
                <a:gd name="T85" fmla="*/ 2147483647 h 1455"/>
                <a:gd name="T86" fmla="*/ 2147483647 w 1246"/>
                <a:gd name="T87" fmla="*/ 2147483647 h 1455"/>
                <a:gd name="T88" fmla="*/ 2147483647 w 1246"/>
                <a:gd name="T89" fmla="*/ 2147483647 h 1455"/>
                <a:gd name="T90" fmla="*/ 2147483647 w 1246"/>
                <a:gd name="T91" fmla="*/ 2147483647 h 1455"/>
                <a:gd name="T92" fmla="*/ 2147483647 w 1246"/>
                <a:gd name="T93" fmla="*/ 2147483647 h 1455"/>
                <a:gd name="T94" fmla="*/ 2147483647 w 1246"/>
                <a:gd name="T95" fmla="*/ 2147483647 h 1455"/>
                <a:gd name="T96" fmla="*/ 2147483647 w 1246"/>
                <a:gd name="T97" fmla="*/ 2147483647 h 1455"/>
                <a:gd name="T98" fmla="*/ 2147483647 w 1246"/>
                <a:gd name="T99" fmla="*/ 2147483647 h 1455"/>
                <a:gd name="T100" fmla="*/ 2147483647 w 1246"/>
                <a:gd name="T101" fmla="*/ 2147483647 h 1455"/>
                <a:gd name="T102" fmla="*/ 2147483647 w 1246"/>
                <a:gd name="T103" fmla="*/ 2147483647 h 1455"/>
                <a:gd name="T104" fmla="*/ 2147483647 w 1246"/>
                <a:gd name="T105" fmla="*/ 2147483647 h 1455"/>
                <a:gd name="T106" fmla="*/ 2147483647 w 1246"/>
                <a:gd name="T107" fmla="*/ 2147483647 h 1455"/>
                <a:gd name="T108" fmla="*/ 2147483647 w 1246"/>
                <a:gd name="T109" fmla="*/ 2147483647 h 1455"/>
                <a:gd name="T110" fmla="*/ 2147483647 w 1246"/>
                <a:gd name="T111" fmla="*/ 2147483647 h 1455"/>
                <a:gd name="T112" fmla="*/ 2147483647 w 1246"/>
                <a:gd name="T113" fmla="*/ 2147483647 h 1455"/>
                <a:gd name="T114" fmla="*/ 2147483647 w 1246"/>
                <a:gd name="T115" fmla="*/ 2147483647 h 1455"/>
                <a:gd name="T116" fmla="*/ 2147483647 w 1246"/>
                <a:gd name="T117" fmla="*/ 2147483647 h 1455"/>
                <a:gd name="T118" fmla="*/ 2147483647 w 1246"/>
                <a:gd name="T119" fmla="*/ 2147483647 h 1455"/>
                <a:gd name="T120" fmla="*/ 2147483647 w 1246"/>
                <a:gd name="T121" fmla="*/ 0 h 1455"/>
                <a:gd name="T122" fmla="*/ 2147483647 w 1246"/>
                <a:gd name="T123" fmla="*/ 2147483647 h 1455"/>
                <a:gd name="T124" fmla="*/ 2147483647 w 1246"/>
                <a:gd name="T125" fmla="*/ 2147483647 h 14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246"/>
                <a:gd name="T190" fmla="*/ 0 h 1455"/>
                <a:gd name="T191" fmla="*/ 1246 w 1246"/>
                <a:gd name="T192" fmla="*/ 1455 h 145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246" h="1455">
                  <a:moveTo>
                    <a:pt x="1128" y="87"/>
                  </a:moveTo>
                  <a:lnTo>
                    <a:pt x="1126" y="87"/>
                  </a:lnTo>
                  <a:lnTo>
                    <a:pt x="1125" y="85"/>
                  </a:lnTo>
                  <a:lnTo>
                    <a:pt x="1125" y="84"/>
                  </a:lnTo>
                  <a:lnTo>
                    <a:pt x="1125" y="79"/>
                  </a:lnTo>
                  <a:lnTo>
                    <a:pt x="1125" y="74"/>
                  </a:lnTo>
                  <a:lnTo>
                    <a:pt x="1123" y="76"/>
                  </a:lnTo>
                  <a:lnTo>
                    <a:pt x="1120" y="76"/>
                  </a:lnTo>
                  <a:lnTo>
                    <a:pt x="1117" y="79"/>
                  </a:lnTo>
                  <a:lnTo>
                    <a:pt x="1113" y="82"/>
                  </a:lnTo>
                  <a:lnTo>
                    <a:pt x="1110" y="84"/>
                  </a:lnTo>
                  <a:lnTo>
                    <a:pt x="1107" y="87"/>
                  </a:lnTo>
                  <a:lnTo>
                    <a:pt x="1106" y="89"/>
                  </a:lnTo>
                  <a:lnTo>
                    <a:pt x="1106" y="90"/>
                  </a:lnTo>
                  <a:lnTo>
                    <a:pt x="1106" y="92"/>
                  </a:lnTo>
                  <a:lnTo>
                    <a:pt x="1106" y="93"/>
                  </a:lnTo>
                  <a:lnTo>
                    <a:pt x="1106" y="95"/>
                  </a:lnTo>
                  <a:lnTo>
                    <a:pt x="1107" y="97"/>
                  </a:lnTo>
                  <a:lnTo>
                    <a:pt x="1107" y="98"/>
                  </a:lnTo>
                  <a:lnTo>
                    <a:pt x="1110" y="100"/>
                  </a:lnTo>
                  <a:lnTo>
                    <a:pt x="1113" y="101"/>
                  </a:lnTo>
                  <a:lnTo>
                    <a:pt x="1115" y="103"/>
                  </a:lnTo>
                  <a:lnTo>
                    <a:pt x="1118" y="103"/>
                  </a:lnTo>
                  <a:lnTo>
                    <a:pt x="1123" y="104"/>
                  </a:lnTo>
                  <a:lnTo>
                    <a:pt x="1128" y="104"/>
                  </a:lnTo>
                  <a:lnTo>
                    <a:pt x="1132" y="104"/>
                  </a:lnTo>
                  <a:lnTo>
                    <a:pt x="1132" y="93"/>
                  </a:lnTo>
                  <a:lnTo>
                    <a:pt x="1131" y="90"/>
                  </a:lnTo>
                  <a:lnTo>
                    <a:pt x="1128" y="87"/>
                  </a:lnTo>
                  <a:close/>
                  <a:moveTo>
                    <a:pt x="1181" y="950"/>
                  </a:moveTo>
                  <a:lnTo>
                    <a:pt x="1186" y="950"/>
                  </a:lnTo>
                  <a:lnTo>
                    <a:pt x="1189" y="950"/>
                  </a:lnTo>
                  <a:lnTo>
                    <a:pt x="1192" y="950"/>
                  </a:lnTo>
                  <a:lnTo>
                    <a:pt x="1194" y="948"/>
                  </a:lnTo>
                  <a:lnTo>
                    <a:pt x="1196" y="947"/>
                  </a:lnTo>
                  <a:lnTo>
                    <a:pt x="1197" y="945"/>
                  </a:lnTo>
                  <a:lnTo>
                    <a:pt x="1199" y="944"/>
                  </a:lnTo>
                  <a:lnTo>
                    <a:pt x="1200" y="940"/>
                  </a:lnTo>
                  <a:lnTo>
                    <a:pt x="1200" y="937"/>
                  </a:lnTo>
                  <a:lnTo>
                    <a:pt x="1200" y="933"/>
                  </a:lnTo>
                  <a:lnTo>
                    <a:pt x="1200" y="925"/>
                  </a:lnTo>
                  <a:lnTo>
                    <a:pt x="1202" y="921"/>
                  </a:lnTo>
                  <a:lnTo>
                    <a:pt x="1202" y="920"/>
                  </a:lnTo>
                  <a:lnTo>
                    <a:pt x="1205" y="917"/>
                  </a:lnTo>
                  <a:lnTo>
                    <a:pt x="1207" y="915"/>
                  </a:lnTo>
                  <a:lnTo>
                    <a:pt x="1210" y="912"/>
                  </a:lnTo>
                  <a:lnTo>
                    <a:pt x="1215" y="907"/>
                  </a:lnTo>
                  <a:lnTo>
                    <a:pt x="1219" y="904"/>
                  </a:lnTo>
                  <a:lnTo>
                    <a:pt x="1222" y="899"/>
                  </a:lnTo>
                  <a:lnTo>
                    <a:pt x="1222" y="896"/>
                  </a:lnTo>
                  <a:lnTo>
                    <a:pt x="1226" y="895"/>
                  </a:lnTo>
                  <a:lnTo>
                    <a:pt x="1226" y="891"/>
                  </a:lnTo>
                  <a:lnTo>
                    <a:pt x="1226" y="888"/>
                  </a:lnTo>
                  <a:lnTo>
                    <a:pt x="1226" y="887"/>
                  </a:lnTo>
                  <a:lnTo>
                    <a:pt x="1226" y="884"/>
                  </a:lnTo>
                  <a:lnTo>
                    <a:pt x="1224" y="880"/>
                  </a:lnTo>
                  <a:lnTo>
                    <a:pt x="1222" y="879"/>
                  </a:lnTo>
                  <a:lnTo>
                    <a:pt x="1221" y="874"/>
                  </a:lnTo>
                  <a:lnTo>
                    <a:pt x="1219" y="869"/>
                  </a:lnTo>
                  <a:lnTo>
                    <a:pt x="1216" y="866"/>
                  </a:lnTo>
                  <a:lnTo>
                    <a:pt x="1215" y="862"/>
                  </a:lnTo>
                  <a:lnTo>
                    <a:pt x="1213" y="860"/>
                  </a:lnTo>
                  <a:lnTo>
                    <a:pt x="1213" y="858"/>
                  </a:lnTo>
                  <a:lnTo>
                    <a:pt x="1213" y="855"/>
                  </a:lnTo>
                  <a:lnTo>
                    <a:pt x="1213" y="854"/>
                  </a:lnTo>
                  <a:lnTo>
                    <a:pt x="1213" y="847"/>
                  </a:lnTo>
                  <a:lnTo>
                    <a:pt x="1215" y="843"/>
                  </a:lnTo>
                  <a:lnTo>
                    <a:pt x="1215" y="839"/>
                  </a:lnTo>
                  <a:lnTo>
                    <a:pt x="1218" y="836"/>
                  </a:lnTo>
                  <a:lnTo>
                    <a:pt x="1221" y="833"/>
                  </a:lnTo>
                  <a:lnTo>
                    <a:pt x="1222" y="830"/>
                  </a:lnTo>
                  <a:lnTo>
                    <a:pt x="1226" y="827"/>
                  </a:lnTo>
                  <a:lnTo>
                    <a:pt x="1229" y="825"/>
                  </a:lnTo>
                  <a:lnTo>
                    <a:pt x="1234" y="822"/>
                  </a:lnTo>
                  <a:lnTo>
                    <a:pt x="1235" y="821"/>
                  </a:lnTo>
                  <a:lnTo>
                    <a:pt x="1238" y="817"/>
                  </a:lnTo>
                  <a:lnTo>
                    <a:pt x="1241" y="814"/>
                  </a:lnTo>
                  <a:lnTo>
                    <a:pt x="1243" y="811"/>
                  </a:lnTo>
                  <a:lnTo>
                    <a:pt x="1245" y="808"/>
                  </a:lnTo>
                  <a:lnTo>
                    <a:pt x="1246" y="802"/>
                  </a:lnTo>
                  <a:lnTo>
                    <a:pt x="1246" y="797"/>
                  </a:lnTo>
                  <a:lnTo>
                    <a:pt x="1246" y="795"/>
                  </a:lnTo>
                  <a:lnTo>
                    <a:pt x="1246" y="784"/>
                  </a:lnTo>
                  <a:lnTo>
                    <a:pt x="1243" y="776"/>
                  </a:lnTo>
                  <a:lnTo>
                    <a:pt x="1243" y="767"/>
                  </a:lnTo>
                  <a:lnTo>
                    <a:pt x="1243" y="759"/>
                  </a:lnTo>
                  <a:lnTo>
                    <a:pt x="1237" y="759"/>
                  </a:lnTo>
                  <a:lnTo>
                    <a:pt x="1229" y="756"/>
                  </a:lnTo>
                  <a:lnTo>
                    <a:pt x="1221" y="754"/>
                  </a:lnTo>
                  <a:lnTo>
                    <a:pt x="1215" y="753"/>
                  </a:lnTo>
                  <a:lnTo>
                    <a:pt x="1210" y="751"/>
                  </a:lnTo>
                  <a:lnTo>
                    <a:pt x="1207" y="748"/>
                  </a:lnTo>
                  <a:lnTo>
                    <a:pt x="1204" y="746"/>
                  </a:lnTo>
                  <a:lnTo>
                    <a:pt x="1200" y="745"/>
                  </a:lnTo>
                  <a:lnTo>
                    <a:pt x="1199" y="743"/>
                  </a:lnTo>
                  <a:lnTo>
                    <a:pt x="1197" y="740"/>
                  </a:lnTo>
                  <a:lnTo>
                    <a:pt x="1196" y="738"/>
                  </a:lnTo>
                  <a:lnTo>
                    <a:pt x="1196" y="735"/>
                  </a:lnTo>
                  <a:lnTo>
                    <a:pt x="1196" y="734"/>
                  </a:lnTo>
                  <a:lnTo>
                    <a:pt x="1197" y="732"/>
                  </a:lnTo>
                  <a:lnTo>
                    <a:pt x="1197" y="729"/>
                  </a:lnTo>
                  <a:lnTo>
                    <a:pt x="1199" y="727"/>
                  </a:lnTo>
                  <a:lnTo>
                    <a:pt x="1200" y="723"/>
                  </a:lnTo>
                  <a:lnTo>
                    <a:pt x="1202" y="721"/>
                  </a:lnTo>
                  <a:lnTo>
                    <a:pt x="1200" y="685"/>
                  </a:lnTo>
                  <a:lnTo>
                    <a:pt x="1196" y="682"/>
                  </a:lnTo>
                  <a:lnTo>
                    <a:pt x="1189" y="679"/>
                  </a:lnTo>
                  <a:lnTo>
                    <a:pt x="1185" y="674"/>
                  </a:lnTo>
                  <a:lnTo>
                    <a:pt x="1180" y="671"/>
                  </a:lnTo>
                  <a:lnTo>
                    <a:pt x="1177" y="669"/>
                  </a:lnTo>
                  <a:lnTo>
                    <a:pt x="1175" y="666"/>
                  </a:lnTo>
                  <a:lnTo>
                    <a:pt x="1172" y="664"/>
                  </a:lnTo>
                  <a:lnTo>
                    <a:pt x="1170" y="661"/>
                  </a:lnTo>
                  <a:lnTo>
                    <a:pt x="1169" y="658"/>
                  </a:lnTo>
                  <a:lnTo>
                    <a:pt x="1169" y="653"/>
                  </a:lnTo>
                  <a:lnTo>
                    <a:pt x="1167" y="652"/>
                  </a:lnTo>
                  <a:lnTo>
                    <a:pt x="1167" y="647"/>
                  </a:lnTo>
                  <a:lnTo>
                    <a:pt x="1167" y="631"/>
                  </a:lnTo>
                  <a:lnTo>
                    <a:pt x="1167" y="619"/>
                  </a:lnTo>
                  <a:lnTo>
                    <a:pt x="1167" y="608"/>
                  </a:lnTo>
                  <a:lnTo>
                    <a:pt x="1167" y="597"/>
                  </a:lnTo>
                  <a:lnTo>
                    <a:pt x="1167" y="593"/>
                  </a:lnTo>
                  <a:lnTo>
                    <a:pt x="1167" y="590"/>
                  </a:lnTo>
                  <a:lnTo>
                    <a:pt x="1167" y="587"/>
                  </a:lnTo>
                  <a:lnTo>
                    <a:pt x="1167" y="585"/>
                  </a:lnTo>
                  <a:lnTo>
                    <a:pt x="1166" y="584"/>
                  </a:lnTo>
                  <a:lnTo>
                    <a:pt x="1164" y="582"/>
                  </a:lnTo>
                  <a:lnTo>
                    <a:pt x="1164" y="581"/>
                  </a:lnTo>
                  <a:lnTo>
                    <a:pt x="1162" y="579"/>
                  </a:lnTo>
                  <a:lnTo>
                    <a:pt x="1156" y="576"/>
                  </a:lnTo>
                  <a:lnTo>
                    <a:pt x="1151" y="570"/>
                  </a:lnTo>
                  <a:lnTo>
                    <a:pt x="1148" y="565"/>
                  </a:lnTo>
                  <a:lnTo>
                    <a:pt x="1147" y="557"/>
                  </a:lnTo>
                  <a:lnTo>
                    <a:pt x="1145" y="546"/>
                  </a:lnTo>
                  <a:lnTo>
                    <a:pt x="1143" y="535"/>
                  </a:lnTo>
                  <a:lnTo>
                    <a:pt x="1140" y="524"/>
                  </a:lnTo>
                  <a:lnTo>
                    <a:pt x="1139" y="516"/>
                  </a:lnTo>
                  <a:lnTo>
                    <a:pt x="1139" y="508"/>
                  </a:lnTo>
                  <a:lnTo>
                    <a:pt x="1139" y="507"/>
                  </a:lnTo>
                  <a:lnTo>
                    <a:pt x="1139" y="505"/>
                  </a:lnTo>
                  <a:lnTo>
                    <a:pt x="1139" y="503"/>
                  </a:lnTo>
                  <a:lnTo>
                    <a:pt x="1139" y="502"/>
                  </a:lnTo>
                  <a:lnTo>
                    <a:pt x="1140" y="500"/>
                  </a:lnTo>
                  <a:lnTo>
                    <a:pt x="1143" y="499"/>
                  </a:lnTo>
                  <a:lnTo>
                    <a:pt x="1148" y="499"/>
                  </a:lnTo>
                  <a:lnTo>
                    <a:pt x="1155" y="497"/>
                  </a:lnTo>
                  <a:lnTo>
                    <a:pt x="1156" y="496"/>
                  </a:lnTo>
                  <a:lnTo>
                    <a:pt x="1159" y="492"/>
                  </a:lnTo>
                  <a:lnTo>
                    <a:pt x="1161" y="488"/>
                  </a:lnTo>
                  <a:lnTo>
                    <a:pt x="1164" y="485"/>
                  </a:lnTo>
                  <a:lnTo>
                    <a:pt x="1166" y="481"/>
                  </a:lnTo>
                  <a:lnTo>
                    <a:pt x="1167" y="478"/>
                  </a:lnTo>
                  <a:lnTo>
                    <a:pt x="1167" y="475"/>
                  </a:lnTo>
                  <a:lnTo>
                    <a:pt x="1167" y="470"/>
                  </a:lnTo>
                  <a:lnTo>
                    <a:pt x="1169" y="470"/>
                  </a:lnTo>
                  <a:lnTo>
                    <a:pt x="1167" y="467"/>
                  </a:lnTo>
                  <a:lnTo>
                    <a:pt x="1167" y="461"/>
                  </a:lnTo>
                  <a:lnTo>
                    <a:pt x="1166" y="456"/>
                  </a:lnTo>
                  <a:lnTo>
                    <a:pt x="1169" y="455"/>
                  </a:lnTo>
                  <a:lnTo>
                    <a:pt x="1170" y="451"/>
                  </a:lnTo>
                  <a:lnTo>
                    <a:pt x="1172" y="450"/>
                  </a:lnTo>
                  <a:lnTo>
                    <a:pt x="1174" y="447"/>
                  </a:lnTo>
                  <a:lnTo>
                    <a:pt x="1175" y="445"/>
                  </a:lnTo>
                  <a:lnTo>
                    <a:pt x="1175" y="442"/>
                  </a:lnTo>
                  <a:lnTo>
                    <a:pt x="1175" y="437"/>
                  </a:lnTo>
                  <a:lnTo>
                    <a:pt x="1175" y="434"/>
                  </a:lnTo>
                  <a:lnTo>
                    <a:pt x="1175" y="429"/>
                  </a:lnTo>
                  <a:lnTo>
                    <a:pt x="1175" y="426"/>
                  </a:lnTo>
                  <a:lnTo>
                    <a:pt x="1174" y="423"/>
                  </a:lnTo>
                  <a:lnTo>
                    <a:pt x="1172" y="420"/>
                  </a:lnTo>
                  <a:lnTo>
                    <a:pt x="1170" y="417"/>
                  </a:lnTo>
                  <a:lnTo>
                    <a:pt x="1169" y="415"/>
                  </a:lnTo>
                  <a:lnTo>
                    <a:pt x="1167" y="412"/>
                  </a:lnTo>
                  <a:lnTo>
                    <a:pt x="1166" y="412"/>
                  </a:lnTo>
                  <a:lnTo>
                    <a:pt x="1161" y="407"/>
                  </a:lnTo>
                  <a:lnTo>
                    <a:pt x="1158" y="404"/>
                  </a:lnTo>
                  <a:lnTo>
                    <a:pt x="1155" y="401"/>
                  </a:lnTo>
                  <a:lnTo>
                    <a:pt x="1151" y="396"/>
                  </a:lnTo>
                  <a:lnTo>
                    <a:pt x="1148" y="396"/>
                  </a:lnTo>
                  <a:lnTo>
                    <a:pt x="1147" y="396"/>
                  </a:lnTo>
                  <a:lnTo>
                    <a:pt x="1145" y="396"/>
                  </a:lnTo>
                  <a:lnTo>
                    <a:pt x="1143" y="398"/>
                  </a:lnTo>
                  <a:lnTo>
                    <a:pt x="1142" y="398"/>
                  </a:lnTo>
                  <a:lnTo>
                    <a:pt x="1139" y="398"/>
                  </a:lnTo>
                  <a:lnTo>
                    <a:pt x="1136" y="398"/>
                  </a:lnTo>
                  <a:lnTo>
                    <a:pt x="1132" y="398"/>
                  </a:lnTo>
                  <a:lnTo>
                    <a:pt x="1131" y="398"/>
                  </a:lnTo>
                  <a:lnTo>
                    <a:pt x="1128" y="398"/>
                  </a:lnTo>
                  <a:lnTo>
                    <a:pt x="1125" y="396"/>
                  </a:lnTo>
                  <a:lnTo>
                    <a:pt x="1120" y="393"/>
                  </a:lnTo>
                  <a:lnTo>
                    <a:pt x="1115" y="391"/>
                  </a:lnTo>
                  <a:lnTo>
                    <a:pt x="1110" y="387"/>
                  </a:lnTo>
                  <a:lnTo>
                    <a:pt x="1107" y="384"/>
                  </a:lnTo>
                  <a:lnTo>
                    <a:pt x="1102" y="380"/>
                  </a:lnTo>
                  <a:lnTo>
                    <a:pt x="1098" y="376"/>
                  </a:lnTo>
                  <a:lnTo>
                    <a:pt x="1095" y="371"/>
                  </a:lnTo>
                  <a:lnTo>
                    <a:pt x="1091" y="368"/>
                  </a:lnTo>
                  <a:lnTo>
                    <a:pt x="1088" y="363"/>
                  </a:lnTo>
                  <a:lnTo>
                    <a:pt x="1087" y="360"/>
                  </a:lnTo>
                  <a:lnTo>
                    <a:pt x="1085" y="355"/>
                  </a:lnTo>
                  <a:lnTo>
                    <a:pt x="1083" y="352"/>
                  </a:lnTo>
                  <a:lnTo>
                    <a:pt x="1083" y="347"/>
                  </a:lnTo>
                  <a:lnTo>
                    <a:pt x="1083" y="344"/>
                  </a:lnTo>
                  <a:lnTo>
                    <a:pt x="1083" y="339"/>
                  </a:lnTo>
                  <a:lnTo>
                    <a:pt x="1085" y="336"/>
                  </a:lnTo>
                  <a:lnTo>
                    <a:pt x="1085" y="333"/>
                  </a:lnTo>
                  <a:lnTo>
                    <a:pt x="1087" y="330"/>
                  </a:lnTo>
                  <a:lnTo>
                    <a:pt x="1088" y="327"/>
                  </a:lnTo>
                  <a:lnTo>
                    <a:pt x="1090" y="325"/>
                  </a:lnTo>
                  <a:lnTo>
                    <a:pt x="1091" y="324"/>
                  </a:lnTo>
                  <a:lnTo>
                    <a:pt x="1095" y="319"/>
                  </a:lnTo>
                  <a:lnTo>
                    <a:pt x="1101" y="317"/>
                  </a:lnTo>
                  <a:lnTo>
                    <a:pt x="1104" y="314"/>
                  </a:lnTo>
                  <a:lnTo>
                    <a:pt x="1110" y="311"/>
                  </a:lnTo>
                  <a:lnTo>
                    <a:pt x="1115" y="309"/>
                  </a:lnTo>
                  <a:lnTo>
                    <a:pt x="1118" y="306"/>
                  </a:lnTo>
                  <a:lnTo>
                    <a:pt x="1123" y="303"/>
                  </a:lnTo>
                  <a:lnTo>
                    <a:pt x="1128" y="298"/>
                  </a:lnTo>
                  <a:lnTo>
                    <a:pt x="1129" y="297"/>
                  </a:lnTo>
                  <a:lnTo>
                    <a:pt x="1131" y="294"/>
                  </a:lnTo>
                  <a:lnTo>
                    <a:pt x="1132" y="291"/>
                  </a:lnTo>
                  <a:lnTo>
                    <a:pt x="1134" y="289"/>
                  </a:lnTo>
                  <a:lnTo>
                    <a:pt x="1134" y="286"/>
                  </a:lnTo>
                  <a:lnTo>
                    <a:pt x="1136" y="281"/>
                  </a:lnTo>
                  <a:lnTo>
                    <a:pt x="1136" y="278"/>
                  </a:lnTo>
                  <a:lnTo>
                    <a:pt x="1136" y="273"/>
                  </a:lnTo>
                  <a:lnTo>
                    <a:pt x="1136" y="268"/>
                  </a:lnTo>
                  <a:lnTo>
                    <a:pt x="1134" y="264"/>
                  </a:lnTo>
                  <a:lnTo>
                    <a:pt x="1134" y="257"/>
                  </a:lnTo>
                  <a:lnTo>
                    <a:pt x="1131" y="254"/>
                  </a:lnTo>
                  <a:lnTo>
                    <a:pt x="1129" y="251"/>
                  </a:lnTo>
                  <a:lnTo>
                    <a:pt x="1128" y="246"/>
                  </a:lnTo>
                  <a:lnTo>
                    <a:pt x="1125" y="243"/>
                  </a:lnTo>
                  <a:lnTo>
                    <a:pt x="1123" y="240"/>
                  </a:lnTo>
                  <a:lnTo>
                    <a:pt x="1118" y="235"/>
                  </a:lnTo>
                  <a:lnTo>
                    <a:pt x="1113" y="229"/>
                  </a:lnTo>
                  <a:lnTo>
                    <a:pt x="1112" y="226"/>
                  </a:lnTo>
                  <a:lnTo>
                    <a:pt x="1110" y="223"/>
                  </a:lnTo>
                  <a:lnTo>
                    <a:pt x="1110" y="220"/>
                  </a:lnTo>
                  <a:lnTo>
                    <a:pt x="1110" y="216"/>
                  </a:lnTo>
                  <a:lnTo>
                    <a:pt x="1110" y="215"/>
                  </a:lnTo>
                  <a:lnTo>
                    <a:pt x="1110" y="212"/>
                  </a:lnTo>
                  <a:lnTo>
                    <a:pt x="1112" y="210"/>
                  </a:lnTo>
                  <a:lnTo>
                    <a:pt x="1113" y="209"/>
                  </a:lnTo>
                  <a:lnTo>
                    <a:pt x="1118" y="207"/>
                  </a:lnTo>
                  <a:lnTo>
                    <a:pt x="1125" y="204"/>
                  </a:lnTo>
                  <a:lnTo>
                    <a:pt x="1126" y="202"/>
                  </a:lnTo>
                  <a:lnTo>
                    <a:pt x="1129" y="202"/>
                  </a:lnTo>
                  <a:lnTo>
                    <a:pt x="1131" y="199"/>
                  </a:lnTo>
                  <a:lnTo>
                    <a:pt x="1134" y="197"/>
                  </a:lnTo>
                  <a:lnTo>
                    <a:pt x="1134" y="194"/>
                  </a:lnTo>
                  <a:lnTo>
                    <a:pt x="1136" y="191"/>
                  </a:lnTo>
                  <a:lnTo>
                    <a:pt x="1136" y="185"/>
                  </a:lnTo>
                  <a:lnTo>
                    <a:pt x="1136" y="180"/>
                  </a:lnTo>
                  <a:lnTo>
                    <a:pt x="1134" y="177"/>
                  </a:lnTo>
                  <a:lnTo>
                    <a:pt x="1134" y="172"/>
                  </a:lnTo>
                  <a:lnTo>
                    <a:pt x="1131" y="171"/>
                  </a:lnTo>
                  <a:lnTo>
                    <a:pt x="1129" y="169"/>
                  </a:lnTo>
                  <a:lnTo>
                    <a:pt x="1126" y="166"/>
                  </a:lnTo>
                  <a:lnTo>
                    <a:pt x="1123" y="164"/>
                  </a:lnTo>
                  <a:lnTo>
                    <a:pt x="1121" y="163"/>
                  </a:lnTo>
                  <a:lnTo>
                    <a:pt x="1117" y="163"/>
                  </a:lnTo>
                  <a:lnTo>
                    <a:pt x="1113" y="161"/>
                  </a:lnTo>
                  <a:lnTo>
                    <a:pt x="1110" y="160"/>
                  </a:lnTo>
                  <a:lnTo>
                    <a:pt x="1107" y="158"/>
                  </a:lnTo>
                  <a:lnTo>
                    <a:pt x="1106" y="156"/>
                  </a:lnTo>
                  <a:lnTo>
                    <a:pt x="1102" y="155"/>
                  </a:lnTo>
                  <a:lnTo>
                    <a:pt x="1102" y="153"/>
                  </a:lnTo>
                  <a:lnTo>
                    <a:pt x="1101" y="150"/>
                  </a:lnTo>
                  <a:lnTo>
                    <a:pt x="1101" y="145"/>
                  </a:lnTo>
                  <a:lnTo>
                    <a:pt x="1101" y="142"/>
                  </a:lnTo>
                  <a:lnTo>
                    <a:pt x="1099" y="139"/>
                  </a:lnTo>
                  <a:lnTo>
                    <a:pt x="1099" y="138"/>
                  </a:lnTo>
                  <a:lnTo>
                    <a:pt x="1101" y="138"/>
                  </a:lnTo>
                  <a:lnTo>
                    <a:pt x="1101" y="136"/>
                  </a:lnTo>
                  <a:lnTo>
                    <a:pt x="1102" y="133"/>
                  </a:lnTo>
                  <a:lnTo>
                    <a:pt x="1093" y="134"/>
                  </a:lnTo>
                  <a:lnTo>
                    <a:pt x="1085" y="138"/>
                  </a:lnTo>
                  <a:lnTo>
                    <a:pt x="1080" y="138"/>
                  </a:lnTo>
                  <a:lnTo>
                    <a:pt x="1077" y="139"/>
                  </a:lnTo>
                  <a:lnTo>
                    <a:pt x="1076" y="141"/>
                  </a:lnTo>
                  <a:lnTo>
                    <a:pt x="1074" y="142"/>
                  </a:lnTo>
                  <a:lnTo>
                    <a:pt x="1074" y="144"/>
                  </a:lnTo>
                  <a:lnTo>
                    <a:pt x="1074" y="145"/>
                  </a:lnTo>
                  <a:lnTo>
                    <a:pt x="1080" y="150"/>
                  </a:lnTo>
                  <a:lnTo>
                    <a:pt x="1083" y="156"/>
                  </a:lnTo>
                  <a:lnTo>
                    <a:pt x="1087" y="161"/>
                  </a:lnTo>
                  <a:lnTo>
                    <a:pt x="1088" y="164"/>
                  </a:lnTo>
                  <a:lnTo>
                    <a:pt x="1088" y="166"/>
                  </a:lnTo>
                  <a:lnTo>
                    <a:pt x="1088" y="168"/>
                  </a:lnTo>
                  <a:lnTo>
                    <a:pt x="1088" y="169"/>
                  </a:lnTo>
                  <a:lnTo>
                    <a:pt x="1087" y="171"/>
                  </a:lnTo>
                  <a:lnTo>
                    <a:pt x="1085" y="171"/>
                  </a:lnTo>
                  <a:lnTo>
                    <a:pt x="1083" y="171"/>
                  </a:lnTo>
                  <a:lnTo>
                    <a:pt x="1080" y="171"/>
                  </a:lnTo>
                  <a:lnTo>
                    <a:pt x="1077" y="171"/>
                  </a:lnTo>
                  <a:lnTo>
                    <a:pt x="1072" y="169"/>
                  </a:lnTo>
                  <a:lnTo>
                    <a:pt x="1066" y="166"/>
                  </a:lnTo>
                  <a:lnTo>
                    <a:pt x="1061" y="163"/>
                  </a:lnTo>
                  <a:lnTo>
                    <a:pt x="1055" y="158"/>
                  </a:lnTo>
                  <a:lnTo>
                    <a:pt x="1049" y="153"/>
                  </a:lnTo>
                  <a:lnTo>
                    <a:pt x="1042" y="149"/>
                  </a:lnTo>
                  <a:lnTo>
                    <a:pt x="1041" y="149"/>
                  </a:lnTo>
                  <a:lnTo>
                    <a:pt x="1039" y="153"/>
                  </a:lnTo>
                  <a:lnTo>
                    <a:pt x="1033" y="158"/>
                  </a:lnTo>
                  <a:lnTo>
                    <a:pt x="1031" y="161"/>
                  </a:lnTo>
                  <a:lnTo>
                    <a:pt x="1030" y="164"/>
                  </a:lnTo>
                  <a:lnTo>
                    <a:pt x="1028" y="169"/>
                  </a:lnTo>
                  <a:lnTo>
                    <a:pt x="1028" y="171"/>
                  </a:lnTo>
                  <a:lnTo>
                    <a:pt x="1028" y="174"/>
                  </a:lnTo>
                  <a:lnTo>
                    <a:pt x="1028" y="177"/>
                  </a:lnTo>
                  <a:lnTo>
                    <a:pt x="1028" y="179"/>
                  </a:lnTo>
                  <a:lnTo>
                    <a:pt x="1030" y="180"/>
                  </a:lnTo>
                  <a:lnTo>
                    <a:pt x="1031" y="182"/>
                  </a:lnTo>
                  <a:lnTo>
                    <a:pt x="1033" y="185"/>
                  </a:lnTo>
                  <a:lnTo>
                    <a:pt x="1033" y="186"/>
                  </a:lnTo>
                  <a:lnTo>
                    <a:pt x="1036" y="190"/>
                  </a:lnTo>
                  <a:lnTo>
                    <a:pt x="1039" y="191"/>
                  </a:lnTo>
                  <a:lnTo>
                    <a:pt x="1041" y="194"/>
                  </a:lnTo>
                  <a:lnTo>
                    <a:pt x="1044" y="197"/>
                  </a:lnTo>
                  <a:lnTo>
                    <a:pt x="1049" y="199"/>
                  </a:lnTo>
                  <a:lnTo>
                    <a:pt x="1057" y="204"/>
                  </a:lnTo>
                  <a:lnTo>
                    <a:pt x="1068" y="210"/>
                  </a:lnTo>
                  <a:lnTo>
                    <a:pt x="1069" y="212"/>
                  </a:lnTo>
                  <a:lnTo>
                    <a:pt x="1072" y="216"/>
                  </a:lnTo>
                  <a:lnTo>
                    <a:pt x="1076" y="223"/>
                  </a:lnTo>
                  <a:lnTo>
                    <a:pt x="1080" y="231"/>
                  </a:lnTo>
                  <a:lnTo>
                    <a:pt x="1082" y="234"/>
                  </a:lnTo>
                  <a:lnTo>
                    <a:pt x="1083" y="237"/>
                  </a:lnTo>
                  <a:lnTo>
                    <a:pt x="1085" y="242"/>
                  </a:lnTo>
                  <a:lnTo>
                    <a:pt x="1085" y="245"/>
                  </a:lnTo>
                  <a:lnTo>
                    <a:pt x="1085" y="248"/>
                  </a:lnTo>
                  <a:lnTo>
                    <a:pt x="1083" y="251"/>
                  </a:lnTo>
                  <a:lnTo>
                    <a:pt x="1082" y="253"/>
                  </a:lnTo>
                  <a:lnTo>
                    <a:pt x="1082" y="254"/>
                  </a:lnTo>
                  <a:lnTo>
                    <a:pt x="1080" y="256"/>
                  </a:lnTo>
                  <a:lnTo>
                    <a:pt x="1080" y="257"/>
                  </a:lnTo>
                  <a:lnTo>
                    <a:pt x="1077" y="256"/>
                  </a:lnTo>
                  <a:lnTo>
                    <a:pt x="1076" y="253"/>
                  </a:lnTo>
                  <a:lnTo>
                    <a:pt x="1074" y="253"/>
                  </a:lnTo>
                  <a:lnTo>
                    <a:pt x="1072" y="251"/>
                  </a:lnTo>
                  <a:lnTo>
                    <a:pt x="1069" y="246"/>
                  </a:lnTo>
                  <a:lnTo>
                    <a:pt x="1066" y="243"/>
                  </a:lnTo>
                  <a:lnTo>
                    <a:pt x="1065" y="237"/>
                  </a:lnTo>
                  <a:lnTo>
                    <a:pt x="1061" y="232"/>
                  </a:lnTo>
                  <a:lnTo>
                    <a:pt x="1060" y="229"/>
                  </a:lnTo>
                  <a:lnTo>
                    <a:pt x="1055" y="224"/>
                  </a:lnTo>
                  <a:lnTo>
                    <a:pt x="1050" y="224"/>
                  </a:lnTo>
                  <a:lnTo>
                    <a:pt x="1046" y="224"/>
                  </a:lnTo>
                  <a:lnTo>
                    <a:pt x="1041" y="223"/>
                  </a:lnTo>
                  <a:lnTo>
                    <a:pt x="1036" y="221"/>
                  </a:lnTo>
                  <a:lnTo>
                    <a:pt x="1033" y="220"/>
                  </a:lnTo>
                  <a:lnTo>
                    <a:pt x="1028" y="216"/>
                  </a:lnTo>
                  <a:lnTo>
                    <a:pt x="1027" y="215"/>
                  </a:lnTo>
                  <a:lnTo>
                    <a:pt x="1022" y="212"/>
                  </a:lnTo>
                  <a:lnTo>
                    <a:pt x="1020" y="209"/>
                  </a:lnTo>
                  <a:lnTo>
                    <a:pt x="1017" y="205"/>
                  </a:lnTo>
                  <a:lnTo>
                    <a:pt x="1016" y="202"/>
                  </a:lnTo>
                  <a:lnTo>
                    <a:pt x="1012" y="201"/>
                  </a:lnTo>
                  <a:lnTo>
                    <a:pt x="1011" y="197"/>
                  </a:lnTo>
                  <a:lnTo>
                    <a:pt x="1009" y="194"/>
                  </a:lnTo>
                  <a:lnTo>
                    <a:pt x="1008" y="193"/>
                  </a:lnTo>
                  <a:lnTo>
                    <a:pt x="1008" y="191"/>
                  </a:lnTo>
                  <a:lnTo>
                    <a:pt x="1008" y="186"/>
                  </a:lnTo>
                  <a:lnTo>
                    <a:pt x="1008" y="182"/>
                  </a:lnTo>
                  <a:lnTo>
                    <a:pt x="1008" y="177"/>
                  </a:lnTo>
                  <a:lnTo>
                    <a:pt x="1009" y="171"/>
                  </a:lnTo>
                  <a:lnTo>
                    <a:pt x="1011" y="168"/>
                  </a:lnTo>
                  <a:lnTo>
                    <a:pt x="1012" y="163"/>
                  </a:lnTo>
                  <a:lnTo>
                    <a:pt x="1014" y="160"/>
                  </a:lnTo>
                  <a:lnTo>
                    <a:pt x="1016" y="156"/>
                  </a:lnTo>
                  <a:lnTo>
                    <a:pt x="1019" y="149"/>
                  </a:lnTo>
                  <a:lnTo>
                    <a:pt x="1023" y="141"/>
                  </a:lnTo>
                  <a:lnTo>
                    <a:pt x="1027" y="133"/>
                  </a:lnTo>
                  <a:lnTo>
                    <a:pt x="1031" y="125"/>
                  </a:lnTo>
                  <a:lnTo>
                    <a:pt x="1031" y="120"/>
                  </a:lnTo>
                  <a:lnTo>
                    <a:pt x="1033" y="108"/>
                  </a:lnTo>
                  <a:lnTo>
                    <a:pt x="1033" y="100"/>
                  </a:lnTo>
                  <a:lnTo>
                    <a:pt x="1033" y="92"/>
                  </a:lnTo>
                  <a:lnTo>
                    <a:pt x="1033" y="82"/>
                  </a:lnTo>
                  <a:lnTo>
                    <a:pt x="1031" y="71"/>
                  </a:lnTo>
                  <a:lnTo>
                    <a:pt x="1028" y="70"/>
                  </a:lnTo>
                  <a:lnTo>
                    <a:pt x="1027" y="70"/>
                  </a:lnTo>
                  <a:lnTo>
                    <a:pt x="1025" y="70"/>
                  </a:lnTo>
                  <a:lnTo>
                    <a:pt x="1023" y="70"/>
                  </a:lnTo>
                  <a:lnTo>
                    <a:pt x="1020" y="70"/>
                  </a:lnTo>
                  <a:lnTo>
                    <a:pt x="1020" y="71"/>
                  </a:lnTo>
                  <a:lnTo>
                    <a:pt x="1019" y="74"/>
                  </a:lnTo>
                  <a:lnTo>
                    <a:pt x="1016" y="79"/>
                  </a:lnTo>
                  <a:lnTo>
                    <a:pt x="1016" y="84"/>
                  </a:lnTo>
                  <a:lnTo>
                    <a:pt x="1014" y="92"/>
                  </a:lnTo>
                  <a:lnTo>
                    <a:pt x="1012" y="98"/>
                  </a:lnTo>
                  <a:lnTo>
                    <a:pt x="1012" y="108"/>
                  </a:lnTo>
                  <a:lnTo>
                    <a:pt x="1011" y="114"/>
                  </a:lnTo>
                  <a:lnTo>
                    <a:pt x="1011" y="120"/>
                  </a:lnTo>
                  <a:lnTo>
                    <a:pt x="1009" y="126"/>
                  </a:lnTo>
                  <a:lnTo>
                    <a:pt x="1008" y="130"/>
                  </a:lnTo>
                  <a:lnTo>
                    <a:pt x="1008" y="133"/>
                  </a:lnTo>
                  <a:lnTo>
                    <a:pt x="1006" y="134"/>
                  </a:lnTo>
                  <a:lnTo>
                    <a:pt x="1006" y="136"/>
                  </a:lnTo>
                  <a:lnTo>
                    <a:pt x="1003" y="138"/>
                  </a:lnTo>
                  <a:lnTo>
                    <a:pt x="1000" y="139"/>
                  </a:lnTo>
                  <a:lnTo>
                    <a:pt x="998" y="139"/>
                  </a:lnTo>
                  <a:lnTo>
                    <a:pt x="992" y="141"/>
                  </a:lnTo>
                  <a:lnTo>
                    <a:pt x="986" y="142"/>
                  </a:lnTo>
                  <a:lnTo>
                    <a:pt x="979" y="144"/>
                  </a:lnTo>
                  <a:lnTo>
                    <a:pt x="974" y="147"/>
                  </a:lnTo>
                  <a:lnTo>
                    <a:pt x="970" y="149"/>
                  </a:lnTo>
                  <a:lnTo>
                    <a:pt x="967" y="152"/>
                  </a:lnTo>
                  <a:lnTo>
                    <a:pt x="963" y="153"/>
                  </a:lnTo>
                  <a:lnTo>
                    <a:pt x="960" y="156"/>
                  </a:lnTo>
                  <a:lnTo>
                    <a:pt x="959" y="160"/>
                  </a:lnTo>
                  <a:lnTo>
                    <a:pt x="957" y="163"/>
                  </a:lnTo>
                  <a:lnTo>
                    <a:pt x="957" y="166"/>
                  </a:lnTo>
                  <a:lnTo>
                    <a:pt x="954" y="169"/>
                  </a:lnTo>
                  <a:lnTo>
                    <a:pt x="954" y="175"/>
                  </a:lnTo>
                  <a:lnTo>
                    <a:pt x="952" y="182"/>
                  </a:lnTo>
                  <a:lnTo>
                    <a:pt x="952" y="188"/>
                  </a:lnTo>
                  <a:lnTo>
                    <a:pt x="952" y="194"/>
                  </a:lnTo>
                  <a:lnTo>
                    <a:pt x="952" y="202"/>
                  </a:lnTo>
                  <a:lnTo>
                    <a:pt x="952" y="207"/>
                  </a:lnTo>
                  <a:lnTo>
                    <a:pt x="955" y="223"/>
                  </a:lnTo>
                  <a:lnTo>
                    <a:pt x="959" y="235"/>
                  </a:lnTo>
                  <a:lnTo>
                    <a:pt x="959" y="242"/>
                  </a:lnTo>
                  <a:lnTo>
                    <a:pt x="960" y="248"/>
                  </a:lnTo>
                  <a:lnTo>
                    <a:pt x="960" y="253"/>
                  </a:lnTo>
                  <a:lnTo>
                    <a:pt x="960" y="257"/>
                  </a:lnTo>
                  <a:lnTo>
                    <a:pt x="960" y="259"/>
                  </a:lnTo>
                  <a:lnTo>
                    <a:pt x="960" y="261"/>
                  </a:lnTo>
                  <a:lnTo>
                    <a:pt x="959" y="264"/>
                  </a:lnTo>
                  <a:lnTo>
                    <a:pt x="959" y="265"/>
                  </a:lnTo>
                  <a:lnTo>
                    <a:pt x="957" y="267"/>
                  </a:lnTo>
                  <a:lnTo>
                    <a:pt x="957" y="268"/>
                  </a:lnTo>
                  <a:lnTo>
                    <a:pt x="954" y="270"/>
                  </a:lnTo>
                  <a:lnTo>
                    <a:pt x="952" y="272"/>
                  </a:lnTo>
                  <a:lnTo>
                    <a:pt x="951" y="273"/>
                  </a:lnTo>
                  <a:lnTo>
                    <a:pt x="946" y="283"/>
                  </a:lnTo>
                  <a:lnTo>
                    <a:pt x="944" y="291"/>
                  </a:lnTo>
                  <a:lnTo>
                    <a:pt x="940" y="300"/>
                  </a:lnTo>
                  <a:lnTo>
                    <a:pt x="938" y="309"/>
                  </a:lnTo>
                  <a:lnTo>
                    <a:pt x="935" y="317"/>
                  </a:lnTo>
                  <a:lnTo>
                    <a:pt x="933" y="324"/>
                  </a:lnTo>
                  <a:lnTo>
                    <a:pt x="932" y="332"/>
                  </a:lnTo>
                  <a:lnTo>
                    <a:pt x="932" y="338"/>
                  </a:lnTo>
                  <a:lnTo>
                    <a:pt x="932" y="350"/>
                  </a:lnTo>
                  <a:lnTo>
                    <a:pt x="932" y="360"/>
                  </a:lnTo>
                  <a:lnTo>
                    <a:pt x="932" y="365"/>
                  </a:lnTo>
                  <a:lnTo>
                    <a:pt x="932" y="368"/>
                  </a:lnTo>
                  <a:lnTo>
                    <a:pt x="933" y="371"/>
                  </a:lnTo>
                  <a:lnTo>
                    <a:pt x="935" y="373"/>
                  </a:lnTo>
                  <a:lnTo>
                    <a:pt x="937" y="374"/>
                  </a:lnTo>
                  <a:lnTo>
                    <a:pt x="938" y="376"/>
                  </a:lnTo>
                  <a:lnTo>
                    <a:pt x="940" y="376"/>
                  </a:lnTo>
                  <a:lnTo>
                    <a:pt x="941" y="376"/>
                  </a:lnTo>
                  <a:lnTo>
                    <a:pt x="946" y="377"/>
                  </a:lnTo>
                  <a:lnTo>
                    <a:pt x="952" y="377"/>
                  </a:lnTo>
                  <a:lnTo>
                    <a:pt x="957" y="376"/>
                  </a:lnTo>
                  <a:lnTo>
                    <a:pt x="967" y="376"/>
                  </a:lnTo>
                  <a:lnTo>
                    <a:pt x="974" y="373"/>
                  </a:lnTo>
                  <a:lnTo>
                    <a:pt x="986" y="371"/>
                  </a:lnTo>
                  <a:lnTo>
                    <a:pt x="990" y="371"/>
                  </a:lnTo>
                  <a:lnTo>
                    <a:pt x="995" y="373"/>
                  </a:lnTo>
                  <a:lnTo>
                    <a:pt x="1000" y="376"/>
                  </a:lnTo>
                  <a:lnTo>
                    <a:pt x="1003" y="377"/>
                  </a:lnTo>
                  <a:lnTo>
                    <a:pt x="1006" y="380"/>
                  </a:lnTo>
                  <a:lnTo>
                    <a:pt x="1011" y="385"/>
                  </a:lnTo>
                  <a:lnTo>
                    <a:pt x="1012" y="388"/>
                  </a:lnTo>
                  <a:lnTo>
                    <a:pt x="1016" y="393"/>
                  </a:lnTo>
                  <a:lnTo>
                    <a:pt x="1019" y="396"/>
                  </a:lnTo>
                  <a:lnTo>
                    <a:pt x="1020" y="401"/>
                  </a:lnTo>
                  <a:lnTo>
                    <a:pt x="1023" y="406"/>
                  </a:lnTo>
                  <a:lnTo>
                    <a:pt x="1025" y="412"/>
                  </a:lnTo>
                  <a:lnTo>
                    <a:pt x="1027" y="417"/>
                  </a:lnTo>
                  <a:lnTo>
                    <a:pt x="1028" y="421"/>
                  </a:lnTo>
                  <a:lnTo>
                    <a:pt x="1030" y="428"/>
                  </a:lnTo>
                  <a:lnTo>
                    <a:pt x="1031" y="434"/>
                  </a:lnTo>
                  <a:lnTo>
                    <a:pt x="1031" y="439"/>
                  </a:lnTo>
                  <a:lnTo>
                    <a:pt x="1031" y="444"/>
                  </a:lnTo>
                  <a:lnTo>
                    <a:pt x="1031" y="447"/>
                  </a:lnTo>
                  <a:lnTo>
                    <a:pt x="1030" y="451"/>
                  </a:lnTo>
                  <a:lnTo>
                    <a:pt x="1028" y="453"/>
                  </a:lnTo>
                  <a:lnTo>
                    <a:pt x="1027" y="456"/>
                  </a:lnTo>
                  <a:lnTo>
                    <a:pt x="1025" y="458"/>
                  </a:lnTo>
                  <a:lnTo>
                    <a:pt x="1022" y="459"/>
                  </a:lnTo>
                  <a:lnTo>
                    <a:pt x="1017" y="462"/>
                  </a:lnTo>
                  <a:lnTo>
                    <a:pt x="1012" y="466"/>
                  </a:lnTo>
                  <a:lnTo>
                    <a:pt x="1011" y="467"/>
                  </a:lnTo>
                  <a:lnTo>
                    <a:pt x="1008" y="470"/>
                  </a:lnTo>
                  <a:lnTo>
                    <a:pt x="1008" y="472"/>
                  </a:lnTo>
                  <a:lnTo>
                    <a:pt x="1006" y="477"/>
                  </a:lnTo>
                  <a:lnTo>
                    <a:pt x="1006" y="478"/>
                  </a:lnTo>
                  <a:lnTo>
                    <a:pt x="1006" y="480"/>
                  </a:lnTo>
                  <a:lnTo>
                    <a:pt x="1008" y="483"/>
                  </a:lnTo>
                  <a:lnTo>
                    <a:pt x="1008" y="485"/>
                  </a:lnTo>
                  <a:lnTo>
                    <a:pt x="1009" y="489"/>
                  </a:lnTo>
                  <a:lnTo>
                    <a:pt x="1012" y="492"/>
                  </a:lnTo>
                  <a:lnTo>
                    <a:pt x="1016" y="496"/>
                  </a:lnTo>
                  <a:lnTo>
                    <a:pt x="1019" y="500"/>
                  </a:lnTo>
                  <a:lnTo>
                    <a:pt x="1022" y="502"/>
                  </a:lnTo>
                  <a:lnTo>
                    <a:pt x="1027" y="505"/>
                  </a:lnTo>
                  <a:lnTo>
                    <a:pt x="1033" y="510"/>
                  </a:lnTo>
                  <a:lnTo>
                    <a:pt x="1041" y="513"/>
                  </a:lnTo>
                  <a:lnTo>
                    <a:pt x="1042" y="516"/>
                  </a:lnTo>
                  <a:lnTo>
                    <a:pt x="1044" y="518"/>
                  </a:lnTo>
                  <a:lnTo>
                    <a:pt x="1046" y="519"/>
                  </a:lnTo>
                  <a:lnTo>
                    <a:pt x="1041" y="519"/>
                  </a:lnTo>
                  <a:lnTo>
                    <a:pt x="1038" y="519"/>
                  </a:lnTo>
                  <a:lnTo>
                    <a:pt x="1033" y="519"/>
                  </a:lnTo>
                  <a:lnTo>
                    <a:pt x="1028" y="518"/>
                  </a:lnTo>
                  <a:lnTo>
                    <a:pt x="1025" y="516"/>
                  </a:lnTo>
                  <a:lnTo>
                    <a:pt x="1020" y="516"/>
                  </a:lnTo>
                  <a:lnTo>
                    <a:pt x="1017" y="513"/>
                  </a:lnTo>
                  <a:lnTo>
                    <a:pt x="1014" y="511"/>
                  </a:lnTo>
                  <a:lnTo>
                    <a:pt x="1011" y="510"/>
                  </a:lnTo>
                  <a:lnTo>
                    <a:pt x="1008" y="507"/>
                  </a:lnTo>
                  <a:lnTo>
                    <a:pt x="1006" y="505"/>
                  </a:lnTo>
                  <a:lnTo>
                    <a:pt x="1003" y="502"/>
                  </a:lnTo>
                  <a:lnTo>
                    <a:pt x="1001" y="499"/>
                  </a:lnTo>
                  <a:lnTo>
                    <a:pt x="1000" y="496"/>
                  </a:lnTo>
                  <a:lnTo>
                    <a:pt x="1000" y="492"/>
                  </a:lnTo>
                  <a:lnTo>
                    <a:pt x="998" y="489"/>
                  </a:lnTo>
                  <a:lnTo>
                    <a:pt x="1000" y="483"/>
                  </a:lnTo>
                  <a:lnTo>
                    <a:pt x="1000" y="478"/>
                  </a:lnTo>
                  <a:lnTo>
                    <a:pt x="1001" y="472"/>
                  </a:lnTo>
                  <a:lnTo>
                    <a:pt x="1003" y="466"/>
                  </a:lnTo>
                  <a:lnTo>
                    <a:pt x="1008" y="451"/>
                  </a:lnTo>
                  <a:lnTo>
                    <a:pt x="1016" y="434"/>
                  </a:lnTo>
                  <a:lnTo>
                    <a:pt x="1012" y="431"/>
                  </a:lnTo>
                  <a:lnTo>
                    <a:pt x="1009" y="426"/>
                  </a:lnTo>
                  <a:lnTo>
                    <a:pt x="1008" y="425"/>
                  </a:lnTo>
                  <a:lnTo>
                    <a:pt x="1006" y="420"/>
                  </a:lnTo>
                  <a:lnTo>
                    <a:pt x="1001" y="412"/>
                  </a:lnTo>
                  <a:lnTo>
                    <a:pt x="998" y="404"/>
                  </a:lnTo>
                  <a:lnTo>
                    <a:pt x="995" y="399"/>
                  </a:lnTo>
                  <a:lnTo>
                    <a:pt x="992" y="396"/>
                  </a:lnTo>
                  <a:lnTo>
                    <a:pt x="989" y="393"/>
                  </a:lnTo>
                  <a:lnTo>
                    <a:pt x="986" y="391"/>
                  </a:lnTo>
                  <a:lnTo>
                    <a:pt x="982" y="391"/>
                  </a:lnTo>
                  <a:lnTo>
                    <a:pt x="979" y="390"/>
                  </a:lnTo>
                  <a:lnTo>
                    <a:pt x="978" y="388"/>
                  </a:lnTo>
                  <a:lnTo>
                    <a:pt x="974" y="388"/>
                  </a:lnTo>
                  <a:lnTo>
                    <a:pt x="973" y="388"/>
                  </a:lnTo>
                  <a:lnTo>
                    <a:pt x="968" y="388"/>
                  </a:lnTo>
                  <a:lnTo>
                    <a:pt x="965" y="388"/>
                  </a:lnTo>
                  <a:lnTo>
                    <a:pt x="962" y="388"/>
                  </a:lnTo>
                  <a:lnTo>
                    <a:pt x="955" y="390"/>
                  </a:lnTo>
                  <a:lnTo>
                    <a:pt x="951" y="391"/>
                  </a:lnTo>
                  <a:lnTo>
                    <a:pt x="944" y="393"/>
                  </a:lnTo>
                  <a:lnTo>
                    <a:pt x="941" y="396"/>
                  </a:lnTo>
                  <a:lnTo>
                    <a:pt x="940" y="396"/>
                  </a:lnTo>
                  <a:lnTo>
                    <a:pt x="938" y="398"/>
                  </a:lnTo>
                  <a:lnTo>
                    <a:pt x="937" y="399"/>
                  </a:lnTo>
                  <a:lnTo>
                    <a:pt x="935" y="403"/>
                  </a:lnTo>
                  <a:lnTo>
                    <a:pt x="933" y="406"/>
                  </a:lnTo>
                  <a:lnTo>
                    <a:pt x="932" y="412"/>
                  </a:lnTo>
                  <a:lnTo>
                    <a:pt x="930" y="417"/>
                  </a:lnTo>
                  <a:lnTo>
                    <a:pt x="929" y="425"/>
                  </a:lnTo>
                  <a:lnTo>
                    <a:pt x="929" y="431"/>
                  </a:lnTo>
                  <a:lnTo>
                    <a:pt x="929" y="439"/>
                  </a:lnTo>
                  <a:lnTo>
                    <a:pt x="930" y="448"/>
                  </a:lnTo>
                  <a:lnTo>
                    <a:pt x="930" y="458"/>
                  </a:lnTo>
                  <a:lnTo>
                    <a:pt x="930" y="459"/>
                  </a:lnTo>
                  <a:lnTo>
                    <a:pt x="932" y="470"/>
                  </a:lnTo>
                  <a:lnTo>
                    <a:pt x="933" y="483"/>
                  </a:lnTo>
                  <a:lnTo>
                    <a:pt x="921" y="488"/>
                  </a:lnTo>
                  <a:lnTo>
                    <a:pt x="913" y="492"/>
                  </a:lnTo>
                  <a:lnTo>
                    <a:pt x="910" y="496"/>
                  </a:lnTo>
                  <a:lnTo>
                    <a:pt x="908" y="497"/>
                  </a:lnTo>
                  <a:lnTo>
                    <a:pt x="905" y="499"/>
                  </a:lnTo>
                  <a:lnTo>
                    <a:pt x="903" y="500"/>
                  </a:lnTo>
                  <a:lnTo>
                    <a:pt x="900" y="508"/>
                  </a:lnTo>
                  <a:lnTo>
                    <a:pt x="895" y="519"/>
                  </a:lnTo>
                  <a:lnTo>
                    <a:pt x="892" y="524"/>
                  </a:lnTo>
                  <a:lnTo>
                    <a:pt x="891" y="527"/>
                  </a:lnTo>
                  <a:lnTo>
                    <a:pt x="888" y="532"/>
                  </a:lnTo>
                  <a:lnTo>
                    <a:pt x="884" y="533"/>
                  </a:lnTo>
                  <a:lnTo>
                    <a:pt x="883" y="537"/>
                  </a:lnTo>
                  <a:lnTo>
                    <a:pt x="880" y="538"/>
                  </a:lnTo>
                  <a:lnTo>
                    <a:pt x="878" y="541"/>
                  </a:lnTo>
                  <a:lnTo>
                    <a:pt x="875" y="543"/>
                  </a:lnTo>
                  <a:lnTo>
                    <a:pt x="870" y="544"/>
                  </a:lnTo>
                  <a:lnTo>
                    <a:pt x="864" y="546"/>
                  </a:lnTo>
                  <a:lnTo>
                    <a:pt x="859" y="548"/>
                  </a:lnTo>
                  <a:lnTo>
                    <a:pt x="854" y="549"/>
                  </a:lnTo>
                  <a:lnTo>
                    <a:pt x="850" y="549"/>
                  </a:lnTo>
                  <a:lnTo>
                    <a:pt x="846" y="551"/>
                  </a:lnTo>
                  <a:lnTo>
                    <a:pt x="842" y="552"/>
                  </a:lnTo>
                  <a:lnTo>
                    <a:pt x="839" y="554"/>
                  </a:lnTo>
                  <a:lnTo>
                    <a:pt x="837" y="556"/>
                  </a:lnTo>
                  <a:lnTo>
                    <a:pt x="834" y="557"/>
                  </a:lnTo>
                  <a:lnTo>
                    <a:pt x="834" y="559"/>
                  </a:lnTo>
                  <a:lnTo>
                    <a:pt x="831" y="562"/>
                  </a:lnTo>
                  <a:lnTo>
                    <a:pt x="831" y="563"/>
                  </a:lnTo>
                  <a:lnTo>
                    <a:pt x="829" y="567"/>
                  </a:lnTo>
                  <a:lnTo>
                    <a:pt x="828" y="570"/>
                  </a:lnTo>
                  <a:lnTo>
                    <a:pt x="826" y="574"/>
                  </a:lnTo>
                  <a:lnTo>
                    <a:pt x="821" y="568"/>
                  </a:lnTo>
                  <a:lnTo>
                    <a:pt x="816" y="565"/>
                  </a:lnTo>
                  <a:lnTo>
                    <a:pt x="810" y="562"/>
                  </a:lnTo>
                  <a:lnTo>
                    <a:pt x="804" y="559"/>
                  </a:lnTo>
                  <a:lnTo>
                    <a:pt x="797" y="557"/>
                  </a:lnTo>
                  <a:lnTo>
                    <a:pt x="793" y="554"/>
                  </a:lnTo>
                  <a:lnTo>
                    <a:pt x="791" y="554"/>
                  </a:lnTo>
                  <a:lnTo>
                    <a:pt x="788" y="552"/>
                  </a:lnTo>
                  <a:lnTo>
                    <a:pt x="783" y="552"/>
                  </a:lnTo>
                  <a:lnTo>
                    <a:pt x="777" y="551"/>
                  </a:lnTo>
                  <a:lnTo>
                    <a:pt x="774" y="549"/>
                  </a:lnTo>
                  <a:lnTo>
                    <a:pt x="769" y="548"/>
                  </a:lnTo>
                  <a:lnTo>
                    <a:pt x="766" y="546"/>
                  </a:lnTo>
                  <a:lnTo>
                    <a:pt x="764" y="544"/>
                  </a:lnTo>
                  <a:lnTo>
                    <a:pt x="763" y="544"/>
                  </a:lnTo>
                  <a:lnTo>
                    <a:pt x="763" y="541"/>
                  </a:lnTo>
                  <a:lnTo>
                    <a:pt x="761" y="541"/>
                  </a:lnTo>
                  <a:lnTo>
                    <a:pt x="760" y="538"/>
                  </a:lnTo>
                  <a:lnTo>
                    <a:pt x="760" y="537"/>
                  </a:lnTo>
                  <a:lnTo>
                    <a:pt x="760" y="535"/>
                  </a:lnTo>
                  <a:lnTo>
                    <a:pt x="760" y="533"/>
                  </a:lnTo>
                  <a:lnTo>
                    <a:pt x="760" y="532"/>
                  </a:lnTo>
                  <a:lnTo>
                    <a:pt x="760" y="530"/>
                  </a:lnTo>
                  <a:lnTo>
                    <a:pt x="758" y="527"/>
                  </a:lnTo>
                  <a:lnTo>
                    <a:pt x="756" y="526"/>
                  </a:lnTo>
                  <a:lnTo>
                    <a:pt x="755" y="522"/>
                  </a:lnTo>
                  <a:lnTo>
                    <a:pt x="750" y="518"/>
                  </a:lnTo>
                  <a:lnTo>
                    <a:pt x="747" y="513"/>
                  </a:lnTo>
                  <a:lnTo>
                    <a:pt x="747" y="511"/>
                  </a:lnTo>
                  <a:lnTo>
                    <a:pt x="747" y="510"/>
                  </a:lnTo>
                  <a:lnTo>
                    <a:pt x="747" y="508"/>
                  </a:lnTo>
                  <a:lnTo>
                    <a:pt x="750" y="508"/>
                  </a:lnTo>
                  <a:lnTo>
                    <a:pt x="753" y="507"/>
                  </a:lnTo>
                  <a:lnTo>
                    <a:pt x="758" y="507"/>
                  </a:lnTo>
                  <a:lnTo>
                    <a:pt x="764" y="507"/>
                  </a:lnTo>
                  <a:lnTo>
                    <a:pt x="767" y="507"/>
                  </a:lnTo>
                  <a:lnTo>
                    <a:pt x="769" y="508"/>
                  </a:lnTo>
                  <a:lnTo>
                    <a:pt x="771" y="508"/>
                  </a:lnTo>
                  <a:lnTo>
                    <a:pt x="772" y="508"/>
                  </a:lnTo>
                  <a:lnTo>
                    <a:pt x="774" y="511"/>
                  </a:lnTo>
                  <a:lnTo>
                    <a:pt x="775" y="513"/>
                  </a:lnTo>
                  <a:lnTo>
                    <a:pt x="780" y="521"/>
                  </a:lnTo>
                  <a:lnTo>
                    <a:pt x="782" y="529"/>
                  </a:lnTo>
                  <a:lnTo>
                    <a:pt x="783" y="533"/>
                  </a:lnTo>
                  <a:lnTo>
                    <a:pt x="785" y="537"/>
                  </a:lnTo>
                  <a:lnTo>
                    <a:pt x="788" y="540"/>
                  </a:lnTo>
                  <a:lnTo>
                    <a:pt x="790" y="543"/>
                  </a:lnTo>
                  <a:lnTo>
                    <a:pt x="791" y="544"/>
                  </a:lnTo>
                  <a:lnTo>
                    <a:pt x="793" y="546"/>
                  </a:lnTo>
                  <a:lnTo>
                    <a:pt x="796" y="546"/>
                  </a:lnTo>
                  <a:lnTo>
                    <a:pt x="797" y="548"/>
                  </a:lnTo>
                  <a:lnTo>
                    <a:pt x="799" y="549"/>
                  </a:lnTo>
                  <a:lnTo>
                    <a:pt x="802" y="549"/>
                  </a:lnTo>
                  <a:lnTo>
                    <a:pt x="805" y="549"/>
                  </a:lnTo>
                  <a:lnTo>
                    <a:pt x="809" y="549"/>
                  </a:lnTo>
                  <a:lnTo>
                    <a:pt x="810" y="549"/>
                  </a:lnTo>
                  <a:lnTo>
                    <a:pt x="813" y="549"/>
                  </a:lnTo>
                  <a:lnTo>
                    <a:pt x="815" y="548"/>
                  </a:lnTo>
                  <a:lnTo>
                    <a:pt x="816" y="546"/>
                  </a:lnTo>
                  <a:lnTo>
                    <a:pt x="821" y="543"/>
                  </a:lnTo>
                  <a:lnTo>
                    <a:pt x="826" y="538"/>
                  </a:lnTo>
                  <a:lnTo>
                    <a:pt x="829" y="533"/>
                  </a:lnTo>
                  <a:lnTo>
                    <a:pt x="834" y="527"/>
                  </a:lnTo>
                  <a:lnTo>
                    <a:pt x="839" y="521"/>
                  </a:lnTo>
                  <a:lnTo>
                    <a:pt x="843" y="515"/>
                  </a:lnTo>
                  <a:lnTo>
                    <a:pt x="846" y="508"/>
                  </a:lnTo>
                  <a:lnTo>
                    <a:pt x="851" y="500"/>
                  </a:lnTo>
                  <a:lnTo>
                    <a:pt x="858" y="492"/>
                  </a:lnTo>
                  <a:lnTo>
                    <a:pt x="862" y="485"/>
                  </a:lnTo>
                  <a:lnTo>
                    <a:pt x="867" y="478"/>
                  </a:lnTo>
                  <a:lnTo>
                    <a:pt x="875" y="472"/>
                  </a:lnTo>
                  <a:lnTo>
                    <a:pt x="878" y="469"/>
                  </a:lnTo>
                  <a:lnTo>
                    <a:pt x="881" y="466"/>
                  </a:lnTo>
                  <a:lnTo>
                    <a:pt x="884" y="462"/>
                  </a:lnTo>
                  <a:lnTo>
                    <a:pt x="889" y="459"/>
                  </a:lnTo>
                  <a:lnTo>
                    <a:pt x="889" y="455"/>
                  </a:lnTo>
                  <a:lnTo>
                    <a:pt x="891" y="450"/>
                  </a:lnTo>
                  <a:lnTo>
                    <a:pt x="892" y="447"/>
                  </a:lnTo>
                  <a:lnTo>
                    <a:pt x="892" y="444"/>
                  </a:lnTo>
                  <a:lnTo>
                    <a:pt x="895" y="440"/>
                  </a:lnTo>
                  <a:lnTo>
                    <a:pt x="897" y="437"/>
                  </a:lnTo>
                  <a:lnTo>
                    <a:pt x="899" y="436"/>
                  </a:lnTo>
                  <a:lnTo>
                    <a:pt x="900" y="434"/>
                  </a:lnTo>
                  <a:lnTo>
                    <a:pt x="903" y="432"/>
                  </a:lnTo>
                  <a:lnTo>
                    <a:pt x="907" y="431"/>
                  </a:lnTo>
                  <a:lnTo>
                    <a:pt x="910" y="429"/>
                  </a:lnTo>
                  <a:lnTo>
                    <a:pt x="913" y="429"/>
                  </a:lnTo>
                  <a:lnTo>
                    <a:pt x="913" y="428"/>
                  </a:lnTo>
                  <a:lnTo>
                    <a:pt x="914" y="426"/>
                  </a:lnTo>
                  <a:lnTo>
                    <a:pt x="916" y="426"/>
                  </a:lnTo>
                  <a:lnTo>
                    <a:pt x="916" y="425"/>
                  </a:lnTo>
                  <a:lnTo>
                    <a:pt x="916" y="421"/>
                  </a:lnTo>
                  <a:lnTo>
                    <a:pt x="916" y="420"/>
                  </a:lnTo>
                  <a:lnTo>
                    <a:pt x="916" y="418"/>
                  </a:lnTo>
                  <a:lnTo>
                    <a:pt x="913" y="412"/>
                  </a:lnTo>
                  <a:lnTo>
                    <a:pt x="910" y="403"/>
                  </a:lnTo>
                  <a:lnTo>
                    <a:pt x="905" y="391"/>
                  </a:lnTo>
                  <a:lnTo>
                    <a:pt x="899" y="377"/>
                  </a:lnTo>
                  <a:lnTo>
                    <a:pt x="895" y="374"/>
                  </a:lnTo>
                  <a:lnTo>
                    <a:pt x="895" y="371"/>
                  </a:lnTo>
                  <a:lnTo>
                    <a:pt x="894" y="366"/>
                  </a:lnTo>
                  <a:lnTo>
                    <a:pt x="894" y="363"/>
                  </a:lnTo>
                  <a:lnTo>
                    <a:pt x="892" y="358"/>
                  </a:lnTo>
                  <a:lnTo>
                    <a:pt x="892" y="354"/>
                  </a:lnTo>
                  <a:lnTo>
                    <a:pt x="892" y="350"/>
                  </a:lnTo>
                  <a:lnTo>
                    <a:pt x="894" y="344"/>
                  </a:lnTo>
                  <a:lnTo>
                    <a:pt x="895" y="335"/>
                  </a:lnTo>
                  <a:lnTo>
                    <a:pt x="897" y="325"/>
                  </a:lnTo>
                  <a:lnTo>
                    <a:pt x="900" y="316"/>
                  </a:lnTo>
                  <a:lnTo>
                    <a:pt x="903" y="306"/>
                  </a:lnTo>
                  <a:lnTo>
                    <a:pt x="907" y="295"/>
                  </a:lnTo>
                  <a:lnTo>
                    <a:pt x="911" y="286"/>
                  </a:lnTo>
                  <a:lnTo>
                    <a:pt x="916" y="275"/>
                  </a:lnTo>
                  <a:lnTo>
                    <a:pt x="919" y="265"/>
                  </a:lnTo>
                  <a:lnTo>
                    <a:pt x="929" y="248"/>
                  </a:lnTo>
                  <a:lnTo>
                    <a:pt x="935" y="234"/>
                  </a:lnTo>
                  <a:lnTo>
                    <a:pt x="938" y="227"/>
                  </a:lnTo>
                  <a:lnTo>
                    <a:pt x="938" y="223"/>
                  </a:lnTo>
                  <a:lnTo>
                    <a:pt x="940" y="218"/>
                  </a:lnTo>
                  <a:lnTo>
                    <a:pt x="940" y="215"/>
                  </a:lnTo>
                  <a:lnTo>
                    <a:pt x="938" y="210"/>
                  </a:lnTo>
                  <a:lnTo>
                    <a:pt x="938" y="207"/>
                  </a:lnTo>
                  <a:lnTo>
                    <a:pt x="935" y="204"/>
                  </a:lnTo>
                  <a:lnTo>
                    <a:pt x="933" y="202"/>
                  </a:lnTo>
                  <a:lnTo>
                    <a:pt x="932" y="199"/>
                  </a:lnTo>
                  <a:lnTo>
                    <a:pt x="930" y="194"/>
                  </a:lnTo>
                  <a:lnTo>
                    <a:pt x="929" y="191"/>
                  </a:lnTo>
                  <a:lnTo>
                    <a:pt x="925" y="186"/>
                  </a:lnTo>
                  <a:lnTo>
                    <a:pt x="925" y="183"/>
                  </a:lnTo>
                  <a:lnTo>
                    <a:pt x="925" y="177"/>
                  </a:lnTo>
                  <a:lnTo>
                    <a:pt x="925" y="171"/>
                  </a:lnTo>
                  <a:lnTo>
                    <a:pt x="929" y="163"/>
                  </a:lnTo>
                  <a:lnTo>
                    <a:pt x="930" y="156"/>
                  </a:lnTo>
                  <a:lnTo>
                    <a:pt x="932" y="152"/>
                  </a:lnTo>
                  <a:lnTo>
                    <a:pt x="935" y="149"/>
                  </a:lnTo>
                  <a:lnTo>
                    <a:pt x="937" y="145"/>
                  </a:lnTo>
                  <a:lnTo>
                    <a:pt x="940" y="142"/>
                  </a:lnTo>
                  <a:lnTo>
                    <a:pt x="943" y="141"/>
                  </a:lnTo>
                  <a:lnTo>
                    <a:pt x="944" y="139"/>
                  </a:lnTo>
                  <a:lnTo>
                    <a:pt x="948" y="138"/>
                  </a:lnTo>
                  <a:lnTo>
                    <a:pt x="951" y="136"/>
                  </a:lnTo>
                  <a:lnTo>
                    <a:pt x="954" y="133"/>
                  </a:lnTo>
                  <a:lnTo>
                    <a:pt x="955" y="131"/>
                  </a:lnTo>
                  <a:lnTo>
                    <a:pt x="959" y="128"/>
                  </a:lnTo>
                  <a:lnTo>
                    <a:pt x="962" y="123"/>
                  </a:lnTo>
                  <a:lnTo>
                    <a:pt x="965" y="117"/>
                  </a:lnTo>
                  <a:lnTo>
                    <a:pt x="967" y="109"/>
                  </a:lnTo>
                  <a:lnTo>
                    <a:pt x="970" y="100"/>
                  </a:lnTo>
                  <a:lnTo>
                    <a:pt x="970" y="95"/>
                  </a:lnTo>
                  <a:lnTo>
                    <a:pt x="970" y="90"/>
                  </a:lnTo>
                  <a:lnTo>
                    <a:pt x="971" y="85"/>
                  </a:lnTo>
                  <a:lnTo>
                    <a:pt x="971" y="82"/>
                  </a:lnTo>
                  <a:lnTo>
                    <a:pt x="970" y="79"/>
                  </a:lnTo>
                  <a:lnTo>
                    <a:pt x="970" y="76"/>
                  </a:lnTo>
                  <a:lnTo>
                    <a:pt x="967" y="71"/>
                  </a:lnTo>
                  <a:lnTo>
                    <a:pt x="967" y="70"/>
                  </a:lnTo>
                  <a:lnTo>
                    <a:pt x="963" y="67"/>
                  </a:lnTo>
                  <a:lnTo>
                    <a:pt x="962" y="65"/>
                  </a:lnTo>
                  <a:lnTo>
                    <a:pt x="957" y="62"/>
                  </a:lnTo>
                  <a:lnTo>
                    <a:pt x="954" y="60"/>
                  </a:lnTo>
                  <a:lnTo>
                    <a:pt x="944" y="56"/>
                  </a:lnTo>
                  <a:lnTo>
                    <a:pt x="933" y="51"/>
                  </a:lnTo>
                  <a:lnTo>
                    <a:pt x="929" y="49"/>
                  </a:lnTo>
                  <a:lnTo>
                    <a:pt x="924" y="46"/>
                  </a:lnTo>
                  <a:lnTo>
                    <a:pt x="918" y="43"/>
                  </a:lnTo>
                  <a:lnTo>
                    <a:pt x="914" y="40"/>
                  </a:lnTo>
                  <a:lnTo>
                    <a:pt x="908" y="35"/>
                  </a:lnTo>
                  <a:lnTo>
                    <a:pt x="903" y="32"/>
                  </a:lnTo>
                  <a:lnTo>
                    <a:pt x="900" y="30"/>
                  </a:lnTo>
                  <a:lnTo>
                    <a:pt x="899" y="30"/>
                  </a:lnTo>
                  <a:lnTo>
                    <a:pt x="895" y="32"/>
                  </a:lnTo>
                  <a:lnTo>
                    <a:pt x="894" y="33"/>
                  </a:lnTo>
                  <a:lnTo>
                    <a:pt x="891" y="37"/>
                  </a:lnTo>
                  <a:lnTo>
                    <a:pt x="888" y="41"/>
                  </a:lnTo>
                  <a:lnTo>
                    <a:pt x="884" y="44"/>
                  </a:lnTo>
                  <a:lnTo>
                    <a:pt x="881" y="51"/>
                  </a:lnTo>
                  <a:lnTo>
                    <a:pt x="878" y="59"/>
                  </a:lnTo>
                  <a:lnTo>
                    <a:pt x="872" y="71"/>
                  </a:lnTo>
                  <a:lnTo>
                    <a:pt x="870" y="76"/>
                  </a:lnTo>
                  <a:lnTo>
                    <a:pt x="867" y="84"/>
                  </a:lnTo>
                  <a:lnTo>
                    <a:pt x="862" y="93"/>
                  </a:lnTo>
                  <a:lnTo>
                    <a:pt x="858" y="101"/>
                  </a:lnTo>
                  <a:lnTo>
                    <a:pt x="853" y="109"/>
                  </a:lnTo>
                  <a:lnTo>
                    <a:pt x="846" y="117"/>
                  </a:lnTo>
                  <a:lnTo>
                    <a:pt x="843" y="120"/>
                  </a:lnTo>
                  <a:lnTo>
                    <a:pt x="840" y="125"/>
                  </a:lnTo>
                  <a:lnTo>
                    <a:pt x="837" y="128"/>
                  </a:lnTo>
                  <a:lnTo>
                    <a:pt x="832" y="130"/>
                  </a:lnTo>
                  <a:lnTo>
                    <a:pt x="829" y="133"/>
                  </a:lnTo>
                  <a:lnTo>
                    <a:pt x="824" y="136"/>
                  </a:lnTo>
                  <a:lnTo>
                    <a:pt x="820" y="138"/>
                  </a:lnTo>
                  <a:lnTo>
                    <a:pt x="815" y="141"/>
                  </a:lnTo>
                  <a:lnTo>
                    <a:pt x="810" y="142"/>
                  </a:lnTo>
                  <a:lnTo>
                    <a:pt x="804" y="142"/>
                  </a:lnTo>
                  <a:lnTo>
                    <a:pt x="797" y="144"/>
                  </a:lnTo>
                  <a:lnTo>
                    <a:pt x="793" y="144"/>
                  </a:lnTo>
                  <a:lnTo>
                    <a:pt x="790" y="149"/>
                  </a:lnTo>
                  <a:lnTo>
                    <a:pt x="786" y="150"/>
                  </a:lnTo>
                  <a:lnTo>
                    <a:pt x="785" y="153"/>
                  </a:lnTo>
                  <a:lnTo>
                    <a:pt x="783" y="156"/>
                  </a:lnTo>
                  <a:lnTo>
                    <a:pt x="782" y="158"/>
                  </a:lnTo>
                  <a:lnTo>
                    <a:pt x="780" y="161"/>
                  </a:lnTo>
                  <a:lnTo>
                    <a:pt x="780" y="163"/>
                  </a:lnTo>
                  <a:lnTo>
                    <a:pt x="780" y="166"/>
                  </a:lnTo>
                  <a:lnTo>
                    <a:pt x="780" y="169"/>
                  </a:lnTo>
                  <a:lnTo>
                    <a:pt x="780" y="171"/>
                  </a:lnTo>
                  <a:lnTo>
                    <a:pt x="780" y="172"/>
                  </a:lnTo>
                  <a:lnTo>
                    <a:pt x="782" y="175"/>
                  </a:lnTo>
                  <a:lnTo>
                    <a:pt x="783" y="179"/>
                  </a:lnTo>
                  <a:lnTo>
                    <a:pt x="785" y="182"/>
                  </a:lnTo>
                  <a:lnTo>
                    <a:pt x="788" y="185"/>
                  </a:lnTo>
                  <a:lnTo>
                    <a:pt x="790" y="190"/>
                  </a:lnTo>
                  <a:lnTo>
                    <a:pt x="791" y="191"/>
                  </a:lnTo>
                  <a:lnTo>
                    <a:pt x="793" y="194"/>
                  </a:lnTo>
                  <a:lnTo>
                    <a:pt x="793" y="197"/>
                  </a:lnTo>
                  <a:lnTo>
                    <a:pt x="793" y="199"/>
                  </a:lnTo>
                  <a:lnTo>
                    <a:pt x="791" y="201"/>
                  </a:lnTo>
                  <a:lnTo>
                    <a:pt x="790" y="202"/>
                  </a:lnTo>
                  <a:lnTo>
                    <a:pt x="788" y="204"/>
                  </a:lnTo>
                  <a:lnTo>
                    <a:pt x="786" y="205"/>
                  </a:lnTo>
                  <a:lnTo>
                    <a:pt x="785" y="207"/>
                  </a:lnTo>
                  <a:lnTo>
                    <a:pt x="782" y="210"/>
                  </a:lnTo>
                  <a:lnTo>
                    <a:pt x="780" y="213"/>
                  </a:lnTo>
                  <a:lnTo>
                    <a:pt x="780" y="216"/>
                  </a:lnTo>
                  <a:lnTo>
                    <a:pt x="779" y="221"/>
                  </a:lnTo>
                  <a:lnTo>
                    <a:pt x="777" y="224"/>
                  </a:lnTo>
                  <a:lnTo>
                    <a:pt x="775" y="231"/>
                  </a:lnTo>
                  <a:lnTo>
                    <a:pt x="771" y="235"/>
                  </a:lnTo>
                  <a:lnTo>
                    <a:pt x="763" y="245"/>
                  </a:lnTo>
                  <a:lnTo>
                    <a:pt x="755" y="254"/>
                  </a:lnTo>
                  <a:lnTo>
                    <a:pt x="752" y="257"/>
                  </a:lnTo>
                  <a:lnTo>
                    <a:pt x="750" y="262"/>
                  </a:lnTo>
                  <a:lnTo>
                    <a:pt x="750" y="264"/>
                  </a:lnTo>
                  <a:lnTo>
                    <a:pt x="750" y="265"/>
                  </a:lnTo>
                  <a:lnTo>
                    <a:pt x="749" y="267"/>
                  </a:lnTo>
                  <a:lnTo>
                    <a:pt x="749" y="268"/>
                  </a:lnTo>
                  <a:lnTo>
                    <a:pt x="750" y="270"/>
                  </a:lnTo>
                  <a:lnTo>
                    <a:pt x="750" y="273"/>
                  </a:lnTo>
                  <a:lnTo>
                    <a:pt x="750" y="275"/>
                  </a:lnTo>
                  <a:lnTo>
                    <a:pt x="752" y="276"/>
                  </a:lnTo>
                  <a:lnTo>
                    <a:pt x="755" y="278"/>
                  </a:lnTo>
                  <a:lnTo>
                    <a:pt x="756" y="281"/>
                  </a:lnTo>
                  <a:lnTo>
                    <a:pt x="760" y="283"/>
                  </a:lnTo>
                  <a:lnTo>
                    <a:pt x="763" y="284"/>
                  </a:lnTo>
                  <a:lnTo>
                    <a:pt x="767" y="287"/>
                  </a:lnTo>
                  <a:lnTo>
                    <a:pt x="771" y="289"/>
                  </a:lnTo>
                  <a:lnTo>
                    <a:pt x="772" y="294"/>
                  </a:lnTo>
                  <a:lnTo>
                    <a:pt x="775" y="297"/>
                  </a:lnTo>
                  <a:lnTo>
                    <a:pt x="777" y="298"/>
                  </a:lnTo>
                  <a:lnTo>
                    <a:pt x="777" y="303"/>
                  </a:lnTo>
                  <a:lnTo>
                    <a:pt x="779" y="306"/>
                  </a:lnTo>
                  <a:lnTo>
                    <a:pt x="779" y="309"/>
                  </a:lnTo>
                  <a:lnTo>
                    <a:pt x="780" y="317"/>
                  </a:lnTo>
                  <a:lnTo>
                    <a:pt x="780" y="324"/>
                  </a:lnTo>
                  <a:lnTo>
                    <a:pt x="783" y="327"/>
                  </a:lnTo>
                  <a:lnTo>
                    <a:pt x="783" y="330"/>
                  </a:lnTo>
                  <a:lnTo>
                    <a:pt x="785" y="335"/>
                  </a:lnTo>
                  <a:lnTo>
                    <a:pt x="788" y="338"/>
                  </a:lnTo>
                  <a:lnTo>
                    <a:pt x="788" y="343"/>
                  </a:lnTo>
                  <a:lnTo>
                    <a:pt x="788" y="349"/>
                  </a:lnTo>
                  <a:lnTo>
                    <a:pt x="788" y="355"/>
                  </a:lnTo>
                  <a:lnTo>
                    <a:pt x="788" y="358"/>
                  </a:lnTo>
                  <a:lnTo>
                    <a:pt x="786" y="363"/>
                  </a:lnTo>
                  <a:lnTo>
                    <a:pt x="785" y="366"/>
                  </a:lnTo>
                  <a:lnTo>
                    <a:pt x="785" y="369"/>
                  </a:lnTo>
                  <a:lnTo>
                    <a:pt x="782" y="371"/>
                  </a:lnTo>
                  <a:lnTo>
                    <a:pt x="780" y="373"/>
                  </a:lnTo>
                  <a:lnTo>
                    <a:pt x="777" y="374"/>
                  </a:lnTo>
                  <a:lnTo>
                    <a:pt x="775" y="376"/>
                  </a:lnTo>
                  <a:lnTo>
                    <a:pt x="774" y="376"/>
                  </a:lnTo>
                  <a:lnTo>
                    <a:pt x="772" y="376"/>
                  </a:lnTo>
                  <a:lnTo>
                    <a:pt x="769" y="376"/>
                  </a:lnTo>
                  <a:lnTo>
                    <a:pt x="767" y="376"/>
                  </a:lnTo>
                  <a:lnTo>
                    <a:pt x="764" y="376"/>
                  </a:lnTo>
                  <a:lnTo>
                    <a:pt x="763" y="374"/>
                  </a:lnTo>
                  <a:lnTo>
                    <a:pt x="760" y="373"/>
                  </a:lnTo>
                  <a:lnTo>
                    <a:pt x="758" y="371"/>
                  </a:lnTo>
                  <a:lnTo>
                    <a:pt x="756" y="369"/>
                  </a:lnTo>
                  <a:lnTo>
                    <a:pt x="755" y="368"/>
                  </a:lnTo>
                  <a:lnTo>
                    <a:pt x="750" y="362"/>
                  </a:lnTo>
                  <a:lnTo>
                    <a:pt x="745" y="355"/>
                  </a:lnTo>
                  <a:lnTo>
                    <a:pt x="741" y="349"/>
                  </a:lnTo>
                  <a:lnTo>
                    <a:pt x="736" y="341"/>
                  </a:lnTo>
                  <a:lnTo>
                    <a:pt x="728" y="324"/>
                  </a:lnTo>
                  <a:lnTo>
                    <a:pt x="718" y="306"/>
                  </a:lnTo>
                  <a:lnTo>
                    <a:pt x="715" y="297"/>
                  </a:lnTo>
                  <a:lnTo>
                    <a:pt x="711" y="289"/>
                  </a:lnTo>
                  <a:lnTo>
                    <a:pt x="706" y="279"/>
                  </a:lnTo>
                  <a:lnTo>
                    <a:pt x="701" y="270"/>
                  </a:lnTo>
                  <a:lnTo>
                    <a:pt x="698" y="275"/>
                  </a:lnTo>
                  <a:lnTo>
                    <a:pt x="695" y="278"/>
                  </a:lnTo>
                  <a:lnTo>
                    <a:pt x="692" y="283"/>
                  </a:lnTo>
                  <a:lnTo>
                    <a:pt x="688" y="286"/>
                  </a:lnTo>
                  <a:lnTo>
                    <a:pt x="685" y="289"/>
                  </a:lnTo>
                  <a:lnTo>
                    <a:pt x="682" y="292"/>
                  </a:lnTo>
                  <a:lnTo>
                    <a:pt x="682" y="294"/>
                  </a:lnTo>
                  <a:lnTo>
                    <a:pt x="681" y="297"/>
                  </a:lnTo>
                  <a:lnTo>
                    <a:pt x="681" y="298"/>
                  </a:lnTo>
                  <a:lnTo>
                    <a:pt x="681" y="302"/>
                  </a:lnTo>
                  <a:lnTo>
                    <a:pt x="681" y="305"/>
                  </a:lnTo>
                  <a:lnTo>
                    <a:pt x="681" y="306"/>
                  </a:lnTo>
                  <a:lnTo>
                    <a:pt x="682" y="308"/>
                  </a:lnTo>
                  <a:lnTo>
                    <a:pt x="682" y="311"/>
                  </a:lnTo>
                  <a:lnTo>
                    <a:pt x="685" y="314"/>
                  </a:lnTo>
                  <a:lnTo>
                    <a:pt x="688" y="319"/>
                  </a:lnTo>
                  <a:lnTo>
                    <a:pt x="690" y="322"/>
                  </a:lnTo>
                  <a:lnTo>
                    <a:pt x="693" y="327"/>
                  </a:lnTo>
                  <a:lnTo>
                    <a:pt x="695" y="330"/>
                  </a:lnTo>
                  <a:lnTo>
                    <a:pt x="695" y="332"/>
                  </a:lnTo>
                  <a:lnTo>
                    <a:pt x="695" y="335"/>
                  </a:lnTo>
                  <a:lnTo>
                    <a:pt x="695" y="338"/>
                  </a:lnTo>
                  <a:lnTo>
                    <a:pt x="695" y="343"/>
                  </a:lnTo>
                  <a:lnTo>
                    <a:pt x="695" y="346"/>
                  </a:lnTo>
                  <a:lnTo>
                    <a:pt x="693" y="349"/>
                  </a:lnTo>
                  <a:lnTo>
                    <a:pt x="693" y="352"/>
                  </a:lnTo>
                  <a:lnTo>
                    <a:pt x="688" y="357"/>
                  </a:lnTo>
                  <a:lnTo>
                    <a:pt x="685" y="360"/>
                  </a:lnTo>
                  <a:lnTo>
                    <a:pt x="681" y="365"/>
                  </a:lnTo>
                  <a:lnTo>
                    <a:pt x="677" y="368"/>
                  </a:lnTo>
                  <a:lnTo>
                    <a:pt x="677" y="371"/>
                  </a:lnTo>
                  <a:lnTo>
                    <a:pt x="676" y="373"/>
                  </a:lnTo>
                  <a:lnTo>
                    <a:pt x="676" y="376"/>
                  </a:lnTo>
                  <a:lnTo>
                    <a:pt x="676" y="380"/>
                  </a:lnTo>
                  <a:lnTo>
                    <a:pt x="676" y="382"/>
                  </a:lnTo>
                  <a:lnTo>
                    <a:pt x="676" y="384"/>
                  </a:lnTo>
                  <a:lnTo>
                    <a:pt x="677" y="385"/>
                  </a:lnTo>
                  <a:lnTo>
                    <a:pt x="679" y="388"/>
                  </a:lnTo>
                  <a:lnTo>
                    <a:pt x="681" y="391"/>
                  </a:lnTo>
                  <a:lnTo>
                    <a:pt x="684" y="393"/>
                  </a:lnTo>
                  <a:lnTo>
                    <a:pt x="685" y="396"/>
                  </a:lnTo>
                  <a:lnTo>
                    <a:pt x="687" y="398"/>
                  </a:lnTo>
                  <a:lnTo>
                    <a:pt x="688" y="399"/>
                  </a:lnTo>
                  <a:lnTo>
                    <a:pt x="688" y="403"/>
                  </a:lnTo>
                  <a:lnTo>
                    <a:pt x="688" y="404"/>
                  </a:lnTo>
                  <a:lnTo>
                    <a:pt x="688" y="407"/>
                  </a:lnTo>
                  <a:lnTo>
                    <a:pt x="688" y="410"/>
                  </a:lnTo>
                  <a:lnTo>
                    <a:pt x="687" y="414"/>
                  </a:lnTo>
                  <a:lnTo>
                    <a:pt x="685" y="417"/>
                  </a:lnTo>
                  <a:lnTo>
                    <a:pt x="684" y="418"/>
                  </a:lnTo>
                  <a:lnTo>
                    <a:pt x="682" y="421"/>
                  </a:lnTo>
                  <a:lnTo>
                    <a:pt x="681" y="425"/>
                  </a:lnTo>
                  <a:lnTo>
                    <a:pt x="679" y="426"/>
                  </a:lnTo>
                  <a:lnTo>
                    <a:pt x="676" y="431"/>
                  </a:lnTo>
                  <a:lnTo>
                    <a:pt x="670" y="436"/>
                  </a:lnTo>
                  <a:lnTo>
                    <a:pt x="663" y="439"/>
                  </a:lnTo>
                  <a:lnTo>
                    <a:pt x="658" y="444"/>
                  </a:lnTo>
                  <a:lnTo>
                    <a:pt x="652" y="447"/>
                  </a:lnTo>
                  <a:lnTo>
                    <a:pt x="644" y="450"/>
                  </a:lnTo>
                  <a:lnTo>
                    <a:pt x="639" y="453"/>
                  </a:lnTo>
                  <a:lnTo>
                    <a:pt x="633" y="456"/>
                  </a:lnTo>
                  <a:lnTo>
                    <a:pt x="621" y="459"/>
                  </a:lnTo>
                  <a:lnTo>
                    <a:pt x="611" y="464"/>
                  </a:lnTo>
                  <a:lnTo>
                    <a:pt x="603" y="466"/>
                  </a:lnTo>
                  <a:lnTo>
                    <a:pt x="598" y="469"/>
                  </a:lnTo>
                  <a:lnTo>
                    <a:pt x="591" y="472"/>
                  </a:lnTo>
                  <a:lnTo>
                    <a:pt x="586" y="475"/>
                  </a:lnTo>
                  <a:lnTo>
                    <a:pt x="573" y="480"/>
                  </a:lnTo>
                  <a:lnTo>
                    <a:pt x="562" y="488"/>
                  </a:lnTo>
                  <a:lnTo>
                    <a:pt x="553" y="492"/>
                  </a:lnTo>
                  <a:lnTo>
                    <a:pt x="542" y="499"/>
                  </a:lnTo>
                  <a:lnTo>
                    <a:pt x="537" y="502"/>
                  </a:lnTo>
                  <a:lnTo>
                    <a:pt x="532" y="505"/>
                  </a:lnTo>
                  <a:lnTo>
                    <a:pt x="526" y="508"/>
                  </a:lnTo>
                  <a:lnTo>
                    <a:pt x="519" y="511"/>
                  </a:lnTo>
                  <a:lnTo>
                    <a:pt x="513" y="511"/>
                  </a:lnTo>
                  <a:lnTo>
                    <a:pt x="510" y="513"/>
                  </a:lnTo>
                  <a:lnTo>
                    <a:pt x="505" y="516"/>
                  </a:lnTo>
                  <a:lnTo>
                    <a:pt x="500" y="519"/>
                  </a:lnTo>
                  <a:lnTo>
                    <a:pt x="494" y="524"/>
                  </a:lnTo>
                  <a:lnTo>
                    <a:pt x="486" y="532"/>
                  </a:lnTo>
                  <a:lnTo>
                    <a:pt x="483" y="533"/>
                  </a:lnTo>
                  <a:lnTo>
                    <a:pt x="480" y="537"/>
                  </a:lnTo>
                  <a:lnTo>
                    <a:pt x="475" y="538"/>
                  </a:lnTo>
                  <a:lnTo>
                    <a:pt x="472" y="541"/>
                  </a:lnTo>
                  <a:lnTo>
                    <a:pt x="467" y="543"/>
                  </a:lnTo>
                  <a:lnTo>
                    <a:pt x="464" y="544"/>
                  </a:lnTo>
                  <a:lnTo>
                    <a:pt x="459" y="544"/>
                  </a:lnTo>
                  <a:lnTo>
                    <a:pt x="453" y="546"/>
                  </a:lnTo>
                  <a:lnTo>
                    <a:pt x="453" y="544"/>
                  </a:lnTo>
                  <a:lnTo>
                    <a:pt x="453" y="543"/>
                  </a:lnTo>
                  <a:lnTo>
                    <a:pt x="451" y="541"/>
                  </a:lnTo>
                  <a:lnTo>
                    <a:pt x="450" y="538"/>
                  </a:lnTo>
                  <a:lnTo>
                    <a:pt x="450" y="537"/>
                  </a:lnTo>
                  <a:lnTo>
                    <a:pt x="447" y="537"/>
                  </a:lnTo>
                  <a:lnTo>
                    <a:pt x="445" y="537"/>
                  </a:lnTo>
                  <a:lnTo>
                    <a:pt x="442" y="537"/>
                  </a:lnTo>
                  <a:lnTo>
                    <a:pt x="440" y="537"/>
                  </a:lnTo>
                  <a:lnTo>
                    <a:pt x="436" y="537"/>
                  </a:lnTo>
                  <a:lnTo>
                    <a:pt x="433" y="538"/>
                  </a:lnTo>
                  <a:lnTo>
                    <a:pt x="426" y="538"/>
                  </a:lnTo>
                  <a:lnTo>
                    <a:pt x="423" y="541"/>
                  </a:lnTo>
                  <a:lnTo>
                    <a:pt x="420" y="544"/>
                  </a:lnTo>
                  <a:lnTo>
                    <a:pt x="417" y="548"/>
                  </a:lnTo>
                  <a:lnTo>
                    <a:pt x="414" y="552"/>
                  </a:lnTo>
                  <a:lnTo>
                    <a:pt x="412" y="557"/>
                  </a:lnTo>
                  <a:lnTo>
                    <a:pt x="409" y="562"/>
                  </a:lnTo>
                  <a:lnTo>
                    <a:pt x="407" y="565"/>
                  </a:lnTo>
                  <a:lnTo>
                    <a:pt x="406" y="570"/>
                  </a:lnTo>
                  <a:lnTo>
                    <a:pt x="404" y="576"/>
                  </a:lnTo>
                  <a:lnTo>
                    <a:pt x="401" y="585"/>
                  </a:lnTo>
                  <a:lnTo>
                    <a:pt x="399" y="597"/>
                  </a:lnTo>
                  <a:lnTo>
                    <a:pt x="399" y="598"/>
                  </a:lnTo>
                  <a:lnTo>
                    <a:pt x="398" y="600"/>
                  </a:lnTo>
                  <a:lnTo>
                    <a:pt x="398" y="601"/>
                  </a:lnTo>
                  <a:lnTo>
                    <a:pt x="396" y="603"/>
                  </a:lnTo>
                  <a:lnTo>
                    <a:pt x="391" y="608"/>
                  </a:lnTo>
                  <a:lnTo>
                    <a:pt x="388" y="612"/>
                  </a:lnTo>
                  <a:lnTo>
                    <a:pt x="379" y="622"/>
                  </a:lnTo>
                  <a:lnTo>
                    <a:pt x="371" y="630"/>
                  </a:lnTo>
                  <a:lnTo>
                    <a:pt x="368" y="633"/>
                  </a:lnTo>
                  <a:lnTo>
                    <a:pt x="365" y="639"/>
                  </a:lnTo>
                  <a:lnTo>
                    <a:pt x="363" y="642"/>
                  </a:lnTo>
                  <a:lnTo>
                    <a:pt x="360" y="647"/>
                  </a:lnTo>
                  <a:lnTo>
                    <a:pt x="358" y="656"/>
                  </a:lnTo>
                  <a:lnTo>
                    <a:pt x="355" y="666"/>
                  </a:lnTo>
                  <a:lnTo>
                    <a:pt x="352" y="677"/>
                  </a:lnTo>
                  <a:lnTo>
                    <a:pt x="350" y="686"/>
                  </a:lnTo>
                  <a:lnTo>
                    <a:pt x="347" y="697"/>
                  </a:lnTo>
                  <a:lnTo>
                    <a:pt x="342" y="707"/>
                  </a:lnTo>
                  <a:lnTo>
                    <a:pt x="342" y="712"/>
                  </a:lnTo>
                  <a:lnTo>
                    <a:pt x="339" y="715"/>
                  </a:lnTo>
                  <a:lnTo>
                    <a:pt x="336" y="718"/>
                  </a:lnTo>
                  <a:lnTo>
                    <a:pt x="333" y="723"/>
                  </a:lnTo>
                  <a:lnTo>
                    <a:pt x="331" y="726"/>
                  </a:lnTo>
                  <a:lnTo>
                    <a:pt x="328" y="731"/>
                  </a:lnTo>
                  <a:lnTo>
                    <a:pt x="327" y="732"/>
                  </a:lnTo>
                  <a:lnTo>
                    <a:pt x="327" y="734"/>
                  </a:lnTo>
                  <a:lnTo>
                    <a:pt x="327" y="735"/>
                  </a:lnTo>
                  <a:lnTo>
                    <a:pt x="327" y="738"/>
                  </a:lnTo>
                  <a:lnTo>
                    <a:pt x="325" y="740"/>
                  </a:lnTo>
                  <a:lnTo>
                    <a:pt x="320" y="753"/>
                  </a:lnTo>
                  <a:lnTo>
                    <a:pt x="316" y="764"/>
                  </a:lnTo>
                  <a:lnTo>
                    <a:pt x="309" y="776"/>
                  </a:lnTo>
                  <a:lnTo>
                    <a:pt x="305" y="787"/>
                  </a:lnTo>
                  <a:lnTo>
                    <a:pt x="298" y="800"/>
                  </a:lnTo>
                  <a:lnTo>
                    <a:pt x="293" y="811"/>
                  </a:lnTo>
                  <a:lnTo>
                    <a:pt x="286" y="822"/>
                  </a:lnTo>
                  <a:lnTo>
                    <a:pt x="281" y="833"/>
                  </a:lnTo>
                  <a:lnTo>
                    <a:pt x="275" y="846"/>
                  </a:lnTo>
                  <a:lnTo>
                    <a:pt x="268" y="858"/>
                  </a:lnTo>
                  <a:lnTo>
                    <a:pt x="263" y="863"/>
                  </a:lnTo>
                  <a:lnTo>
                    <a:pt x="260" y="868"/>
                  </a:lnTo>
                  <a:lnTo>
                    <a:pt x="256" y="874"/>
                  </a:lnTo>
                  <a:lnTo>
                    <a:pt x="249" y="877"/>
                  </a:lnTo>
                  <a:lnTo>
                    <a:pt x="248" y="879"/>
                  </a:lnTo>
                  <a:lnTo>
                    <a:pt x="245" y="880"/>
                  </a:lnTo>
                  <a:lnTo>
                    <a:pt x="243" y="880"/>
                  </a:lnTo>
                  <a:lnTo>
                    <a:pt x="240" y="882"/>
                  </a:lnTo>
                  <a:lnTo>
                    <a:pt x="233" y="884"/>
                  </a:lnTo>
                  <a:lnTo>
                    <a:pt x="227" y="885"/>
                  </a:lnTo>
                  <a:lnTo>
                    <a:pt x="224" y="887"/>
                  </a:lnTo>
                  <a:lnTo>
                    <a:pt x="221" y="888"/>
                  </a:lnTo>
                  <a:lnTo>
                    <a:pt x="218" y="888"/>
                  </a:lnTo>
                  <a:lnTo>
                    <a:pt x="216" y="891"/>
                  </a:lnTo>
                  <a:lnTo>
                    <a:pt x="214" y="893"/>
                  </a:lnTo>
                  <a:lnTo>
                    <a:pt x="211" y="896"/>
                  </a:lnTo>
                  <a:lnTo>
                    <a:pt x="211" y="899"/>
                  </a:lnTo>
                  <a:lnTo>
                    <a:pt x="211" y="901"/>
                  </a:lnTo>
                  <a:lnTo>
                    <a:pt x="211" y="906"/>
                  </a:lnTo>
                  <a:lnTo>
                    <a:pt x="211" y="909"/>
                  </a:lnTo>
                  <a:lnTo>
                    <a:pt x="211" y="910"/>
                  </a:lnTo>
                  <a:lnTo>
                    <a:pt x="213" y="914"/>
                  </a:lnTo>
                  <a:lnTo>
                    <a:pt x="214" y="917"/>
                  </a:lnTo>
                  <a:lnTo>
                    <a:pt x="216" y="921"/>
                  </a:lnTo>
                  <a:lnTo>
                    <a:pt x="219" y="925"/>
                  </a:lnTo>
                  <a:lnTo>
                    <a:pt x="221" y="928"/>
                  </a:lnTo>
                  <a:lnTo>
                    <a:pt x="222" y="929"/>
                  </a:lnTo>
                  <a:lnTo>
                    <a:pt x="222" y="931"/>
                  </a:lnTo>
                  <a:lnTo>
                    <a:pt x="222" y="934"/>
                  </a:lnTo>
                  <a:lnTo>
                    <a:pt x="222" y="936"/>
                  </a:lnTo>
                  <a:lnTo>
                    <a:pt x="222" y="937"/>
                  </a:lnTo>
                  <a:lnTo>
                    <a:pt x="222" y="939"/>
                  </a:lnTo>
                  <a:lnTo>
                    <a:pt x="222" y="940"/>
                  </a:lnTo>
                  <a:lnTo>
                    <a:pt x="221" y="942"/>
                  </a:lnTo>
                  <a:lnTo>
                    <a:pt x="219" y="945"/>
                  </a:lnTo>
                  <a:lnTo>
                    <a:pt x="216" y="947"/>
                  </a:lnTo>
                  <a:lnTo>
                    <a:pt x="214" y="950"/>
                  </a:lnTo>
                  <a:lnTo>
                    <a:pt x="213" y="953"/>
                  </a:lnTo>
                  <a:lnTo>
                    <a:pt x="211" y="953"/>
                  </a:lnTo>
                  <a:lnTo>
                    <a:pt x="211" y="955"/>
                  </a:lnTo>
                  <a:lnTo>
                    <a:pt x="211" y="956"/>
                  </a:lnTo>
                  <a:lnTo>
                    <a:pt x="211" y="958"/>
                  </a:lnTo>
                  <a:lnTo>
                    <a:pt x="211" y="961"/>
                  </a:lnTo>
                  <a:lnTo>
                    <a:pt x="211" y="962"/>
                  </a:lnTo>
                  <a:lnTo>
                    <a:pt x="213" y="964"/>
                  </a:lnTo>
                  <a:lnTo>
                    <a:pt x="214" y="966"/>
                  </a:lnTo>
                  <a:lnTo>
                    <a:pt x="216" y="969"/>
                  </a:lnTo>
                  <a:lnTo>
                    <a:pt x="216" y="970"/>
                  </a:lnTo>
                  <a:lnTo>
                    <a:pt x="218" y="974"/>
                  </a:lnTo>
                  <a:lnTo>
                    <a:pt x="219" y="975"/>
                  </a:lnTo>
                  <a:lnTo>
                    <a:pt x="219" y="978"/>
                  </a:lnTo>
                  <a:lnTo>
                    <a:pt x="218" y="981"/>
                  </a:lnTo>
                  <a:lnTo>
                    <a:pt x="216" y="983"/>
                  </a:lnTo>
                  <a:lnTo>
                    <a:pt x="214" y="986"/>
                  </a:lnTo>
                  <a:lnTo>
                    <a:pt x="213" y="988"/>
                  </a:lnTo>
                  <a:lnTo>
                    <a:pt x="211" y="991"/>
                  </a:lnTo>
                  <a:lnTo>
                    <a:pt x="210" y="992"/>
                  </a:lnTo>
                  <a:lnTo>
                    <a:pt x="207" y="994"/>
                  </a:lnTo>
                  <a:lnTo>
                    <a:pt x="203" y="996"/>
                  </a:lnTo>
                  <a:lnTo>
                    <a:pt x="200" y="997"/>
                  </a:lnTo>
                  <a:lnTo>
                    <a:pt x="199" y="999"/>
                  </a:lnTo>
                  <a:lnTo>
                    <a:pt x="194" y="999"/>
                  </a:lnTo>
                  <a:lnTo>
                    <a:pt x="189" y="1000"/>
                  </a:lnTo>
                  <a:lnTo>
                    <a:pt x="183" y="1002"/>
                  </a:lnTo>
                  <a:lnTo>
                    <a:pt x="178" y="1002"/>
                  </a:lnTo>
                  <a:lnTo>
                    <a:pt x="175" y="1002"/>
                  </a:lnTo>
                  <a:lnTo>
                    <a:pt x="173" y="1003"/>
                  </a:lnTo>
                  <a:lnTo>
                    <a:pt x="172" y="1007"/>
                  </a:lnTo>
                  <a:lnTo>
                    <a:pt x="170" y="1008"/>
                  </a:lnTo>
                  <a:lnTo>
                    <a:pt x="170" y="1010"/>
                  </a:lnTo>
                  <a:lnTo>
                    <a:pt x="169" y="1015"/>
                  </a:lnTo>
                  <a:lnTo>
                    <a:pt x="169" y="1016"/>
                  </a:lnTo>
                  <a:lnTo>
                    <a:pt x="169" y="1022"/>
                  </a:lnTo>
                  <a:lnTo>
                    <a:pt x="166" y="1027"/>
                  </a:lnTo>
                  <a:lnTo>
                    <a:pt x="166" y="1029"/>
                  </a:lnTo>
                  <a:lnTo>
                    <a:pt x="164" y="1029"/>
                  </a:lnTo>
                  <a:lnTo>
                    <a:pt x="161" y="1030"/>
                  </a:lnTo>
                  <a:lnTo>
                    <a:pt x="158" y="1032"/>
                  </a:lnTo>
                  <a:lnTo>
                    <a:pt x="156" y="1030"/>
                  </a:lnTo>
                  <a:lnTo>
                    <a:pt x="151" y="1029"/>
                  </a:lnTo>
                  <a:lnTo>
                    <a:pt x="148" y="1027"/>
                  </a:lnTo>
                  <a:lnTo>
                    <a:pt x="142" y="1027"/>
                  </a:lnTo>
                  <a:lnTo>
                    <a:pt x="139" y="1027"/>
                  </a:lnTo>
                  <a:lnTo>
                    <a:pt x="135" y="1029"/>
                  </a:lnTo>
                  <a:lnTo>
                    <a:pt x="134" y="1029"/>
                  </a:lnTo>
                  <a:lnTo>
                    <a:pt x="131" y="1030"/>
                  </a:lnTo>
                  <a:lnTo>
                    <a:pt x="129" y="1032"/>
                  </a:lnTo>
                  <a:lnTo>
                    <a:pt x="128" y="1035"/>
                  </a:lnTo>
                  <a:lnTo>
                    <a:pt x="126" y="1037"/>
                  </a:lnTo>
                  <a:lnTo>
                    <a:pt x="124" y="1038"/>
                  </a:lnTo>
                  <a:lnTo>
                    <a:pt x="120" y="1049"/>
                  </a:lnTo>
                  <a:lnTo>
                    <a:pt x="113" y="1057"/>
                  </a:lnTo>
                  <a:lnTo>
                    <a:pt x="112" y="1059"/>
                  </a:lnTo>
                  <a:lnTo>
                    <a:pt x="109" y="1060"/>
                  </a:lnTo>
                  <a:lnTo>
                    <a:pt x="107" y="1060"/>
                  </a:lnTo>
                  <a:lnTo>
                    <a:pt x="104" y="1060"/>
                  </a:lnTo>
                  <a:lnTo>
                    <a:pt x="101" y="1060"/>
                  </a:lnTo>
                  <a:lnTo>
                    <a:pt x="99" y="1059"/>
                  </a:lnTo>
                  <a:lnTo>
                    <a:pt x="96" y="1059"/>
                  </a:lnTo>
                  <a:lnTo>
                    <a:pt x="94" y="1059"/>
                  </a:lnTo>
                  <a:lnTo>
                    <a:pt x="91" y="1060"/>
                  </a:lnTo>
                  <a:lnTo>
                    <a:pt x="88" y="1062"/>
                  </a:lnTo>
                  <a:lnTo>
                    <a:pt x="87" y="1063"/>
                  </a:lnTo>
                  <a:lnTo>
                    <a:pt x="83" y="1065"/>
                  </a:lnTo>
                  <a:lnTo>
                    <a:pt x="82" y="1068"/>
                  </a:lnTo>
                  <a:lnTo>
                    <a:pt x="79" y="1070"/>
                  </a:lnTo>
                  <a:lnTo>
                    <a:pt x="77" y="1074"/>
                  </a:lnTo>
                  <a:lnTo>
                    <a:pt x="75" y="1078"/>
                  </a:lnTo>
                  <a:lnTo>
                    <a:pt x="71" y="1084"/>
                  </a:lnTo>
                  <a:lnTo>
                    <a:pt x="69" y="1090"/>
                  </a:lnTo>
                  <a:lnTo>
                    <a:pt x="68" y="1095"/>
                  </a:lnTo>
                  <a:lnTo>
                    <a:pt x="68" y="1098"/>
                  </a:lnTo>
                  <a:lnTo>
                    <a:pt x="68" y="1101"/>
                  </a:lnTo>
                  <a:lnTo>
                    <a:pt x="66" y="1104"/>
                  </a:lnTo>
                  <a:lnTo>
                    <a:pt x="68" y="1106"/>
                  </a:lnTo>
                  <a:lnTo>
                    <a:pt x="68" y="1109"/>
                  </a:lnTo>
                  <a:lnTo>
                    <a:pt x="71" y="1114"/>
                  </a:lnTo>
                  <a:lnTo>
                    <a:pt x="74" y="1115"/>
                  </a:lnTo>
                  <a:lnTo>
                    <a:pt x="75" y="1119"/>
                  </a:lnTo>
                  <a:lnTo>
                    <a:pt x="80" y="1123"/>
                  </a:lnTo>
                  <a:lnTo>
                    <a:pt x="83" y="1127"/>
                  </a:lnTo>
                  <a:lnTo>
                    <a:pt x="88" y="1130"/>
                  </a:lnTo>
                  <a:lnTo>
                    <a:pt x="91" y="1131"/>
                  </a:lnTo>
                  <a:lnTo>
                    <a:pt x="96" y="1134"/>
                  </a:lnTo>
                  <a:lnTo>
                    <a:pt x="101" y="1136"/>
                  </a:lnTo>
                  <a:lnTo>
                    <a:pt x="105" y="1139"/>
                  </a:lnTo>
                  <a:lnTo>
                    <a:pt x="110" y="1141"/>
                  </a:lnTo>
                  <a:lnTo>
                    <a:pt x="115" y="1142"/>
                  </a:lnTo>
                  <a:lnTo>
                    <a:pt x="118" y="1142"/>
                  </a:lnTo>
                  <a:lnTo>
                    <a:pt x="121" y="1144"/>
                  </a:lnTo>
                  <a:lnTo>
                    <a:pt x="124" y="1142"/>
                  </a:lnTo>
                  <a:lnTo>
                    <a:pt x="128" y="1141"/>
                  </a:lnTo>
                  <a:lnTo>
                    <a:pt x="129" y="1139"/>
                  </a:lnTo>
                  <a:lnTo>
                    <a:pt x="131" y="1139"/>
                  </a:lnTo>
                  <a:lnTo>
                    <a:pt x="134" y="1138"/>
                  </a:lnTo>
                  <a:lnTo>
                    <a:pt x="132" y="1139"/>
                  </a:lnTo>
                  <a:lnTo>
                    <a:pt x="132" y="1144"/>
                  </a:lnTo>
                  <a:lnTo>
                    <a:pt x="131" y="1150"/>
                  </a:lnTo>
                  <a:lnTo>
                    <a:pt x="129" y="1153"/>
                  </a:lnTo>
                  <a:lnTo>
                    <a:pt x="128" y="1156"/>
                  </a:lnTo>
                  <a:lnTo>
                    <a:pt x="126" y="1161"/>
                  </a:lnTo>
                  <a:lnTo>
                    <a:pt x="124" y="1164"/>
                  </a:lnTo>
                  <a:lnTo>
                    <a:pt x="124" y="1169"/>
                  </a:lnTo>
                  <a:lnTo>
                    <a:pt x="123" y="1175"/>
                  </a:lnTo>
                  <a:lnTo>
                    <a:pt x="123" y="1180"/>
                  </a:lnTo>
                  <a:lnTo>
                    <a:pt x="124" y="1183"/>
                  </a:lnTo>
                  <a:lnTo>
                    <a:pt x="124" y="1185"/>
                  </a:lnTo>
                  <a:lnTo>
                    <a:pt x="124" y="1188"/>
                  </a:lnTo>
                  <a:lnTo>
                    <a:pt x="126" y="1193"/>
                  </a:lnTo>
                  <a:lnTo>
                    <a:pt x="129" y="1196"/>
                  </a:lnTo>
                  <a:lnTo>
                    <a:pt x="128" y="1197"/>
                  </a:lnTo>
                  <a:lnTo>
                    <a:pt x="124" y="1199"/>
                  </a:lnTo>
                  <a:lnTo>
                    <a:pt x="123" y="1201"/>
                  </a:lnTo>
                  <a:lnTo>
                    <a:pt x="120" y="1201"/>
                  </a:lnTo>
                  <a:lnTo>
                    <a:pt x="115" y="1202"/>
                  </a:lnTo>
                  <a:lnTo>
                    <a:pt x="109" y="1204"/>
                  </a:lnTo>
                  <a:lnTo>
                    <a:pt x="96" y="1202"/>
                  </a:lnTo>
                  <a:lnTo>
                    <a:pt x="88" y="1202"/>
                  </a:lnTo>
                  <a:lnTo>
                    <a:pt x="87" y="1205"/>
                  </a:lnTo>
                  <a:lnTo>
                    <a:pt x="87" y="1209"/>
                  </a:lnTo>
                  <a:lnTo>
                    <a:pt x="85" y="1210"/>
                  </a:lnTo>
                  <a:lnTo>
                    <a:pt x="83" y="1213"/>
                  </a:lnTo>
                  <a:lnTo>
                    <a:pt x="83" y="1215"/>
                  </a:lnTo>
                  <a:lnTo>
                    <a:pt x="82" y="1216"/>
                  </a:lnTo>
                  <a:lnTo>
                    <a:pt x="79" y="1216"/>
                  </a:lnTo>
                  <a:lnTo>
                    <a:pt x="75" y="1216"/>
                  </a:lnTo>
                  <a:lnTo>
                    <a:pt x="74" y="1216"/>
                  </a:lnTo>
                  <a:lnTo>
                    <a:pt x="71" y="1216"/>
                  </a:lnTo>
                  <a:lnTo>
                    <a:pt x="71" y="1215"/>
                  </a:lnTo>
                  <a:lnTo>
                    <a:pt x="68" y="1213"/>
                  </a:lnTo>
                  <a:lnTo>
                    <a:pt x="66" y="1210"/>
                  </a:lnTo>
                  <a:lnTo>
                    <a:pt x="64" y="1205"/>
                  </a:lnTo>
                  <a:lnTo>
                    <a:pt x="63" y="1202"/>
                  </a:lnTo>
                  <a:lnTo>
                    <a:pt x="58" y="1204"/>
                  </a:lnTo>
                  <a:lnTo>
                    <a:pt x="55" y="1204"/>
                  </a:lnTo>
                  <a:lnTo>
                    <a:pt x="53" y="1204"/>
                  </a:lnTo>
                  <a:lnTo>
                    <a:pt x="50" y="1204"/>
                  </a:lnTo>
                  <a:lnTo>
                    <a:pt x="49" y="1204"/>
                  </a:lnTo>
                  <a:lnTo>
                    <a:pt x="47" y="1202"/>
                  </a:lnTo>
                  <a:lnTo>
                    <a:pt x="47" y="1199"/>
                  </a:lnTo>
                  <a:lnTo>
                    <a:pt x="50" y="1196"/>
                  </a:lnTo>
                  <a:lnTo>
                    <a:pt x="52" y="1194"/>
                  </a:lnTo>
                  <a:lnTo>
                    <a:pt x="53" y="1193"/>
                  </a:lnTo>
                  <a:lnTo>
                    <a:pt x="55" y="1190"/>
                  </a:lnTo>
                  <a:lnTo>
                    <a:pt x="56" y="1190"/>
                  </a:lnTo>
                  <a:lnTo>
                    <a:pt x="58" y="1186"/>
                  </a:lnTo>
                  <a:lnTo>
                    <a:pt x="58" y="1183"/>
                  </a:lnTo>
                  <a:lnTo>
                    <a:pt x="58" y="1182"/>
                  </a:lnTo>
                  <a:lnTo>
                    <a:pt x="56" y="1180"/>
                  </a:lnTo>
                  <a:lnTo>
                    <a:pt x="56" y="1179"/>
                  </a:lnTo>
                  <a:lnTo>
                    <a:pt x="55" y="1177"/>
                  </a:lnTo>
                  <a:lnTo>
                    <a:pt x="53" y="1175"/>
                  </a:lnTo>
                  <a:lnTo>
                    <a:pt x="50" y="1175"/>
                  </a:lnTo>
                  <a:lnTo>
                    <a:pt x="47" y="1175"/>
                  </a:lnTo>
                  <a:lnTo>
                    <a:pt x="45" y="1174"/>
                  </a:lnTo>
                  <a:lnTo>
                    <a:pt x="42" y="1174"/>
                  </a:lnTo>
                  <a:lnTo>
                    <a:pt x="39" y="1174"/>
                  </a:lnTo>
                  <a:lnTo>
                    <a:pt x="33" y="1174"/>
                  </a:lnTo>
                  <a:lnTo>
                    <a:pt x="26" y="1175"/>
                  </a:lnTo>
                  <a:lnTo>
                    <a:pt x="25" y="1175"/>
                  </a:lnTo>
                  <a:lnTo>
                    <a:pt x="23" y="1177"/>
                  </a:lnTo>
                  <a:lnTo>
                    <a:pt x="22" y="1177"/>
                  </a:lnTo>
                  <a:lnTo>
                    <a:pt x="20" y="1180"/>
                  </a:lnTo>
                  <a:lnTo>
                    <a:pt x="19" y="1182"/>
                  </a:lnTo>
                  <a:lnTo>
                    <a:pt x="17" y="1183"/>
                  </a:lnTo>
                  <a:lnTo>
                    <a:pt x="17" y="1185"/>
                  </a:lnTo>
                  <a:lnTo>
                    <a:pt x="15" y="1188"/>
                  </a:lnTo>
                  <a:lnTo>
                    <a:pt x="15" y="1190"/>
                  </a:lnTo>
                  <a:lnTo>
                    <a:pt x="14" y="1193"/>
                  </a:lnTo>
                  <a:lnTo>
                    <a:pt x="14" y="1196"/>
                  </a:lnTo>
                  <a:lnTo>
                    <a:pt x="14" y="1197"/>
                  </a:lnTo>
                  <a:lnTo>
                    <a:pt x="14" y="1204"/>
                  </a:lnTo>
                  <a:lnTo>
                    <a:pt x="14" y="1209"/>
                  </a:lnTo>
                  <a:lnTo>
                    <a:pt x="15" y="1213"/>
                  </a:lnTo>
                  <a:lnTo>
                    <a:pt x="15" y="1218"/>
                  </a:lnTo>
                  <a:lnTo>
                    <a:pt x="17" y="1221"/>
                  </a:lnTo>
                  <a:lnTo>
                    <a:pt x="17" y="1226"/>
                  </a:lnTo>
                  <a:lnTo>
                    <a:pt x="20" y="1229"/>
                  </a:lnTo>
                  <a:lnTo>
                    <a:pt x="22" y="1232"/>
                  </a:lnTo>
                  <a:lnTo>
                    <a:pt x="22" y="1234"/>
                  </a:lnTo>
                  <a:lnTo>
                    <a:pt x="25" y="1237"/>
                  </a:lnTo>
                  <a:lnTo>
                    <a:pt x="26" y="1239"/>
                  </a:lnTo>
                  <a:lnTo>
                    <a:pt x="30" y="1240"/>
                  </a:lnTo>
                  <a:lnTo>
                    <a:pt x="33" y="1242"/>
                  </a:lnTo>
                  <a:lnTo>
                    <a:pt x="36" y="1242"/>
                  </a:lnTo>
                  <a:lnTo>
                    <a:pt x="41" y="1243"/>
                  </a:lnTo>
                  <a:lnTo>
                    <a:pt x="45" y="1243"/>
                  </a:lnTo>
                  <a:lnTo>
                    <a:pt x="47" y="1243"/>
                  </a:lnTo>
                  <a:lnTo>
                    <a:pt x="52" y="1243"/>
                  </a:lnTo>
                  <a:lnTo>
                    <a:pt x="55" y="1245"/>
                  </a:lnTo>
                  <a:lnTo>
                    <a:pt x="58" y="1246"/>
                  </a:lnTo>
                  <a:lnTo>
                    <a:pt x="61" y="1248"/>
                  </a:lnTo>
                  <a:lnTo>
                    <a:pt x="64" y="1250"/>
                  </a:lnTo>
                  <a:lnTo>
                    <a:pt x="68" y="1250"/>
                  </a:lnTo>
                  <a:lnTo>
                    <a:pt x="72" y="1251"/>
                  </a:lnTo>
                  <a:lnTo>
                    <a:pt x="79" y="1250"/>
                  </a:lnTo>
                  <a:lnTo>
                    <a:pt x="83" y="1250"/>
                  </a:lnTo>
                  <a:lnTo>
                    <a:pt x="88" y="1250"/>
                  </a:lnTo>
                  <a:lnTo>
                    <a:pt x="93" y="1248"/>
                  </a:lnTo>
                  <a:lnTo>
                    <a:pt x="98" y="1246"/>
                  </a:lnTo>
                  <a:lnTo>
                    <a:pt x="101" y="1246"/>
                  </a:lnTo>
                  <a:lnTo>
                    <a:pt x="104" y="1243"/>
                  </a:lnTo>
                  <a:lnTo>
                    <a:pt x="107" y="1243"/>
                  </a:lnTo>
                  <a:lnTo>
                    <a:pt x="117" y="1243"/>
                  </a:lnTo>
                  <a:lnTo>
                    <a:pt x="115" y="1246"/>
                  </a:lnTo>
                  <a:lnTo>
                    <a:pt x="112" y="1254"/>
                  </a:lnTo>
                  <a:lnTo>
                    <a:pt x="109" y="1262"/>
                  </a:lnTo>
                  <a:lnTo>
                    <a:pt x="104" y="1272"/>
                  </a:lnTo>
                  <a:lnTo>
                    <a:pt x="101" y="1280"/>
                  </a:lnTo>
                  <a:lnTo>
                    <a:pt x="96" y="1287"/>
                  </a:lnTo>
                  <a:lnTo>
                    <a:pt x="94" y="1292"/>
                  </a:lnTo>
                  <a:lnTo>
                    <a:pt x="93" y="1294"/>
                  </a:lnTo>
                  <a:lnTo>
                    <a:pt x="91" y="1295"/>
                  </a:lnTo>
                  <a:lnTo>
                    <a:pt x="88" y="1295"/>
                  </a:lnTo>
                  <a:lnTo>
                    <a:pt x="87" y="1295"/>
                  </a:lnTo>
                  <a:lnTo>
                    <a:pt x="85" y="1295"/>
                  </a:lnTo>
                  <a:lnTo>
                    <a:pt x="83" y="1294"/>
                  </a:lnTo>
                  <a:lnTo>
                    <a:pt x="82" y="1292"/>
                  </a:lnTo>
                  <a:lnTo>
                    <a:pt x="79" y="1292"/>
                  </a:lnTo>
                  <a:lnTo>
                    <a:pt x="77" y="1291"/>
                  </a:lnTo>
                  <a:lnTo>
                    <a:pt x="75" y="1291"/>
                  </a:lnTo>
                  <a:lnTo>
                    <a:pt x="72" y="1291"/>
                  </a:lnTo>
                  <a:lnTo>
                    <a:pt x="71" y="1291"/>
                  </a:lnTo>
                  <a:lnTo>
                    <a:pt x="69" y="1291"/>
                  </a:lnTo>
                  <a:lnTo>
                    <a:pt x="66" y="1292"/>
                  </a:lnTo>
                  <a:lnTo>
                    <a:pt x="64" y="1292"/>
                  </a:lnTo>
                  <a:lnTo>
                    <a:pt x="58" y="1295"/>
                  </a:lnTo>
                  <a:lnTo>
                    <a:pt x="53" y="1300"/>
                  </a:lnTo>
                  <a:lnTo>
                    <a:pt x="47" y="1303"/>
                  </a:lnTo>
                  <a:lnTo>
                    <a:pt x="44" y="1308"/>
                  </a:lnTo>
                  <a:lnTo>
                    <a:pt x="41" y="1311"/>
                  </a:lnTo>
                  <a:lnTo>
                    <a:pt x="39" y="1313"/>
                  </a:lnTo>
                  <a:lnTo>
                    <a:pt x="36" y="1316"/>
                  </a:lnTo>
                  <a:lnTo>
                    <a:pt x="34" y="1319"/>
                  </a:lnTo>
                  <a:lnTo>
                    <a:pt x="33" y="1321"/>
                  </a:lnTo>
                  <a:lnTo>
                    <a:pt x="33" y="1325"/>
                  </a:lnTo>
                  <a:lnTo>
                    <a:pt x="31" y="1330"/>
                  </a:lnTo>
                  <a:lnTo>
                    <a:pt x="30" y="1333"/>
                  </a:lnTo>
                  <a:lnTo>
                    <a:pt x="30" y="1338"/>
                  </a:lnTo>
                  <a:lnTo>
                    <a:pt x="28" y="1344"/>
                  </a:lnTo>
                  <a:lnTo>
                    <a:pt x="26" y="1347"/>
                  </a:lnTo>
                  <a:lnTo>
                    <a:pt x="26" y="1350"/>
                  </a:lnTo>
                  <a:lnTo>
                    <a:pt x="25" y="1354"/>
                  </a:lnTo>
                  <a:lnTo>
                    <a:pt x="22" y="1357"/>
                  </a:lnTo>
                  <a:lnTo>
                    <a:pt x="14" y="1366"/>
                  </a:lnTo>
                  <a:lnTo>
                    <a:pt x="8" y="1374"/>
                  </a:lnTo>
                  <a:lnTo>
                    <a:pt x="4" y="1377"/>
                  </a:lnTo>
                  <a:lnTo>
                    <a:pt x="1" y="1382"/>
                  </a:lnTo>
                  <a:lnTo>
                    <a:pt x="1" y="1384"/>
                  </a:lnTo>
                  <a:lnTo>
                    <a:pt x="0" y="1387"/>
                  </a:lnTo>
                  <a:lnTo>
                    <a:pt x="0" y="1390"/>
                  </a:lnTo>
                  <a:lnTo>
                    <a:pt x="0" y="1392"/>
                  </a:lnTo>
                  <a:lnTo>
                    <a:pt x="0" y="1396"/>
                  </a:lnTo>
                  <a:lnTo>
                    <a:pt x="0" y="1398"/>
                  </a:lnTo>
                  <a:lnTo>
                    <a:pt x="1" y="1399"/>
                  </a:lnTo>
                  <a:lnTo>
                    <a:pt x="3" y="1401"/>
                  </a:lnTo>
                  <a:lnTo>
                    <a:pt x="4" y="1403"/>
                  </a:lnTo>
                  <a:lnTo>
                    <a:pt x="8" y="1404"/>
                  </a:lnTo>
                  <a:lnTo>
                    <a:pt x="9" y="1404"/>
                  </a:lnTo>
                  <a:lnTo>
                    <a:pt x="11" y="1404"/>
                  </a:lnTo>
                  <a:lnTo>
                    <a:pt x="14" y="1404"/>
                  </a:lnTo>
                  <a:lnTo>
                    <a:pt x="17" y="1404"/>
                  </a:lnTo>
                  <a:lnTo>
                    <a:pt x="20" y="1404"/>
                  </a:lnTo>
                  <a:lnTo>
                    <a:pt x="23" y="1404"/>
                  </a:lnTo>
                  <a:lnTo>
                    <a:pt x="26" y="1404"/>
                  </a:lnTo>
                  <a:lnTo>
                    <a:pt x="31" y="1406"/>
                  </a:lnTo>
                  <a:lnTo>
                    <a:pt x="34" y="1407"/>
                  </a:lnTo>
                  <a:lnTo>
                    <a:pt x="41" y="1410"/>
                  </a:lnTo>
                  <a:lnTo>
                    <a:pt x="42" y="1410"/>
                  </a:lnTo>
                  <a:lnTo>
                    <a:pt x="45" y="1412"/>
                  </a:lnTo>
                  <a:lnTo>
                    <a:pt x="47" y="1414"/>
                  </a:lnTo>
                  <a:lnTo>
                    <a:pt x="47" y="1415"/>
                  </a:lnTo>
                  <a:lnTo>
                    <a:pt x="50" y="1418"/>
                  </a:lnTo>
                  <a:lnTo>
                    <a:pt x="50" y="1420"/>
                  </a:lnTo>
                  <a:lnTo>
                    <a:pt x="52" y="1423"/>
                  </a:lnTo>
                  <a:lnTo>
                    <a:pt x="52" y="1425"/>
                  </a:lnTo>
                  <a:lnTo>
                    <a:pt x="50" y="1428"/>
                  </a:lnTo>
                  <a:lnTo>
                    <a:pt x="45" y="1433"/>
                  </a:lnTo>
                  <a:lnTo>
                    <a:pt x="41" y="1437"/>
                  </a:lnTo>
                  <a:lnTo>
                    <a:pt x="34" y="1442"/>
                  </a:lnTo>
                  <a:lnTo>
                    <a:pt x="34" y="1448"/>
                  </a:lnTo>
                  <a:lnTo>
                    <a:pt x="33" y="1455"/>
                  </a:lnTo>
                  <a:lnTo>
                    <a:pt x="33" y="1453"/>
                  </a:lnTo>
                  <a:lnTo>
                    <a:pt x="33" y="1451"/>
                  </a:lnTo>
                  <a:lnTo>
                    <a:pt x="34" y="1451"/>
                  </a:lnTo>
                  <a:lnTo>
                    <a:pt x="38" y="1448"/>
                  </a:lnTo>
                  <a:lnTo>
                    <a:pt x="41" y="1448"/>
                  </a:lnTo>
                  <a:lnTo>
                    <a:pt x="42" y="1447"/>
                  </a:lnTo>
                  <a:lnTo>
                    <a:pt x="47" y="1447"/>
                  </a:lnTo>
                  <a:lnTo>
                    <a:pt x="50" y="1447"/>
                  </a:lnTo>
                  <a:lnTo>
                    <a:pt x="55" y="1448"/>
                  </a:lnTo>
                  <a:lnTo>
                    <a:pt x="71" y="1451"/>
                  </a:lnTo>
                  <a:lnTo>
                    <a:pt x="75" y="1453"/>
                  </a:lnTo>
                  <a:lnTo>
                    <a:pt x="79" y="1450"/>
                  </a:lnTo>
                  <a:lnTo>
                    <a:pt x="79" y="1445"/>
                  </a:lnTo>
                  <a:lnTo>
                    <a:pt x="80" y="1442"/>
                  </a:lnTo>
                  <a:lnTo>
                    <a:pt x="80" y="1437"/>
                  </a:lnTo>
                  <a:lnTo>
                    <a:pt x="82" y="1431"/>
                  </a:lnTo>
                  <a:lnTo>
                    <a:pt x="83" y="1423"/>
                  </a:lnTo>
                  <a:lnTo>
                    <a:pt x="85" y="1418"/>
                  </a:lnTo>
                  <a:lnTo>
                    <a:pt x="87" y="1415"/>
                  </a:lnTo>
                  <a:lnTo>
                    <a:pt x="88" y="1412"/>
                  </a:lnTo>
                  <a:lnTo>
                    <a:pt x="88" y="1410"/>
                  </a:lnTo>
                  <a:lnTo>
                    <a:pt x="91" y="1407"/>
                  </a:lnTo>
                  <a:lnTo>
                    <a:pt x="94" y="1406"/>
                  </a:lnTo>
                  <a:lnTo>
                    <a:pt x="98" y="1404"/>
                  </a:lnTo>
                  <a:lnTo>
                    <a:pt x="101" y="1404"/>
                  </a:lnTo>
                  <a:lnTo>
                    <a:pt x="104" y="1404"/>
                  </a:lnTo>
                  <a:lnTo>
                    <a:pt x="107" y="1404"/>
                  </a:lnTo>
                  <a:lnTo>
                    <a:pt x="110" y="1406"/>
                  </a:lnTo>
                  <a:lnTo>
                    <a:pt x="113" y="1407"/>
                  </a:lnTo>
                  <a:lnTo>
                    <a:pt x="118" y="1410"/>
                  </a:lnTo>
                  <a:lnTo>
                    <a:pt x="123" y="1412"/>
                  </a:lnTo>
                  <a:lnTo>
                    <a:pt x="129" y="1415"/>
                  </a:lnTo>
                  <a:lnTo>
                    <a:pt x="134" y="1418"/>
                  </a:lnTo>
                  <a:lnTo>
                    <a:pt x="137" y="1420"/>
                  </a:lnTo>
                  <a:lnTo>
                    <a:pt x="139" y="1420"/>
                  </a:lnTo>
                  <a:lnTo>
                    <a:pt x="142" y="1420"/>
                  </a:lnTo>
                  <a:lnTo>
                    <a:pt x="147" y="1420"/>
                  </a:lnTo>
                  <a:lnTo>
                    <a:pt x="148" y="1420"/>
                  </a:lnTo>
                  <a:lnTo>
                    <a:pt x="150" y="1420"/>
                  </a:lnTo>
                  <a:lnTo>
                    <a:pt x="151" y="1420"/>
                  </a:lnTo>
                  <a:lnTo>
                    <a:pt x="151" y="1418"/>
                  </a:lnTo>
                  <a:lnTo>
                    <a:pt x="153" y="1417"/>
                  </a:lnTo>
                  <a:lnTo>
                    <a:pt x="153" y="1415"/>
                  </a:lnTo>
                  <a:lnTo>
                    <a:pt x="153" y="1414"/>
                  </a:lnTo>
                  <a:lnTo>
                    <a:pt x="153" y="1412"/>
                  </a:lnTo>
                  <a:lnTo>
                    <a:pt x="153" y="1410"/>
                  </a:lnTo>
                  <a:lnTo>
                    <a:pt x="153" y="1409"/>
                  </a:lnTo>
                  <a:lnTo>
                    <a:pt x="151" y="1407"/>
                  </a:lnTo>
                  <a:lnTo>
                    <a:pt x="150" y="1404"/>
                  </a:lnTo>
                  <a:lnTo>
                    <a:pt x="145" y="1403"/>
                  </a:lnTo>
                  <a:lnTo>
                    <a:pt x="140" y="1398"/>
                  </a:lnTo>
                  <a:lnTo>
                    <a:pt x="135" y="1395"/>
                  </a:lnTo>
                  <a:lnTo>
                    <a:pt x="131" y="1392"/>
                  </a:lnTo>
                  <a:lnTo>
                    <a:pt x="129" y="1390"/>
                  </a:lnTo>
                  <a:lnTo>
                    <a:pt x="128" y="1388"/>
                  </a:lnTo>
                  <a:lnTo>
                    <a:pt x="126" y="1387"/>
                  </a:lnTo>
                  <a:lnTo>
                    <a:pt x="124" y="1385"/>
                  </a:lnTo>
                  <a:lnTo>
                    <a:pt x="124" y="1377"/>
                  </a:lnTo>
                  <a:lnTo>
                    <a:pt x="131" y="1376"/>
                  </a:lnTo>
                  <a:lnTo>
                    <a:pt x="135" y="1376"/>
                  </a:lnTo>
                  <a:lnTo>
                    <a:pt x="137" y="1374"/>
                  </a:lnTo>
                  <a:lnTo>
                    <a:pt x="139" y="1374"/>
                  </a:lnTo>
                  <a:lnTo>
                    <a:pt x="140" y="1374"/>
                  </a:lnTo>
                  <a:lnTo>
                    <a:pt x="142" y="1371"/>
                  </a:lnTo>
                  <a:lnTo>
                    <a:pt x="140" y="1369"/>
                  </a:lnTo>
                  <a:lnTo>
                    <a:pt x="137" y="1369"/>
                  </a:lnTo>
                  <a:lnTo>
                    <a:pt x="135" y="1366"/>
                  </a:lnTo>
                  <a:lnTo>
                    <a:pt x="132" y="1365"/>
                  </a:lnTo>
                  <a:lnTo>
                    <a:pt x="129" y="1365"/>
                  </a:lnTo>
                  <a:lnTo>
                    <a:pt x="128" y="1362"/>
                  </a:lnTo>
                  <a:lnTo>
                    <a:pt x="126" y="1362"/>
                  </a:lnTo>
                  <a:lnTo>
                    <a:pt x="126" y="1360"/>
                  </a:lnTo>
                  <a:lnTo>
                    <a:pt x="124" y="1358"/>
                  </a:lnTo>
                  <a:lnTo>
                    <a:pt x="124" y="1357"/>
                  </a:lnTo>
                  <a:lnTo>
                    <a:pt x="124" y="1354"/>
                  </a:lnTo>
                  <a:lnTo>
                    <a:pt x="128" y="1350"/>
                  </a:lnTo>
                  <a:lnTo>
                    <a:pt x="129" y="1346"/>
                  </a:lnTo>
                  <a:lnTo>
                    <a:pt x="131" y="1344"/>
                  </a:lnTo>
                  <a:lnTo>
                    <a:pt x="134" y="1341"/>
                  </a:lnTo>
                  <a:lnTo>
                    <a:pt x="137" y="1338"/>
                  </a:lnTo>
                  <a:lnTo>
                    <a:pt x="140" y="1338"/>
                  </a:lnTo>
                  <a:lnTo>
                    <a:pt x="142" y="1338"/>
                  </a:lnTo>
                  <a:lnTo>
                    <a:pt x="143" y="1336"/>
                  </a:lnTo>
                  <a:lnTo>
                    <a:pt x="147" y="1336"/>
                  </a:lnTo>
                  <a:lnTo>
                    <a:pt x="150" y="1338"/>
                  </a:lnTo>
                  <a:lnTo>
                    <a:pt x="154" y="1339"/>
                  </a:lnTo>
                  <a:lnTo>
                    <a:pt x="161" y="1343"/>
                  </a:lnTo>
                  <a:lnTo>
                    <a:pt x="169" y="1346"/>
                  </a:lnTo>
                  <a:lnTo>
                    <a:pt x="175" y="1349"/>
                  </a:lnTo>
                  <a:lnTo>
                    <a:pt x="181" y="1354"/>
                  </a:lnTo>
                  <a:lnTo>
                    <a:pt x="186" y="1357"/>
                  </a:lnTo>
                  <a:lnTo>
                    <a:pt x="189" y="1358"/>
                  </a:lnTo>
                  <a:lnTo>
                    <a:pt x="205" y="1358"/>
                  </a:lnTo>
                  <a:lnTo>
                    <a:pt x="216" y="1358"/>
                  </a:lnTo>
                  <a:lnTo>
                    <a:pt x="224" y="1358"/>
                  </a:lnTo>
                  <a:lnTo>
                    <a:pt x="235" y="1358"/>
                  </a:lnTo>
                  <a:lnTo>
                    <a:pt x="235" y="1360"/>
                  </a:lnTo>
                  <a:lnTo>
                    <a:pt x="238" y="1360"/>
                  </a:lnTo>
                  <a:lnTo>
                    <a:pt x="243" y="1362"/>
                  </a:lnTo>
                  <a:lnTo>
                    <a:pt x="246" y="1362"/>
                  </a:lnTo>
                  <a:lnTo>
                    <a:pt x="249" y="1363"/>
                  </a:lnTo>
                  <a:lnTo>
                    <a:pt x="257" y="1365"/>
                  </a:lnTo>
                  <a:lnTo>
                    <a:pt x="265" y="1368"/>
                  </a:lnTo>
                  <a:lnTo>
                    <a:pt x="268" y="1369"/>
                  </a:lnTo>
                  <a:lnTo>
                    <a:pt x="273" y="1371"/>
                  </a:lnTo>
                  <a:lnTo>
                    <a:pt x="276" y="1371"/>
                  </a:lnTo>
                  <a:lnTo>
                    <a:pt x="281" y="1371"/>
                  </a:lnTo>
                  <a:lnTo>
                    <a:pt x="284" y="1373"/>
                  </a:lnTo>
                  <a:lnTo>
                    <a:pt x="289" y="1373"/>
                  </a:lnTo>
                  <a:lnTo>
                    <a:pt x="290" y="1371"/>
                  </a:lnTo>
                  <a:lnTo>
                    <a:pt x="297" y="1371"/>
                  </a:lnTo>
                  <a:lnTo>
                    <a:pt x="311" y="1371"/>
                  </a:lnTo>
                  <a:lnTo>
                    <a:pt x="311" y="1374"/>
                  </a:lnTo>
                  <a:lnTo>
                    <a:pt x="314" y="1374"/>
                  </a:lnTo>
                  <a:lnTo>
                    <a:pt x="317" y="1374"/>
                  </a:lnTo>
                  <a:lnTo>
                    <a:pt x="319" y="1374"/>
                  </a:lnTo>
                  <a:lnTo>
                    <a:pt x="320" y="1373"/>
                  </a:lnTo>
                  <a:lnTo>
                    <a:pt x="324" y="1371"/>
                  </a:lnTo>
                  <a:lnTo>
                    <a:pt x="327" y="1369"/>
                  </a:lnTo>
                  <a:lnTo>
                    <a:pt x="330" y="1366"/>
                  </a:lnTo>
                  <a:lnTo>
                    <a:pt x="331" y="1365"/>
                  </a:lnTo>
                  <a:lnTo>
                    <a:pt x="335" y="1365"/>
                  </a:lnTo>
                  <a:lnTo>
                    <a:pt x="338" y="1363"/>
                  </a:lnTo>
                  <a:lnTo>
                    <a:pt x="339" y="1363"/>
                  </a:lnTo>
                  <a:lnTo>
                    <a:pt x="341" y="1363"/>
                  </a:lnTo>
                  <a:lnTo>
                    <a:pt x="342" y="1365"/>
                  </a:lnTo>
                  <a:lnTo>
                    <a:pt x="344" y="1365"/>
                  </a:lnTo>
                  <a:lnTo>
                    <a:pt x="346" y="1365"/>
                  </a:lnTo>
                  <a:lnTo>
                    <a:pt x="349" y="1366"/>
                  </a:lnTo>
                  <a:lnTo>
                    <a:pt x="350" y="1369"/>
                  </a:lnTo>
                  <a:lnTo>
                    <a:pt x="355" y="1374"/>
                  </a:lnTo>
                  <a:lnTo>
                    <a:pt x="358" y="1379"/>
                  </a:lnTo>
                  <a:lnTo>
                    <a:pt x="360" y="1377"/>
                  </a:lnTo>
                  <a:lnTo>
                    <a:pt x="361" y="1376"/>
                  </a:lnTo>
                  <a:lnTo>
                    <a:pt x="363" y="1374"/>
                  </a:lnTo>
                  <a:lnTo>
                    <a:pt x="365" y="1374"/>
                  </a:lnTo>
                  <a:lnTo>
                    <a:pt x="368" y="1373"/>
                  </a:lnTo>
                  <a:lnTo>
                    <a:pt x="371" y="1373"/>
                  </a:lnTo>
                  <a:lnTo>
                    <a:pt x="376" y="1373"/>
                  </a:lnTo>
                  <a:lnTo>
                    <a:pt x="384" y="1373"/>
                  </a:lnTo>
                  <a:lnTo>
                    <a:pt x="396" y="1373"/>
                  </a:lnTo>
                  <a:lnTo>
                    <a:pt x="409" y="1373"/>
                  </a:lnTo>
                  <a:lnTo>
                    <a:pt x="420" y="1373"/>
                  </a:lnTo>
                  <a:lnTo>
                    <a:pt x="431" y="1373"/>
                  </a:lnTo>
                  <a:lnTo>
                    <a:pt x="439" y="1373"/>
                  </a:lnTo>
                  <a:lnTo>
                    <a:pt x="442" y="1373"/>
                  </a:lnTo>
                  <a:lnTo>
                    <a:pt x="445" y="1373"/>
                  </a:lnTo>
                  <a:lnTo>
                    <a:pt x="447" y="1371"/>
                  </a:lnTo>
                  <a:lnTo>
                    <a:pt x="448" y="1371"/>
                  </a:lnTo>
                  <a:lnTo>
                    <a:pt x="450" y="1369"/>
                  </a:lnTo>
                  <a:lnTo>
                    <a:pt x="451" y="1368"/>
                  </a:lnTo>
                  <a:lnTo>
                    <a:pt x="453" y="1366"/>
                  </a:lnTo>
                  <a:lnTo>
                    <a:pt x="455" y="1365"/>
                  </a:lnTo>
                  <a:lnTo>
                    <a:pt x="455" y="1362"/>
                  </a:lnTo>
                  <a:lnTo>
                    <a:pt x="458" y="1363"/>
                  </a:lnTo>
                  <a:lnTo>
                    <a:pt x="463" y="1363"/>
                  </a:lnTo>
                  <a:lnTo>
                    <a:pt x="466" y="1363"/>
                  </a:lnTo>
                  <a:lnTo>
                    <a:pt x="469" y="1363"/>
                  </a:lnTo>
                  <a:lnTo>
                    <a:pt x="475" y="1362"/>
                  </a:lnTo>
                  <a:lnTo>
                    <a:pt x="480" y="1358"/>
                  </a:lnTo>
                  <a:lnTo>
                    <a:pt x="480" y="1355"/>
                  </a:lnTo>
                  <a:lnTo>
                    <a:pt x="482" y="1355"/>
                  </a:lnTo>
                  <a:lnTo>
                    <a:pt x="488" y="1355"/>
                  </a:lnTo>
                  <a:lnTo>
                    <a:pt x="493" y="1355"/>
                  </a:lnTo>
                  <a:lnTo>
                    <a:pt x="496" y="1357"/>
                  </a:lnTo>
                  <a:lnTo>
                    <a:pt x="500" y="1357"/>
                  </a:lnTo>
                  <a:lnTo>
                    <a:pt x="505" y="1358"/>
                  </a:lnTo>
                  <a:lnTo>
                    <a:pt x="508" y="1358"/>
                  </a:lnTo>
                  <a:lnTo>
                    <a:pt x="513" y="1362"/>
                  </a:lnTo>
                  <a:lnTo>
                    <a:pt x="519" y="1365"/>
                  </a:lnTo>
                  <a:lnTo>
                    <a:pt x="521" y="1366"/>
                  </a:lnTo>
                  <a:lnTo>
                    <a:pt x="523" y="1368"/>
                  </a:lnTo>
                  <a:lnTo>
                    <a:pt x="524" y="1369"/>
                  </a:lnTo>
                  <a:lnTo>
                    <a:pt x="527" y="1371"/>
                  </a:lnTo>
                  <a:lnTo>
                    <a:pt x="529" y="1374"/>
                  </a:lnTo>
                  <a:lnTo>
                    <a:pt x="532" y="1379"/>
                  </a:lnTo>
                  <a:lnTo>
                    <a:pt x="537" y="1382"/>
                  </a:lnTo>
                  <a:lnTo>
                    <a:pt x="540" y="1384"/>
                  </a:lnTo>
                  <a:lnTo>
                    <a:pt x="542" y="1385"/>
                  </a:lnTo>
                  <a:lnTo>
                    <a:pt x="545" y="1387"/>
                  </a:lnTo>
                  <a:lnTo>
                    <a:pt x="546" y="1387"/>
                  </a:lnTo>
                  <a:lnTo>
                    <a:pt x="549" y="1387"/>
                  </a:lnTo>
                  <a:lnTo>
                    <a:pt x="553" y="1387"/>
                  </a:lnTo>
                  <a:lnTo>
                    <a:pt x="554" y="1387"/>
                  </a:lnTo>
                  <a:lnTo>
                    <a:pt x="557" y="1384"/>
                  </a:lnTo>
                  <a:lnTo>
                    <a:pt x="559" y="1382"/>
                  </a:lnTo>
                  <a:lnTo>
                    <a:pt x="560" y="1380"/>
                  </a:lnTo>
                  <a:lnTo>
                    <a:pt x="562" y="1377"/>
                  </a:lnTo>
                  <a:lnTo>
                    <a:pt x="564" y="1374"/>
                  </a:lnTo>
                  <a:lnTo>
                    <a:pt x="565" y="1371"/>
                  </a:lnTo>
                  <a:lnTo>
                    <a:pt x="567" y="1365"/>
                  </a:lnTo>
                  <a:lnTo>
                    <a:pt x="567" y="1357"/>
                  </a:lnTo>
                  <a:lnTo>
                    <a:pt x="567" y="1350"/>
                  </a:lnTo>
                  <a:lnTo>
                    <a:pt x="567" y="1343"/>
                  </a:lnTo>
                  <a:lnTo>
                    <a:pt x="567" y="1339"/>
                  </a:lnTo>
                  <a:lnTo>
                    <a:pt x="568" y="1338"/>
                  </a:lnTo>
                  <a:lnTo>
                    <a:pt x="570" y="1336"/>
                  </a:lnTo>
                  <a:lnTo>
                    <a:pt x="570" y="1335"/>
                  </a:lnTo>
                  <a:lnTo>
                    <a:pt x="570" y="1333"/>
                  </a:lnTo>
                  <a:lnTo>
                    <a:pt x="572" y="1333"/>
                  </a:lnTo>
                  <a:lnTo>
                    <a:pt x="573" y="1333"/>
                  </a:lnTo>
                  <a:lnTo>
                    <a:pt x="575" y="1332"/>
                  </a:lnTo>
                  <a:lnTo>
                    <a:pt x="581" y="1330"/>
                  </a:lnTo>
                  <a:lnTo>
                    <a:pt x="586" y="1330"/>
                  </a:lnTo>
                  <a:lnTo>
                    <a:pt x="586" y="1328"/>
                  </a:lnTo>
                  <a:lnTo>
                    <a:pt x="586" y="1327"/>
                  </a:lnTo>
                  <a:lnTo>
                    <a:pt x="587" y="1325"/>
                  </a:lnTo>
                  <a:lnTo>
                    <a:pt x="587" y="1324"/>
                  </a:lnTo>
                  <a:lnTo>
                    <a:pt x="587" y="1319"/>
                  </a:lnTo>
                  <a:lnTo>
                    <a:pt x="587" y="1314"/>
                  </a:lnTo>
                  <a:lnTo>
                    <a:pt x="589" y="1311"/>
                  </a:lnTo>
                  <a:lnTo>
                    <a:pt x="589" y="1305"/>
                  </a:lnTo>
                  <a:lnTo>
                    <a:pt x="591" y="1303"/>
                  </a:lnTo>
                  <a:lnTo>
                    <a:pt x="591" y="1300"/>
                  </a:lnTo>
                  <a:lnTo>
                    <a:pt x="594" y="1297"/>
                  </a:lnTo>
                  <a:lnTo>
                    <a:pt x="595" y="1294"/>
                  </a:lnTo>
                  <a:lnTo>
                    <a:pt x="600" y="1292"/>
                  </a:lnTo>
                  <a:lnTo>
                    <a:pt x="603" y="1291"/>
                  </a:lnTo>
                  <a:lnTo>
                    <a:pt x="613" y="1287"/>
                  </a:lnTo>
                  <a:lnTo>
                    <a:pt x="621" y="1284"/>
                  </a:lnTo>
                  <a:lnTo>
                    <a:pt x="624" y="1284"/>
                  </a:lnTo>
                  <a:lnTo>
                    <a:pt x="627" y="1283"/>
                  </a:lnTo>
                  <a:lnTo>
                    <a:pt x="632" y="1281"/>
                  </a:lnTo>
                  <a:lnTo>
                    <a:pt x="633" y="1280"/>
                  </a:lnTo>
                  <a:lnTo>
                    <a:pt x="635" y="1278"/>
                  </a:lnTo>
                  <a:lnTo>
                    <a:pt x="635" y="1276"/>
                  </a:lnTo>
                  <a:lnTo>
                    <a:pt x="636" y="1275"/>
                  </a:lnTo>
                  <a:lnTo>
                    <a:pt x="636" y="1273"/>
                  </a:lnTo>
                  <a:lnTo>
                    <a:pt x="635" y="1272"/>
                  </a:lnTo>
                  <a:lnTo>
                    <a:pt x="635" y="1270"/>
                  </a:lnTo>
                  <a:lnTo>
                    <a:pt x="633" y="1267"/>
                  </a:lnTo>
                  <a:lnTo>
                    <a:pt x="628" y="1257"/>
                  </a:lnTo>
                  <a:lnTo>
                    <a:pt x="625" y="1246"/>
                  </a:lnTo>
                  <a:lnTo>
                    <a:pt x="624" y="1243"/>
                  </a:lnTo>
                  <a:lnTo>
                    <a:pt x="624" y="1242"/>
                  </a:lnTo>
                  <a:lnTo>
                    <a:pt x="622" y="1239"/>
                  </a:lnTo>
                  <a:lnTo>
                    <a:pt x="621" y="1237"/>
                  </a:lnTo>
                  <a:lnTo>
                    <a:pt x="619" y="1237"/>
                  </a:lnTo>
                  <a:lnTo>
                    <a:pt x="617" y="1235"/>
                  </a:lnTo>
                  <a:lnTo>
                    <a:pt x="616" y="1234"/>
                  </a:lnTo>
                  <a:lnTo>
                    <a:pt x="614" y="1234"/>
                  </a:lnTo>
                  <a:lnTo>
                    <a:pt x="611" y="1234"/>
                  </a:lnTo>
                  <a:lnTo>
                    <a:pt x="608" y="1235"/>
                  </a:lnTo>
                  <a:lnTo>
                    <a:pt x="608" y="1237"/>
                  </a:lnTo>
                  <a:lnTo>
                    <a:pt x="606" y="1239"/>
                  </a:lnTo>
                  <a:lnTo>
                    <a:pt x="606" y="1240"/>
                  </a:lnTo>
                  <a:lnTo>
                    <a:pt x="605" y="1242"/>
                  </a:lnTo>
                  <a:lnTo>
                    <a:pt x="603" y="1242"/>
                  </a:lnTo>
                  <a:lnTo>
                    <a:pt x="602" y="1242"/>
                  </a:lnTo>
                  <a:lnTo>
                    <a:pt x="598" y="1240"/>
                  </a:lnTo>
                  <a:lnTo>
                    <a:pt x="598" y="1239"/>
                  </a:lnTo>
                  <a:lnTo>
                    <a:pt x="595" y="1237"/>
                  </a:lnTo>
                  <a:lnTo>
                    <a:pt x="595" y="1234"/>
                  </a:lnTo>
                  <a:lnTo>
                    <a:pt x="595" y="1232"/>
                  </a:lnTo>
                  <a:lnTo>
                    <a:pt x="595" y="1231"/>
                  </a:lnTo>
                  <a:lnTo>
                    <a:pt x="594" y="1229"/>
                  </a:lnTo>
                  <a:lnTo>
                    <a:pt x="595" y="1226"/>
                  </a:lnTo>
                  <a:lnTo>
                    <a:pt x="595" y="1224"/>
                  </a:lnTo>
                  <a:lnTo>
                    <a:pt x="595" y="1223"/>
                  </a:lnTo>
                  <a:lnTo>
                    <a:pt x="598" y="1221"/>
                  </a:lnTo>
                  <a:lnTo>
                    <a:pt x="600" y="1218"/>
                  </a:lnTo>
                  <a:lnTo>
                    <a:pt x="603" y="1215"/>
                  </a:lnTo>
                  <a:lnTo>
                    <a:pt x="605" y="1212"/>
                  </a:lnTo>
                  <a:lnTo>
                    <a:pt x="606" y="1210"/>
                  </a:lnTo>
                  <a:lnTo>
                    <a:pt x="606" y="1209"/>
                  </a:lnTo>
                  <a:lnTo>
                    <a:pt x="606" y="1205"/>
                  </a:lnTo>
                  <a:lnTo>
                    <a:pt x="606" y="1204"/>
                  </a:lnTo>
                  <a:lnTo>
                    <a:pt x="606" y="1199"/>
                  </a:lnTo>
                  <a:lnTo>
                    <a:pt x="606" y="1196"/>
                  </a:lnTo>
                  <a:lnTo>
                    <a:pt x="603" y="1191"/>
                  </a:lnTo>
                  <a:lnTo>
                    <a:pt x="606" y="1185"/>
                  </a:lnTo>
                  <a:lnTo>
                    <a:pt x="609" y="1179"/>
                  </a:lnTo>
                  <a:lnTo>
                    <a:pt x="614" y="1172"/>
                  </a:lnTo>
                  <a:lnTo>
                    <a:pt x="619" y="1164"/>
                  </a:lnTo>
                  <a:lnTo>
                    <a:pt x="621" y="1161"/>
                  </a:lnTo>
                  <a:lnTo>
                    <a:pt x="624" y="1160"/>
                  </a:lnTo>
                  <a:lnTo>
                    <a:pt x="627" y="1156"/>
                  </a:lnTo>
                  <a:lnTo>
                    <a:pt x="630" y="1153"/>
                  </a:lnTo>
                  <a:lnTo>
                    <a:pt x="633" y="1152"/>
                  </a:lnTo>
                  <a:lnTo>
                    <a:pt x="636" y="1150"/>
                  </a:lnTo>
                  <a:lnTo>
                    <a:pt x="638" y="1149"/>
                  </a:lnTo>
                  <a:lnTo>
                    <a:pt x="641" y="1149"/>
                  </a:lnTo>
                  <a:lnTo>
                    <a:pt x="643" y="1149"/>
                  </a:lnTo>
                  <a:lnTo>
                    <a:pt x="644" y="1150"/>
                  </a:lnTo>
                  <a:lnTo>
                    <a:pt x="646" y="1152"/>
                  </a:lnTo>
                  <a:lnTo>
                    <a:pt x="647" y="1152"/>
                  </a:lnTo>
                  <a:lnTo>
                    <a:pt x="647" y="1155"/>
                  </a:lnTo>
                  <a:lnTo>
                    <a:pt x="647" y="1156"/>
                  </a:lnTo>
                  <a:lnTo>
                    <a:pt x="649" y="1160"/>
                  </a:lnTo>
                  <a:lnTo>
                    <a:pt x="649" y="1161"/>
                  </a:lnTo>
                  <a:lnTo>
                    <a:pt x="649" y="1164"/>
                  </a:lnTo>
                  <a:lnTo>
                    <a:pt x="647" y="1166"/>
                  </a:lnTo>
                  <a:lnTo>
                    <a:pt x="647" y="1168"/>
                  </a:lnTo>
                  <a:lnTo>
                    <a:pt x="644" y="1169"/>
                  </a:lnTo>
                  <a:lnTo>
                    <a:pt x="644" y="1171"/>
                  </a:lnTo>
                  <a:lnTo>
                    <a:pt x="641" y="1172"/>
                  </a:lnTo>
                  <a:lnTo>
                    <a:pt x="641" y="1175"/>
                  </a:lnTo>
                  <a:lnTo>
                    <a:pt x="644" y="1177"/>
                  </a:lnTo>
                  <a:lnTo>
                    <a:pt x="646" y="1180"/>
                  </a:lnTo>
                  <a:lnTo>
                    <a:pt x="649" y="1183"/>
                  </a:lnTo>
                  <a:lnTo>
                    <a:pt x="658" y="1186"/>
                  </a:lnTo>
                  <a:lnTo>
                    <a:pt x="668" y="1191"/>
                  </a:lnTo>
                  <a:lnTo>
                    <a:pt x="681" y="1196"/>
                  </a:lnTo>
                  <a:lnTo>
                    <a:pt x="690" y="1199"/>
                  </a:lnTo>
                  <a:lnTo>
                    <a:pt x="695" y="1201"/>
                  </a:lnTo>
                  <a:lnTo>
                    <a:pt x="700" y="1201"/>
                  </a:lnTo>
                  <a:lnTo>
                    <a:pt x="703" y="1202"/>
                  </a:lnTo>
                  <a:lnTo>
                    <a:pt x="704" y="1202"/>
                  </a:lnTo>
                  <a:lnTo>
                    <a:pt x="707" y="1202"/>
                  </a:lnTo>
                  <a:lnTo>
                    <a:pt x="711" y="1201"/>
                  </a:lnTo>
                  <a:lnTo>
                    <a:pt x="714" y="1201"/>
                  </a:lnTo>
                  <a:lnTo>
                    <a:pt x="715" y="1201"/>
                  </a:lnTo>
                  <a:lnTo>
                    <a:pt x="718" y="1199"/>
                  </a:lnTo>
                  <a:lnTo>
                    <a:pt x="720" y="1197"/>
                  </a:lnTo>
                  <a:lnTo>
                    <a:pt x="723" y="1197"/>
                  </a:lnTo>
                  <a:lnTo>
                    <a:pt x="726" y="1197"/>
                  </a:lnTo>
                  <a:lnTo>
                    <a:pt x="730" y="1197"/>
                  </a:lnTo>
                  <a:lnTo>
                    <a:pt x="731" y="1197"/>
                  </a:lnTo>
                  <a:lnTo>
                    <a:pt x="734" y="1197"/>
                  </a:lnTo>
                  <a:lnTo>
                    <a:pt x="736" y="1199"/>
                  </a:lnTo>
                  <a:lnTo>
                    <a:pt x="742" y="1201"/>
                  </a:lnTo>
                  <a:lnTo>
                    <a:pt x="747" y="1204"/>
                  </a:lnTo>
                  <a:lnTo>
                    <a:pt x="752" y="1205"/>
                  </a:lnTo>
                  <a:lnTo>
                    <a:pt x="756" y="1205"/>
                  </a:lnTo>
                  <a:lnTo>
                    <a:pt x="758" y="1207"/>
                  </a:lnTo>
                  <a:lnTo>
                    <a:pt x="761" y="1207"/>
                  </a:lnTo>
                  <a:lnTo>
                    <a:pt x="764" y="1207"/>
                  </a:lnTo>
                  <a:lnTo>
                    <a:pt x="767" y="1205"/>
                  </a:lnTo>
                  <a:lnTo>
                    <a:pt x="774" y="1204"/>
                  </a:lnTo>
                  <a:lnTo>
                    <a:pt x="780" y="1201"/>
                  </a:lnTo>
                  <a:lnTo>
                    <a:pt x="785" y="1197"/>
                  </a:lnTo>
                  <a:lnTo>
                    <a:pt x="790" y="1193"/>
                  </a:lnTo>
                  <a:lnTo>
                    <a:pt x="793" y="1190"/>
                  </a:lnTo>
                  <a:lnTo>
                    <a:pt x="796" y="1185"/>
                  </a:lnTo>
                  <a:lnTo>
                    <a:pt x="799" y="1180"/>
                  </a:lnTo>
                  <a:lnTo>
                    <a:pt x="802" y="1175"/>
                  </a:lnTo>
                  <a:lnTo>
                    <a:pt x="813" y="1175"/>
                  </a:lnTo>
                  <a:lnTo>
                    <a:pt x="816" y="1169"/>
                  </a:lnTo>
                  <a:lnTo>
                    <a:pt x="818" y="1164"/>
                  </a:lnTo>
                  <a:lnTo>
                    <a:pt x="821" y="1160"/>
                  </a:lnTo>
                  <a:lnTo>
                    <a:pt x="823" y="1153"/>
                  </a:lnTo>
                  <a:lnTo>
                    <a:pt x="824" y="1149"/>
                  </a:lnTo>
                  <a:lnTo>
                    <a:pt x="826" y="1144"/>
                  </a:lnTo>
                  <a:lnTo>
                    <a:pt x="828" y="1139"/>
                  </a:lnTo>
                  <a:lnTo>
                    <a:pt x="831" y="1136"/>
                  </a:lnTo>
                  <a:lnTo>
                    <a:pt x="832" y="1131"/>
                  </a:lnTo>
                  <a:lnTo>
                    <a:pt x="834" y="1130"/>
                  </a:lnTo>
                  <a:lnTo>
                    <a:pt x="837" y="1127"/>
                  </a:lnTo>
                  <a:lnTo>
                    <a:pt x="839" y="1125"/>
                  </a:lnTo>
                  <a:lnTo>
                    <a:pt x="843" y="1123"/>
                  </a:lnTo>
                  <a:lnTo>
                    <a:pt x="850" y="1120"/>
                  </a:lnTo>
                  <a:lnTo>
                    <a:pt x="856" y="1119"/>
                  </a:lnTo>
                  <a:lnTo>
                    <a:pt x="861" y="1115"/>
                  </a:lnTo>
                  <a:lnTo>
                    <a:pt x="862" y="1114"/>
                  </a:lnTo>
                  <a:lnTo>
                    <a:pt x="865" y="1112"/>
                  </a:lnTo>
                  <a:lnTo>
                    <a:pt x="867" y="1111"/>
                  </a:lnTo>
                  <a:lnTo>
                    <a:pt x="870" y="1108"/>
                  </a:lnTo>
                  <a:lnTo>
                    <a:pt x="872" y="1103"/>
                  </a:lnTo>
                  <a:lnTo>
                    <a:pt x="875" y="1098"/>
                  </a:lnTo>
                  <a:lnTo>
                    <a:pt x="876" y="1093"/>
                  </a:lnTo>
                  <a:lnTo>
                    <a:pt x="878" y="1089"/>
                  </a:lnTo>
                  <a:lnTo>
                    <a:pt x="883" y="1074"/>
                  </a:lnTo>
                  <a:lnTo>
                    <a:pt x="888" y="1062"/>
                  </a:lnTo>
                  <a:lnTo>
                    <a:pt x="891" y="1056"/>
                  </a:lnTo>
                  <a:lnTo>
                    <a:pt x="892" y="1049"/>
                  </a:lnTo>
                  <a:lnTo>
                    <a:pt x="895" y="1044"/>
                  </a:lnTo>
                  <a:lnTo>
                    <a:pt x="900" y="1040"/>
                  </a:lnTo>
                  <a:lnTo>
                    <a:pt x="902" y="1038"/>
                  </a:lnTo>
                  <a:lnTo>
                    <a:pt x="903" y="1037"/>
                  </a:lnTo>
                  <a:lnTo>
                    <a:pt x="905" y="1035"/>
                  </a:lnTo>
                  <a:lnTo>
                    <a:pt x="908" y="1033"/>
                  </a:lnTo>
                  <a:lnTo>
                    <a:pt x="911" y="1032"/>
                  </a:lnTo>
                  <a:lnTo>
                    <a:pt x="913" y="1032"/>
                  </a:lnTo>
                  <a:lnTo>
                    <a:pt x="916" y="1032"/>
                  </a:lnTo>
                  <a:lnTo>
                    <a:pt x="918" y="1032"/>
                  </a:lnTo>
                  <a:lnTo>
                    <a:pt x="924" y="1032"/>
                  </a:lnTo>
                  <a:lnTo>
                    <a:pt x="929" y="1032"/>
                  </a:lnTo>
                  <a:lnTo>
                    <a:pt x="932" y="1033"/>
                  </a:lnTo>
                  <a:lnTo>
                    <a:pt x="937" y="1035"/>
                  </a:lnTo>
                  <a:lnTo>
                    <a:pt x="944" y="1038"/>
                  </a:lnTo>
                  <a:lnTo>
                    <a:pt x="951" y="1040"/>
                  </a:lnTo>
                  <a:lnTo>
                    <a:pt x="982" y="1040"/>
                  </a:lnTo>
                  <a:lnTo>
                    <a:pt x="987" y="1044"/>
                  </a:lnTo>
                  <a:lnTo>
                    <a:pt x="992" y="1048"/>
                  </a:lnTo>
                  <a:lnTo>
                    <a:pt x="998" y="1049"/>
                  </a:lnTo>
                  <a:lnTo>
                    <a:pt x="1003" y="1051"/>
                  </a:lnTo>
                  <a:lnTo>
                    <a:pt x="1009" y="1052"/>
                  </a:lnTo>
                  <a:lnTo>
                    <a:pt x="1016" y="1052"/>
                  </a:lnTo>
                  <a:lnTo>
                    <a:pt x="1022" y="1052"/>
                  </a:lnTo>
                  <a:lnTo>
                    <a:pt x="1028" y="1052"/>
                  </a:lnTo>
                  <a:lnTo>
                    <a:pt x="1033" y="1052"/>
                  </a:lnTo>
                  <a:lnTo>
                    <a:pt x="1039" y="1054"/>
                  </a:lnTo>
                  <a:lnTo>
                    <a:pt x="1044" y="1056"/>
                  </a:lnTo>
                  <a:lnTo>
                    <a:pt x="1047" y="1057"/>
                  </a:lnTo>
                  <a:lnTo>
                    <a:pt x="1050" y="1059"/>
                  </a:lnTo>
                  <a:lnTo>
                    <a:pt x="1053" y="1060"/>
                  </a:lnTo>
                  <a:lnTo>
                    <a:pt x="1057" y="1062"/>
                  </a:lnTo>
                  <a:lnTo>
                    <a:pt x="1060" y="1065"/>
                  </a:lnTo>
                  <a:lnTo>
                    <a:pt x="1066" y="1068"/>
                  </a:lnTo>
                  <a:lnTo>
                    <a:pt x="1072" y="1073"/>
                  </a:lnTo>
                  <a:lnTo>
                    <a:pt x="1076" y="1073"/>
                  </a:lnTo>
                  <a:lnTo>
                    <a:pt x="1080" y="1074"/>
                  </a:lnTo>
                  <a:lnTo>
                    <a:pt x="1085" y="1076"/>
                  </a:lnTo>
                  <a:lnTo>
                    <a:pt x="1088" y="1076"/>
                  </a:lnTo>
                  <a:lnTo>
                    <a:pt x="1091" y="1076"/>
                  </a:lnTo>
                  <a:lnTo>
                    <a:pt x="1095" y="1074"/>
                  </a:lnTo>
                  <a:lnTo>
                    <a:pt x="1098" y="1073"/>
                  </a:lnTo>
                  <a:lnTo>
                    <a:pt x="1101" y="1071"/>
                  </a:lnTo>
                  <a:lnTo>
                    <a:pt x="1106" y="1067"/>
                  </a:lnTo>
                  <a:lnTo>
                    <a:pt x="1110" y="1062"/>
                  </a:lnTo>
                  <a:lnTo>
                    <a:pt x="1113" y="1059"/>
                  </a:lnTo>
                  <a:lnTo>
                    <a:pt x="1115" y="1057"/>
                  </a:lnTo>
                  <a:lnTo>
                    <a:pt x="1118" y="1054"/>
                  </a:lnTo>
                  <a:lnTo>
                    <a:pt x="1121" y="1052"/>
                  </a:lnTo>
                  <a:lnTo>
                    <a:pt x="1126" y="1051"/>
                  </a:lnTo>
                  <a:lnTo>
                    <a:pt x="1129" y="1049"/>
                  </a:lnTo>
                  <a:lnTo>
                    <a:pt x="1134" y="1048"/>
                  </a:lnTo>
                  <a:lnTo>
                    <a:pt x="1139" y="1048"/>
                  </a:lnTo>
                  <a:lnTo>
                    <a:pt x="1142" y="1048"/>
                  </a:lnTo>
                  <a:lnTo>
                    <a:pt x="1143" y="1049"/>
                  </a:lnTo>
                  <a:lnTo>
                    <a:pt x="1147" y="1051"/>
                  </a:lnTo>
                  <a:lnTo>
                    <a:pt x="1150" y="1052"/>
                  </a:lnTo>
                  <a:lnTo>
                    <a:pt x="1153" y="1056"/>
                  </a:lnTo>
                  <a:lnTo>
                    <a:pt x="1156" y="1059"/>
                  </a:lnTo>
                  <a:lnTo>
                    <a:pt x="1161" y="1062"/>
                  </a:lnTo>
                  <a:lnTo>
                    <a:pt x="1162" y="1062"/>
                  </a:lnTo>
                  <a:lnTo>
                    <a:pt x="1164" y="1063"/>
                  </a:lnTo>
                  <a:lnTo>
                    <a:pt x="1167" y="1065"/>
                  </a:lnTo>
                  <a:lnTo>
                    <a:pt x="1169" y="1065"/>
                  </a:lnTo>
                  <a:lnTo>
                    <a:pt x="1169" y="1062"/>
                  </a:lnTo>
                  <a:lnTo>
                    <a:pt x="1170" y="1059"/>
                  </a:lnTo>
                  <a:lnTo>
                    <a:pt x="1170" y="1057"/>
                  </a:lnTo>
                  <a:lnTo>
                    <a:pt x="1172" y="1056"/>
                  </a:lnTo>
                  <a:lnTo>
                    <a:pt x="1174" y="1052"/>
                  </a:lnTo>
                  <a:lnTo>
                    <a:pt x="1175" y="1051"/>
                  </a:lnTo>
                  <a:lnTo>
                    <a:pt x="1177" y="1049"/>
                  </a:lnTo>
                  <a:lnTo>
                    <a:pt x="1180" y="1048"/>
                  </a:lnTo>
                  <a:lnTo>
                    <a:pt x="1185" y="1044"/>
                  </a:lnTo>
                  <a:lnTo>
                    <a:pt x="1189" y="1043"/>
                  </a:lnTo>
                  <a:lnTo>
                    <a:pt x="1196" y="1041"/>
                  </a:lnTo>
                  <a:lnTo>
                    <a:pt x="1202" y="1038"/>
                  </a:lnTo>
                  <a:lnTo>
                    <a:pt x="1208" y="1037"/>
                  </a:lnTo>
                  <a:lnTo>
                    <a:pt x="1213" y="1035"/>
                  </a:lnTo>
                  <a:lnTo>
                    <a:pt x="1215" y="1033"/>
                  </a:lnTo>
                  <a:lnTo>
                    <a:pt x="1218" y="1032"/>
                  </a:lnTo>
                  <a:lnTo>
                    <a:pt x="1221" y="1030"/>
                  </a:lnTo>
                  <a:lnTo>
                    <a:pt x="1222" y="1029"/>
                  </a:lnTo>
                  <a:lnTo>
                    <a:pt x="1224" y="1027"/>
                  </a:lnTo>
                  <a:lnTo>
                    <a:pt x="1226" y="1024"/>
                  </a:lnTo>
                  <a:lnTo>
                    <a:pt x="1227" y="1022"/>
                  </a:lnTo>
                  <a:lnTo>
                    <a:pt x="1229" y="1019"/>
                  </a:lnTo>
                  <a:lnTo>
                    <a:pt x="1229" y="1016"/>
                  </a:lnTo>
                  <a:lnTo>
                    <a:pt x="1229" y="1015"/>
                  </a:lnTo>
                  <a:lnTo>
                    <a:pt x="1229" y="1010"/>
                  </a:lnTo>
                  <a:lnTo>
                    <a:pt x="1229" y="1007"/>
                  </a:lnTo>
                  <a:lnTo>
                    <a:pt x="1224" y="1007"/>
                  </a:lnTo>
                  <a:lnTo>
                    <a:pt x="1218" y="1005"/>
                  </a:lnTo>
                  <a:lnTo>
                    <a:pt x="1215" y="1003"/>
                  </a:lnTo>
                  <a:lnTo>
                    <a:pt x="1210" y="1002"/>
                  </a:lnTo>
                  <a:lnTo>
                    <a:pt x="1205" y="999"/>
                  </a:lnTo>
                  <a:lnTo>
                    <a:pt x="1200" y="996"/>
                  </a:lnTo>
                  <a:lnTo>
                    <a:pt x="1197" y="994"/>
                  </a:lnTo>
                  <a:lnTo>
                    <a:pt x="1194" y="989"/>
                  </a:lnTo>
                  <a:lnTo>
                    <a:pt x="1192" y="986"/>
                  </a:lnTo>
                  <a:lnTo>
                    <a:pt x="1189" y="981"/>
                  </a:lnTo>
                  <a:lnTo>
                    <a:pt x="1188" y="975"/>
                  </a:lnTo>
                  <a:lnTo>
                    <a:pt x="1185" y="970"/>
                  </a:lnTo>
                  <a:lnTo>
                    <a:pt x="1185" y="966"/>
                  </a:lnTo>
                  <a:lnTo>
                    <a:pt x="1183" y="961"/>
                  </a:lnTo>
                  <a:lnTo>
                    <a:pt x="1181" y="955"/>
                  </a:lnTo>
                  <a:lnTo>
                    <a:pt x="1181" y="950"/>
                  </a:lnTo>
                  <a:close/>
                  <a:moveTo>
                    <a:pt x="1181" y="950"/>
                  </a:moveTo>
                  <a:lnTo>
                    <a:pt x="1181" y="950"/>
                  </a:lnTo>
                  <a:close/>
                  <a:moveTo>
                    <a:pt x="1004" y="49"/>
                  </a:moveTo>
                  <a:lnTo>
                    <a:pt x="1004" y="59"/>
                  </a:lnTo>
                  <a:lnTo>
                    <a:pt x="1006" y="60"/>
                  </a:lnTo>
                  <a:lnTo>
                    <a:pt x="1008" y="62"/>
                  </a:lnTo>
                  <a:lnTo>
                    <a:pt x="1011" y="62"/>
                  </a:lnTo>
                  <a:lnTo>
                    <a:pt x="1012" y="62"/>
                  </a:lnTo>
                  <a:lnTo>
                    <a:pt x="1016" y="60"/>
                  </a:lnTo>
                  <a:lnTo>
                    <a:pt x="1019" y="59"/>
                  </a:lnTo>
                  <a:lnTo>
                    <a:pt x="1020" y="57"/>
                  </a:lnTo>
                  <a:lnTo>
                    <a:pt x="1022" y="56"/>
                  </a:lnTo>
                  <a:lnTo>
                    <a:pt x="1022" y="54"/>
                  </a:lnTo>
                  <a:lnTo>
                    <a:pt x="1019" y="54"/>
                  </a:lnTo>
                  <a:lnTo>
                    <a:pt x="1017" y="54"/>
                  </a:lnTo>
                  <a:lnTo>
                    <a:pt x="1014" y="52"/>
                  </a:lnTo>
                  <a:lnTo>
                    <a:pt x="1012" y="52"/>
                  </a:lnTo>
                  <a:lnTo>
                    <a:pt x="1008" y="51"/>
                  </a:lnTo>
                  <a:lnTo>
                    <a:pt x="1004" y="49"/>
                  </a:lnTo>
                  <a:close/>
                  <a:moveTo>
                    <a:pt x="946" y="10"/>
                  </a:moveTo>
                  <a:lnTo>
                    <a:pt x="946" y="0"/>
                  </a:lnTo>
                  <a:lnTo>
                    <a:pt x="940" y="0"/>
                  </a:lnTo>
                  <a:lnTo>
                    <a:pt x="935" y="0"/>
                  </a:lnTo>
                  <a:lnTo>
                    <a:pt x="932" y="0"/>
                  </a:lnTo>
                  <a:lnTo>
                    <a:pt x="927" y="0"/>
                  </a:lnTo>
                  <a:lnTo>
                    <a:pt x="924" y="2"/>
                  </a:lnTo>
                  <a:lnTo>
                    <a:pt x="919" y="5"/>
                  </a:lnTo>
                  <a:lnTo>
                    <a:pt x="918" y="7"/>
                  </a:lnTo>
                  <a:lnTo>
                    <a:pt x="916" y="8"/>
                  </a:lnTo>
                  <a:lnTo>
                    <a:pt x="914" y="10"/>
                  </a:lnTo>
                  <a:lnTo>
                    <a:pt x="913" y="11"/>
                  </a:lnTo>
                  <a:lnTo>
                    <a:pt x="911" y="13"/>
                  </a:lnTo>
                  <a:lnTo>
                    <a:pt x="911" y="16"/>
                  </a:lnTo>
                  <a:lnTo>
                    <a:pt x="911" y="18"/>
                  </a:lnTo>
                  <a:lnTo>
                    <a:pt x="911" y="21"/>
                  </a:lnTo>
                  <a:lnTo>
                    <a:pt x="911" y="22"/>
                  </a:lnTo>
                  <a:lnTo>
                    <a:pt x="911" y="26"/>
                  </a:lnTo>
                  <a:lnTo>
                    <a:pt x="913" y="26"/>
                  </a:lnTo>
                  <a:lnTo>
                    <a:pt x="916" y="29"/>
                  </a:lnTo>
                  <a:lnTo>
                    <a:pt x="918" y="29"/>
                  </a:lnTo>
                  <a:lnTo>
                    <a:pt x="921" y="29"/>
                  </a:lnTo>
                  <a:lnTo>
                    <a:pt x="922" y="30"/>
                  </a:lnTo>
                  <a:lnTo>
                    <a:pt x="924" y="30"/>
                  </a:lnTo>
                  <a:lnTo>
                    <a:pt x="932" y="30"/>
                  </a:lnTo>
                  <a:lnTo>
                    <a:pt x="938" y="29"/>
                  </a:lnTo>
                  <a:lnTo>
                    <a:pt x="941" y="29"/>
                  </a:lnTo>
                  <a:lnTo>
                    <a:pt x="944" y="29"/>
                  </a:lnTo>
                  <a:lnTo>
                    <a:pt x="949" y="29"/>
                  </a:lnTo>
                  <a:lnTo>
                    <a:pt x="952" y="30"/>
                  </a:lnTo>
                  <a:lnTo>
                    <a:pt x="952" y="21"/>
                  </a:lnTo>
                  <a:lnTo>
                    <a:pt x="949" y="21"/>
                  </a:lnTo>
                  <a:lnTo>
                    <a:pt x="946" y="19"/>
                  </a:lnTo>
                  <a:lnTo>
                    <a:pt x="944" y="19"/>
                  </a:lnTo>
                  <a:lnTo>
                    <a:pt x="943" y="18"/>
                  </a:lnTo>
                  <a:lnTo>
                    <a:pt x="941" y="16"/>
                  </a:lnTo>
                  <a:lnTo>
                    <a:pt x="944" y="16"/>
                  </a:lnTo>
                  <a:lnTo>
                    <a:pt x="944" y="13"/>
                  </a:lnTo>
                  <a:lnTo>
                    <a:pt x="946" y="10"/>
                  </a:lnTo>
                  <a:close/>
                  <a:moveTo>
                    <a:pt x="1076" y="109"/>
                  </a:moveTo>
                  <a:lnTo>
                    <a:pt x="1074" y="109"/>
                  </a:lnTo>
                  <a:lnTo>
                    <a:pt x="1074" y="112"/>
                  </a:lnTo>
                  <a:lnTo>
                    <a:pt x="1072" y="112"/>
                  </a:lnTo>
                  <a:lnTo>
                    <a:pt x="1072" y="114"/>
                  </a:lnTo>
                  <a:lnTo>
                    <a:pt x="1069" y="115"/>
                  </a:lnTo>
                  <a:lnTo>
                    <a:pt x="1065" y="117"/>
                  </a:lnTo>
                  <a:lnTo>
                    <a:pt x="1061" y="119"/>
                  </a:lnTo>
                  <a:lnTo>
                    <a:pt x="1058" y="120"/>
                  </a:lnTo>
                  <a:lnTo>
                    <a:pt x="1057" y="122"/>
                  </a:lnTo>
                  <a:lnTo>
                    <a:pt x="1057" y="123"/>
                  </a:lnTo>
                  <a:lnTo>
                    <a:pt x="1055" y="123"/>
                  </a:lnTo>
                  <a:lnTo>
                    <a:pt x="1055" y="125"/>
                  </a:lnTo>
                  <a:lnTo>
                    <a:pt x="1055" y="128"/>
                  </a:lnTo>
                  <a:lnTo>
                    <a:pt x="1057" y="130"/>
                  </a:lnTo>
                  <a:lnTo>
                    <a:pt x="1058" y="131"/>
                  </a:lnTo>
                  <a:lnTo>
                    <a:pt x="1060" y="133"/>
                  </a:lnTo>
                  <a:lnTo>
                    <a:pt x="1061" y="133"/>
                  </a:lnTo>
                  <a:lnTo>
                    <a:pt x="1063" y="133"/>
                  </a:lnTo>
                  <a:lnTo>
                    <a:pt x="1065" y="133"/>
                  </a:lnTo>
                  <a:lnTo>
                    <a:pt x="1066" y="133"/>
                  </a:lnTo>
                  <a:lnTo>
                    <a:pt x="1071" y="131"/>
                  </a:lnTo>
                  <a:lnTo>
                    <a:pt x="1076" y="130"/>
                  </a:lnTo>
                  <a:lnTo>
                    <a:pt x="1080" y="126"/>
                  </a:lnTo>
                  <a:lnTo>
                    <a:pt x="1085" y="125"/>
                  </a:lnTo>
                  <a:lnTo>
                    <a:pt x="1088" y="122"/>
                  </a:lnTo>
                  <a:lnTo>
                    <a:pt x="1090" y="120"/>
                  </a:lnTo>
                  <a:lnTo>
                    <a:pt x="1093" y="117"/>
                  </a:lnTo>
                  <a:lnTo>
                    <a:pt x="1093" y="115"/>
                  </a:lnTo>
                  <a:lnTo>
                    <a:pt x="1093" y="114"/>
                  </a:lnTo>
                  <a:lnTo>
                    <a:pt x="1091" y="112"/>
                  </a:lnTo>
                  <a:lnTo>
                    <a:pt x="1088" y="112"/>
                  </a:lnTo>
                  <a:lnTo>
                    <a:pt x="1087" y="111"/>
                  </a:lnTo>
                  <a:lnTo>
                    <a:pt x="1083" y="109"/>
                  </a:lnTo>
                  <a:lnTo>
                    <a:pt x="1080" y="109"/>
                  </a:lnTo>
                  <a:lnTo>
                    <a:pt x="1079" y="109"/>
                  </a:lnTo>
                  <a:lnTo>
                    <a:pt x="1076" y="109"/>
                  </a:lnTo>
                  <a:close/>
                </a:path>
              </a:pathLst>
            </a:custGeom>
            <a:solidFill>
              <a:srgbClr val="0070C0">
                <a:alpha val="10000"/>
              </a:srgbClr>
            </a:solidFill>
            <a:ln w="9525">
              <a:solidFill>
                <a:srgbClr val="FFFFFF">
                  <a:alpha val="0"/>
                </a:srgbClr>
              </a:solidFill>
              <a:round/>
              <a:headEnd/>
              <a:tailEnd/>
            </a:ln>
          </p:spPr>
          <p:txBody>
            <a:bodyPr lIns="91413" tIns="45707" rIns="91413" bIns="45707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372">
                <a:defRPr/>
              </a:pPr>
              <a:endParaRPr lang="ru-RU" sz="1700" dirty="0">
                <a:solidFill>
                  <a:srgbClr val="C7E0FB"/>
                </a:solidFill>
                <a:latin typeface="Arial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ACE00C9C-BEB5-4EBE-B64E-29116E2DBA63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 rot="389746">
              <a:off x="13605595" y="2762971"/>
              <a:ext cx="6504856" cy="7844200"/>
            </a:xfrm>
            <a:custGeom>
              <a:avLst/>
              <a:gdLst>
                <a:gd name="T0" fmla="*/ 2147483647 w 2367"/>
                <a:gd name="T1" fmla="*/ 2147483647 h 3110"/>
                <a:gd name="T2" fmla="*/ 2147483647 w 2367"/>
                <a:gd name="T3" fmla="*/ 2147483647 h 3110"/>
                <a:gd name="T4" fmla="*/ 2147483647 w 2367"/>
                <a:gd name="T5" fmla="*/ 2147483647 h 3110"/>
                <a:gd name="T6" fmla="*/ 2147483647 w 2367"/>
                <a:gd name="T7" fmla="*/ 2147483647 h 3110"/>
                <a:gd name="T8" fmla="*/ 2147483647 w 2367"/>
                <a:gd name="T9" fmla="*/ 2147483647 h 3110"/>
                <a:gd name="T10" fmla="*/ 2147483647 w 2367"/>
                <a:gd name="T11" fmla="*/ 2147483647 h 3110"/>
                <a:gd name="T12" fmla="*/ 2147483647 w 2367"/>
                <a:gd name="T13" fmla="*/ 2147483647 h 3110"/>
                <a:gd name="T14" fmla="*/ 2147483647 w 2367"/>
                <a:gd name="T15" fmla="*/ 2147483647 h 3110"/>
                <a:gd name="T16" fmla="*/ 2147483647 w 2367"/>
                <a:gd name="T17" fmla="*/ 2147483647 h 3110"/>
                <a:gd name="T18" fmla="*/ 2147483647 w 2367"/>
                <a:gd name="T19" fmla="*/ 2147483647 h 3110"/>
                <a:gd name="T20" fmla="*/ 2147483647 w 2367"/>
                <a:gd name="T21" fmla="*/ 2147483647 h 3110"/>
                <a:gd name="T22" fmla="*/ 2147483647 w 2367"/>
                <a:gd name="T23" fmla="*/ 2147483647 h 3110"/>
                <a:gd name="T24" fmla="*/ 2147483647 w 2367"/>
                <a:gd name="T25" fmla="*/ 2147483647 h 3110"/>
                <a:gd name="T26" fmla="*/ 2147483647 w 2367"/>
                <a:gd name="T27" fmla="*/ 2147483647 h 3110"/>
                <a:gd name="T28" fmla="*/ 2147483647 w 2367"/>
                <a:gd name="T29" fmla="*/ 2147483647 h 3110"/>
                <a:gd name="T30" fmla="*/ 2147483647 w 2367"/>
                <a:gd name="T31" fmla="*/ 2147483647 h 3110"/>
                <a:gd name="T32" fmla="*/ 2147483647 w 2367"/>
                <a:gd name="T33" fmla="*/ 2147483647 h 3110"/>
                <a:gd name="T34" fmla="*/ 2147483647 w 2367"/>
                <a:gd name="T35" fmla="*/ 2147483647 h 3110"/>
                <a:gd name="T36" fmla="*/ 2147483647 w 2367"/>
                <a:gd name="T37" fmla="*/ 2147483647 h 3110"/>
                <a:gd name="T38" fmla="*/ 2147483647 w 2367"/>
                <a:gd name="T39" fmla="*/ 2147483647 h 3110"/>
                <a:gd name="T40" fmla="*/ 2147483647 w 2367"/>
                <a:gd name="T41" fmla="*/ 2147483647 h 3110"/>
                <a:gd name="T42" fmla="*/ 2147483647 w 2367"/>
                <a:gd name="T43" fmla="*/ 2147483647 h 3110"/>
                <a:gd name="T44" fmla="*/ 2147483647 w 2367"/>
                <a:gd name="T45" fmla="*/ 2147483647 h 3110"/>
                <a:gd name="T46" fmla="*/ 2147483647 w 2367"/>
                <a:gd name="T47" fmla="*/ 2147483647 h 3110"/>
                <a:gd name="T48" fmla="*/ 2147483647 w 2367"/>
                <a:gd name="T49" fmla="*/ 2147483647 h 3110"/>
                <a:gd name="T50" fmla="*/ 2147483647 w 2367"/>
                <a:gd name="T51" fmla="*/ 2147483647 h 3110"/>
                <a:gd name="T52" fmla="*/ 2147483647 w 2367"/>
                <a:gd name="T53" fmla="*/ 2147483647 h 3110"/>
                <a:gd name="T54" fmla="*/ 2147483647 w 2367"/>
                <a:gd name="T55" fmla="*/ 2147483647 h 3110"/>
                <a:gd name="T56" fmla="*/ 2147483647 w 2367"/>
                <a:gd name="T57" fmla="*/ 2147483647 h 3110"/>
                <a:gd name="T58" fmla="*/ 2147483647 w 2367"/>
                <a:gd name="T59" fmla="*/ 2147483647 h 3110"/>
                <a:gd name="T60" fmla="*/ 2147483647 w 2367"/>
                <a:gd name="T61" fmla="*/ 2147483647 h 3110"/>
                <a:gd name="T62" fmla="*/ 2147483647 w 2367"/>
                <a:gd name="T63" fmla="*/ 2147483647 h 3110"/>
                <a:gd name="T64" fmla="*/ 2147483647 w 2367"/>
                <a:gd name="T65" fmla="*/ 2147483647 h 3110"/>
                <a:gd name="T66" fmla="*/ 2147483647 w 2367"/>
                <a:gd name="T67" fmla="*/ 2147483647 h 3110"/>
                <a:gd name="T68" fmla="*/ 2147483647 w 2367"/>
                <a:gd name="T69" fmla="*/ 2147483647 h 3110"/>
                <a:gd name="T70" fmla="*/ 2147483647 w 2367"/>
                <a:gd name="T71" fmla="*/ 2147483647 h 3110"/>
                <a:gd name="T72" fmla="*/ 2147483647 w 2367"/>
                <a:gd name="T73" fmla="*/ 2147483647 h 3110"/>
                <a:gd name="T74" fmla="*/ 2147483647 w 2367"/>
                <a:gd name="T75" fmla="*/ 2147483647 h 3110"/>
                <a:gd name="T76" fmla="*/ 2147483647 w 2367"/>
                <a:gd name="T77" fmla="*/ 2147483647 h 3110"/>
                <a:gd name="T78" fmla="*/ 2147483647 w 2367"/>
                <a:gd name="T79" fmla="*/ 2147483647 h 3110"/>
                <a:gd name="T80" fmla="*/ 2147483647 w 2367"/>
                <a:gd name="T81" fmla="*/ 2147483647 h 3110"/>
                <a:gd name="T82" fmla="*/ 2147483647 w 2367"/>
                <a:gd name="T83" fmla="*/ 2147483647 h 3110"/>
                <a:gd name="T84" fmla="*/ 2147483647 w 2367"/>
                <a:gd name="T85" fmla="*/ 2147483647 h 3110"/>
                <a:gd name="T86" fmla="*/ 2147483647 w 2367"/>
                <a:gd name="T87" fmla="*/ 2147483647 h 3110"/>
                <a:gd name="T88" fmla="*/ 2147483647 w 2367"/>
                <a:gd name="T89" fmla="*/ 2147483647 h 3110"/>
                <a:gd name="T90" fmla="*/ 2147483647 w 2367"/>
                <a:gd name="T91" fmla="*/ 2147483647 h 3110"/>
                <a:gd name="T92" fmla="*/ 2147483647 w 2367"/>
                <a:gd name="T93" fmla="*/ 2147483647 h 3110"/>
                <a:gd name="T94" fmla="*/ 2147483647 w 2367"/>
                <a:gd name="T95" fmla="*/ 2147483647 h 3110"/>
                <a:gd name="T96" fmla="*/ 2147483647 w 2367"/>
                <a:gd name="T97" fmla="*/ 2147483647 h 3110"/>
                <a:gd name="T98" fmla="*/ 2147483647 w 2367"/>
                <a:gd name="T99" fmla="*/ 2147483647 h 3110"/>
                <a:gd name="T100" fmla="*/ 2147483647 w 2367"/>
                <a:gd name="T101" fmla="*/ 2147483647 h 3110"/>
                <a:gd name="T102" fmla="*/ 2147483647 w 2367"/>
                <a:gd name="T103" fmla="*/ 2147483647 h 3110"/>
                <a:gd name="T104" fmla="*/ 2147483647 w 2367"/>
                <a:gd name="T105" fmla="*/ 2147483647 h 3110"/>
                <a:gd name="T106" fmla="*/ 2147483647 w 2367"/>
                <a:gd name="T107" fmla="*/ 2147483647 h 3110"/>
                <a:gd name="T108" fmla="*/ 2147483647 w 2367"/>
                <a:gd name="T109" fmla="*/ 2147483647 h 3110"/>
                <a:gd name="T110" fmla="*/ 2147483647 w 2367"/>
                <a:gd name="T111" fmla="*/ 2147483647 h 3110"/>
                <a:gd name="T112" fmla="*/ 2147483647 w 2367"/>
                <a:gd name="T113" fmla="*/ 2147483647 h 3110"/>
                <a:gd name="T114" fmla="*/ 2147483647 w 2367"/>
                <a:gd name="T115" fmla="*/ 2147483647 h 3110"/>
                <a:gd name="T116" fmla="*/ 2147483647 w 2367"/>
                <a:gd name="T117" fmla="*/ 2147483647 h 3110"/>
                <a:gd name="T118" fmla="*/ 2147483647 w 2367"/>
                <a:gd name="T119" fmla="*/ 2147483647 h 3110"/>
                <a:gd name="T120" fmla="*/ 2147483647 w 2367"/>
                <a:gd name="T121" fmla="*/ 2147483647 h 3110"/>
                <a:gd name="T122" fmla="*/ 2147483647 w 2367"/>
                <a:gd name="T123" fmla="*/ 2147483647 h 3110"/>
                <a:gd name="T124" fmla="*/ 2147483647 w 2367"/>
                <a:gd name="T125" fmla="*/ 2147483647 h 311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367"/>
                <a:gd name="T190" fmla="*/ 0 h 3110"/>
                <a:gd name="T191" fmla="*/ 2367 w 2367"/>
                <a:gd name="T192" fmla="*/ 3110 h 311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367" h="3110">
                  <a:moveTo>
                    <a:pt x="1422" y="2128"/>
                  </a:moveTo>
                  <a:lnTo>
                    <a:pt x="1424" y="2126"/>
                  </a:lnTo>
                  <a:lnTo>
                    <a:pt x="1427" y="2126"/>
                  </a:lnTo>
                  <a:lnTo>
                    <a:pt x="1428" y="2126"/>
                  </a:lnTo>
                  <a:lnTo>
                    <a:pt x="1431" y="2126"/>
                  </a:lnTo>
                  <a:lnTo>
                    <a:pt x="1433" y="2129"/>
                  </a:lnTo>
                  <a:lnTo>
                    <a:pt x="1436" y="2129"/>
                  </a:lnTo>
                  <a:lnTo>
                    <a:pt x="1436" y="2109"/>
                  </a:lnTo>
                  <a:lnTo>
                    <a:pt x="1431" y="2113"/>
                  </a:lnTo>
                  <a:lnTo>
                    <a:pt x="1428" y="2118"/>
                  </a:lnTo>
                  <a:lnTo>
                    <a:pt x="1425" y="2123"/>
                  </a:lnTo>
                  <a:lnTo>
                    <a:pt x="1422" y="2128"/>
                  </a:lnTo>
                  <a:close/>
                  <a:moveTo>
                    <a:pt x="1638" y="2601"/>
                  </a:moveTo>
                  <a:lnTo>
                    <a:pt x="1635" y="2604"/>
                  </a:lnTo>
                  <a:lnTo>
                    <a:pt x="1630" y="2609"/>
                  </a:lnTo>
                  <a:lnTo>
                    <a:pt x="1626" y="2620"/>
                  </a:lnTo>
                  <a:lnTo>
                    <a:pt x="1621" y="2632"/>
                  </a:lnTo>
                  <a:lnTo>
                    <a:pt x="1615" y="2643"/>
                  </a:lnTo>
                  <a:lnTo>
                    <a:pt x="1610" y="2655"/>
                  </a:lnTo>
                  <a:lnTo>
                    <a:pt x="1604" y="2667"/>
                  </a:lnTo>
                  <a:lnTo>
                    <a:pt x="1599" y="2678"/>
                  </a:lnTo>
                  <a:lnTo>
                    <a:pt x="1593" y="2688"/>
                  </a:lnTo>
                  <a:lnTo>
                    <a:pt x="1588" y="2697"/>
                  </a:lnTo>
                  <a:lnTo>
                    <a:pt x="1582" y="2705"/>
                  </a:lnTo>
                  <a:lnTo>
                    <a:pt x="1575" y="2713"/>
                  </a:lnTo>
                  <a:lnTo>
                    <a:pt x="1567" y="2719"/>
                  </a:lnTo>
                  <a:lnTo>
                    <a:pt x="1561" y="2727"/>
                  </a:lnTo>
                  <a:lnTo>
                    <a:pt x="1555" y="2732"/>
                  </a:lnTo>
                  <a:lnTo>
                    <a:pt x="1547" y="2737"/>
                  </a:lnTo>
                  <a:lnTo>
                    <a:pt x="1544" y="2740"/>
                  </a:lnTo>
                  <a:lnTo>
                    <a:pt x="1540" y="2741"/>
                  </a:lnTo>
                  <a:lnTo>
                    <a:pt x="1536" y="2743"/>
                  </a:lnTo>
                  <a:lnTo>
                    <a:pt x="1534" y="2744"/>
                  </a:lnTo>
                  <a:lnTo>
                    <a:pt x="1529" y="2744"/>
                  </a:lnTo>
                  <a:lnTo>
                    <a:pt x="1528" y="2746"/>
                  </a:lnTo>
                  <a:lnTo>
                    <a:pt x="1523" y="2746"/>
                  </a:lnTo>
                  <a:lnTo>
                    <a:pt x="1520" y="2746"/>
                  </a:lnTo>
                  <a:lnTo>
                    <a:pt x="1518" y="2746"/>
                  </a:lnTo>
                  <a:lnTo>
                    <a:pt x="1515" y="2744"/>
                  </a:lnTo>
                  <a:lnTo>
                    <a:pt x="1514" y="2744"/>
                  </a:lnTo>
                  <a:lnTo>
                    <a:pt x="1510" y="2743"/>
                  </a:lnTo>
                  <a:lnTo>
                    <a:pt x="1507" y="2741"/>
                  </a:lnTo>
                  <a:lnTo>
                    <a:pt x="1506" y="2740"/>
                  </a:lnTo>
                  <a:lnTo>
                    <a:pt x="1504" y="2737"/>
                  </a:lnTo>
                  <a:lnTo>
                    <a:pt x="1503" y="2733"/>
                  </a:lnTo>
                  <a:lnTo>
                    <a:pt x="1491" y="2711"/>
                  </a:lnTo>
                  <a:lnTo>
                    <a:pt x="1485" y="2696"/>
                  </a:lnTo>
                  <a:lnTo>
                    <a:pt x="1484" y="2694"/>
                  </a:lnTo>
                  <a:lnTo>
                    <a:pt x="1482" y="2692"/>
                  </a:lnTo>
                  <a:lnTo>
                    <a:pt x="1480" y="2691"/>
                  </a:lnTo>
                  <a:lnTo>
                    <a:pt x="1479" y="2688"/>
                  </a:lnTo>
                  <a:lnTo>
                    <a:pt x="1476" y="2688"/>
                  </a:lnTo>
                  <a:lnTo>
                    <a:pt x="1472" y="2686"/>
                  </a:lnTo>
                  <a:lnTo>
                    <a:pt x="1469" y="2686"/>
                  </a:lnTo>
                  <a:lnTo>
                    <a:pt x="1465" y="2684"/>
                  </a:lnTo>
                  <a:lnTo>
                    <a:pt x="1472" y="2669"/>
                  </a:lnTo>
                  <a:lnTo>
                    <a:pt x="1474" y="2664"/>
                  </a:lnTo>
                  <a:lnTo>
                    <a:pt x="1472" y="2667"/>
                  </a:lnTo>
                  <a:lnTo>
                    <a:pt x="1469" y="2678"/>
                  </a:lnTo>
                  <a:lnTo>
                    <a:pt x="1468" y="2681"/>
                  </a:lnTo>
                  <a:lnTo>
                    <a:pt x="1465" y="2684"/>
                  </a:lnTo>
                  <a:lnTo>
                    <a:pt x="1460" y="2684"/>
                  </a:lnTo>
                  <a:lnTo>
                    <a:pt x="1454" y="2684"/>
                  </a:lnTo>
                  <a:lnTo>
                    <a:pt x="1446" y="2684"/>
                  </a:lnTo>
                  <a:lnTo>
                    <a:pt x="1438" y="2683"/>
                  </a:lnTo>
                  <a:lnTo>
                    <a:pt x="1430" y="2683"/>
                  </a:lnTo>
                  <a:lnTo>
                    <a:pt x="1419" y="2683"/>
                  </a:lnTo>
                  <a:lnTo>
                    <a:pt x="1409" y="2683"/>
                  </a:lnTo>
                  <a:lnTo>
                    <a:pt x="1398" y="2683"/>
                  </a:lnTo>
                  <a:lnTo>
                    <a:pt x="1392" y="2683"/>
                  </a:lnTo>
                  <a:lnTo>
                    <a:pt x="1386" y="2684"/>
                  </a:lnTo>
                  <a:lnTo>
                    <a:pt x="1379" y="2686"/>
                  </a:lnTo>
                  <a:lnTo>
                    <a:pt x="1375" y="2688"/>
                  </a:lnTo>
                  <a:lnTo>
                    <a:pt x="1365" y="2694"/>
                  </a:lnTo>
                  <a:lnTo>
                    <a:pt x="1354" y="2700"/>
                  </a:lnTo>
                  <a:lnTo>
                    <a:pt x="1351" y="2703"/>
                  </a:lnTo>
                  <a:lnTo>
                    <a:pt x="1346" y="2707"/>
                  </a:lnTo>
                  <a:lnTo>
                    <a:pt x="1341" y="2708"/>
                  </a:lnTo>
                  <a:lnTo>
                    <a:pt x="1337" y="2710"/>
                  </a:lnTo>
                  <a:lnTo>
                    <a:pt x="1333" y="2711"/>
                  </a:lnTo>
                  <a:lnTo>
                    <a:pt x="1332" y="2711"/>
                  </a:lnTo>
                  <a:lnTo>
                    <a:pt x="1329" y="2711"/>
                  </a:lnTo>
                  <a:lnTo>
                    <a:pt x="1326" y="2711"/>
                  </a:lnTo>
                  <a:lnTo>
                    <a:pt x="1324" y="2711"/>
                  </a:lnTo>
                  <a:lnTo>
                    <a:pt x="1321" y="2711"/>
                  </a:lnTo>
                  <a:lnTo>
                    <a:pt x="1318" y="2710"/>
                  </a:lnTo>
                  <a:lnTo>
                    <a:pt x="1314" y="2708"/>
                  </a:lnTo>
                  <a:lnTo>
                    <a:pt x="1311" y="2707"/>
                  </a:lnTo>
                  <a:lnTo>
                    <a:pt x="1305" y="2703"/>
                  </a:lnTo>
                  <a:lnTo>
                    <a:pt x="1300" y="2700"/>
                  </a:lnTo>
                  <a:lnTo>
                    <a:pt x="1296" y="2696"/>
                  </a:lnTo>
                  <a:lnTo>
                    <a:pt x="1283" y="2686"/>
                  </a:lnTo>
                  <a:lnTo>
                    <a:pt x="1270" y="2673"/>
                  </a:lnTo>
                  <a:lnTo>
                    <a:pt x="1243" y="2645"/>
                  </a:lnTo>
                  <a:lnTo>
                    <a:pt x="1213" y="2613"/>
                  </a:lnTo>
                  <a:lnTo>
                    <a:pt x="1198" y="2599"/>
                  </a:lnTo>
                  <a:lnTo>
                    <a:pt x="1183" y="2584"/>
                  </a:lnTo>
                  <a:lnTo>
                    <a:pt x="1175" y="2576"/>
                  </a:lnTo>
                  <a:lnTo>
                    <a:pt x="1166" y="2569"/>
                  </a:lnTo>
                  <a:lnTo>
                    <a:pt x="1158" y="2563"/>
                  </a:lnTo>
                  <a:lnTo>
                    <a:pt x="1150" y="2557"/>
                  </a:lnTo>
                  <a:lnTo>
                    <a:pt x="1142" y="2550"/>
                  </a:lnTo>
                  <a:lnTo>
                    <a:pt x="1134" y="2546"/>
                  </a:lnTo>
                  <a:lnTo>
                    <a:pt x="1126" y="2541"/>
                  </a:lnTo>
                  <a:lnTo>
                    <a:pt x="1119" y="2538"/>
                  </a:lnTo>
                  <a:lnTo>
                    <a:pt x="1111" y="2533"/>
                  </a:lnTo>
                  <a:lnTo>
                    <a:pt x="1103" y="2531"/>
                  </a:lnTo>
                  <a:lnTo>
                    <a:pt x="1095" y="2530"/>
                  </a:lnTo>
                  <a:lnTo>
                    <a:pt x="1087" y="2527"/>
                  </a:lnTo>
                  <a:lnTo>
                    <a:pt x="1085" y="2527"/>
                  </a:lnTo>
                  <a:lnTo>
                    <a:pt x="1082" y="2527"/>
                  </a:lnTo>
                  <a:lnTo>
                    <a:pt x="1081" y="2528"/>
                  </a:lnTo>
                  <a:lnTo>
                    <a:pt x="1079" y="2530"/>
                  </a:lnTo>
                  <a:lnTo>
                    <a:pt x="1074" y="2531"/>
                  </a:lnTo>
                  <a:lnTo>
                    <a:pt x="1068" y="2535"/>
                  </a:lnTo>
                  <a:lnTo>
                    <a:pt x="1062" y="2535"/>
                  </a:lnTo>
                  <a:lnTo>
                    <a:pt x="1057" y="2538"/>
                  </a:lnTo>
                  <a:lnTo>
                    <a:pt x="1051" y="2538"/>
                  </a:lnTo>
                  <a:lnTo>
                    <a:pt x="1043" y="2539"/>
                  </a:lnTo>
                  <a:lnTo>
                    <a:pt x="1035" y="2541"/>
                  </a:lnTo>
                  <a:lnTo>
                    <a:pt x="1024" y="2543"/>
                  </a:lnTo>
                  <a:lnTo>
                    <a:pt x="1013" y="2544"/>
                  </a:lnTo>
                  <a:lnTo>
                    <a:pt x="999" y="2544"/>
                  </a:lnTo>
                  <a:lnTo>
                    <a:pt x="994" y="2546"/>
                  </a:lnTo>
                  <a:lnTo>
                    <a:pt x="987" y="2547"/>
                  </a:lnTo>
                  <a:lnTo>
                    <a:pt x="981" y="2550"/>
                  </a:lnTo>
                  <a:lnTo>
                    <a:pt x="973" y="2554"/>
                  </a:lnTo>
                  <a:lnTo>
                    <a:pt x="965" y="2558"/>
                  </a:lnTo>
                  <a:lnTo>
                    <a:pt x="957" y="2563"/>
                  </a:lnTo>
                  <a:lnTo>
                    <a:pt x="948" y="2568"/>
                  </a:lnTo>
                  <a:lnTo>
                    <a:pt x="940" y="2574"/>
                  </a:lnTo>
                  <a:lnTo>
                    <a:pt x="938" y="2572"/>
                  </a:lnTo>
                  <a:lnTo>
                    <a:pt x="935" y="2568"/>
                  </a:lnTo>
                  <a:lnTo>
                    <a:pt x="932" y="2563"/>
                  </a:lnTo>
                  <a:lnTo>
                    <a:pt x="931" y="2560"/>
                  </a:lnTo>
                  <a:lnTo>
                    <a:pt x="927" y="2558"/>
                  </a:lnTo>
                  <a:lnTo>
                    <a:pt x="924" y="2555"/>
                  </a:lnTo>
                  <a:lnTo>
                    <a:pt x="921" y="2554"/>
                  </a:lnTo>
                  <a:lnTo>
                    <a:pt x="920" y="2550"/>
                  </a:lnTo>
                  <a:lnTo>
                    <a:pt x="916" y="2549"/>
                  </a:lnTo>
                  <a:lnTo>
                    <a:pt x="915" y="2547"/>
                  </a:lnTo>
                  <a:lnTo>
                    <a:pt x="912" y="2541"/>
                  </a:lnTo>
                  <a:lnTo>
                    <a:pt x="905" y="2535"/>
                  </a:lnTo>
                  <a:lnTo>
                    <a:pt x="901" y="2531"/>
                  </a:lnTo>
                  <a:lnTo>
                    <a:pt x="899" y="2528"/>
                  </a:lnTo>
                  <a:lnTo>
                    <a:pt x="899" y="2527"/>
                  </a:lnTo>
                  <a:lnTo>
                    <a:pt x="897" y="2527"/>
                  </a:lnTo>
                  <a:lnTo>
                    <a:pt x="897" y="2525"/>
                  </a:lnTo>
                  <a:lnTo>
                    <a:pt x="897" y="2524"/>
                  </a:lnTo>
                  <a:lnTo>
                    <a:pt x="897" y="2522"/>
                  </a:lnTo>
                  <a:lnTo>
                    <a:pt x="899" y="2520"/>
                  </a:lnTo>
                  <a:lnTo>
                    <a:pt x="901" y="2517"/>
                  </a:lnTo>
                  <a:lnTo>
                    <a:pt x="905" y="2517"/>
                  </a:lnTo>
                  <a:lnTo>
                    <a:pt x="907" y="2516"/>
                  </a:lnTo>
                  <a:lnTo>
                    <a:pt x="908" y="2514"/>
                  </a:lnTo>
                  <a:lnTo>
                    <a:pt x="910" y="2514"/>
                  </a:lnTo>
                  <a:lnTo>
                    <a:pt x="912" y="2513"/>
                  </a:lnTo>
                  <a:lnTo>
                    <a:pt x="912" y="2511"/>
                  </a:lnTo>
                  <a:lnTo>
                    <a:pt x="912" y="2509"/>
                  </a:lnTo>
                  <a:lnTo>
                    <a:pt x="910" y="2506"/>
                  </a:lnTo>
                  <a:lnTo>
                    <a:pt x="908" y="2505"/>
                  </a:lnTo>
                  <a:lnTo>
                    <a:pt x="905" y="2502"/>
                  </a:lnTo>
                  <a:lnTo>
                    <a:pt x="901" y="2500"/>
                  </a:lnTo>
                  <a:lnTo>
                    <a:pt x="896" y="2494"/>
                  </a:lnTo>
                  <a:lnTo>
                    <a:pt x="891" y="2492"/>
                  </a:lnTo>
                  <a:lnTo>
                    <a:pt x="888" y="2489"/>
                  </a:lnTo>
                  <a:lnTo>
                    <a:pt x="888" y="2487"/>
                  </a:lnTo>
                  <a:lnTo>
                    <a:pt x="888" y="2486"/>
                  </a:lnTo>
                  <a:lnTo>
                    <a:pt x="888" y="2484"/>
                  </a:lnTo>
                  <a:lnTo>
                    <a:pt x="889" y="2481"/>
                  </a:lnTo>
                  <a:lnTo>
                    <a:pt x="891" y="2479"/>
                  </a:lnTo>
                  <a:lnTo>
                    <a:pt x="889" y="2476"/>
                  </a:lnTo>
                  <a:lnTo>
                    <a:pt x="888" y="2472"/>
                  </a:lnTo>
                  <a:lnTo>
                    <a:pt x="888" y="2467"/>
                  </a:lnTo>
                  <a:lnTo>
                    <a:pt x="885" y="2464"/>
                  </a:lnTo>
                  <a:lnTo>
                    <a:pt x="883" y="2459"/>
                  </a:lnTo>
                  <a:lnTo>
                    <a:pt x="878" y="2453"/>
                  </a:lnTo>
                  <a:lnTo>
                    <a:pt x="877" y="2448"/>
                  </a:lnTo>
                  <a:lnTo>
                    <a:pt x="874" y="2443"/>
                  </a:lnTo>
                  <a:lnTo>
                    <a:pt x="871" y="2440"/>
                  </a:lnTo>
                  <a:lnTo>
                    <a:pt x="869" y="2437"/>
                  </a:lnTo>
                  <a:lnTo>
                    <a:pt x="867" y="2435"/>
                  </a:lnTo>
                  <a:lnTo>
                    <a:pt x="866" y="2435"/>
                  </a:lnTo>
                  <a:lnTo>
                    <a:pt x="864" y="2435"/>
                  </a:lnTo>
                  <a:lnTo>
                    <a:pt x="863" y="2437"/>
                  </a:lnTo>
                  <a:lnTo>
                    <a:pt x="861" y="2438"/>
                  </a:lnTo>
                  <a:lnTo>
                    <a:pt x="859" y="2438"/>
                  </a:lnTo>
                  <a:lnTo>
                    <a:pt x="858" y="2440"/>
                  </a:lnTo>
                  <a:lnTo>
                    <a:pt x="858" y="2442"/>
                  </a:lnTo>
                  <a:lnTo>
                    <a:pt x="855" y="2443"/>
                  </a:lnTo>
                  <a:lnTo>
                    <a:pt x="853" y="2445"/>
                  </a:lnTo>
                  <a:lnTo>
                    <a:pt x="852" y="2445"/>
                  </a:lnTo>
                  <a:lnTo>
                    <a:pt x="850" y="2445"/>
                  </a:lnTo>
                  <a:lnTo>
                    <a:pt x="850" y="2443"/>
                  </a:lnTo>
                  <a:lnTo>
                    <a:pt x="848" y="2443"/>
                  </a:lnTo>
                  <a:lnTo>
                    <a:pt x="845" y="2442"/>
                  </a:lnTo>
                  <a:lnTo>
                    <a:pt x="844" y="2438"/>
                  </a:lnTo>
                  <a:lnTo>
                    <a:pt x="841" y="2435"/>
                  </a:lnTo>
                  <a:lnTo>
                    <a:pt x="837" y="2431"/>
                  </a:lnTo>
                  <a:lnTo>
                    <a:pt x="836" y="2426"/>
                  </a:lnTo>
                  <a:lnTo>
                    <a:pt x="834" y="2423"/>
                  </a:lnTo>
                  <a:lnTo>
                    <a:pt x="831" y="2421"/>
                  </a:lnTo>
                  <a:lnTo>
                    <a:pt x="829" y="2419"/>
                  </a:lnTo>
                  <a:lnTo>
                    <a:pt x="828" y="2419"/>
                  </a:lnTo>
                  <a:lnTo>
                    <a:pt x="826" y="2419"/>
                  </a:lnTo>
                  <a:lnTo>
                    <a:pt x="825" y="2421"/>
                  </a:lnTo>
                  <a:lnTo>
                    <a:pt x="822" y="2423"/>
                  </a:lnTo>
                  <a:lnTo>
                    <a:pt x="820" y="2423"/>
                  </a:lnTo>
                  <a:lnTo>
                    <a:pt x="815" y="2427"/>
                  </a:lnTo>
                  <a:lnTo>
                    <a:pt x="810" y="2432"/>
                  </a:lnTo>
                  <a:lnTo>
                    <a:pt x="806" y="2435"/>
                  </a:lnTo>
                  <a:lnTo>
                    <a:pt x="804" y="2437"/>
                  </a:lnTo>
                  <a:lnTo>
                    <a:pt x="801" y="2438"/>
                  </a:lnTo>
                  <a:lnTo>
                    <a:pt x="798" y="2440"/>
                  </a:lnTo>
                  <a:lnTo>
                    <a:pt x="795" y="2440"/>
                  </a:lnTo>
                  <a:lnTo>
                    <a:pt x="793" y="2440"/>
                  </a:lnTo>
                  <a:lnTo>
                    <a:pt x="790" y="2440"/>
                  </a:lnTo>
                  <a:lnTo>
                    <a:pt x="788" y="2438"/>
                  </a:lnTo>
                  <a:lnTo>
                    <a:pt x="787" y="2437"/>
                  </a:lnTo>
                  <a:lnTo>
                    <a:pt x="785" y="2435"/>
                  </a:lnTo>
                  <a:lnTo>
                    <a:pt x="784" y="2434"/>
                  </a:lnTo>
                  <a:lnTo>
                    <a:pt x="784" y="2431"/>
                  </a:lnTo>
                  <a:lnTo>
                    <a:pt x="784" y="2429"/>
                  </a:lnTo>
                  <a:lnTo>
                    <a:pt x="784" y="2426"/>
                  </a:lnTo>
                  <a:lnTo>
                    <a:pt x="785" y="2424"/>
                  </a:lnTo>
                  <a:lnTo>
                    <a:pt x="788" y="2421"/>
                  </a:lnTo>
                  <a:lnTo>
                    <a:pt x="792" y="2418"/>
                  </a:lnTo>
                  <a:lnTo>
                    <a:pt x="793" y="2415"/>
                  </a:lnTo>
                  <a:lnTo>
                    <a:pt x="793" y="2413"/>
                  </a:lnTo>
                  <a:lnTo>
                    <a:pt x="792" y="2413"/>
                  </a:lnTo>
                  <a:lnTo>
                    <a:pt x="792" y="2412"/>
                  </a:lnTo>
                  <a:lnTo>
                    <a:pt x="788" y="2410"/>
                  </a:lnTo>
                  <a:lnTo>
                    <a:pt x="785" y="2410"/>
                  </a:lnTo>
                  <a:lnTo>
                    <a:pt x="782" y="2408"/>
                  </a:lnTo>
                  <a:lnTo>
                    <a:pt x="777" y="2407"/>
                  </a:lnTo>
                  <a:lnTo>
                    <a:pt x="774" y="2405"/>
                  </a:lnTo>
                  <a:lnTo>
                    <a:pt x="773" y="2402"/>
                  </a:lnTo>
                  <a:lnTo>
                    <a:pt x="771" y="2402"/>
                  </a:lnTo>
                  <a:lnTo>
                    <a:pt x="768" y="2402"/>
                  </a:lnTo>
                  <a:lnTo>
                    <a:pt x="766" y="2402"/>
                  </a:lnTo>
                  <a:lnTo>
                    <a:pt x="763" y="2401"/>
                  </a:lnTo>
                  <a:lnTo>
                    <a:pt x="757" y="2399"/>
                  </a:lnTo>
                  <a:lnTo>
                    <a:pt x="755" y="2397"/>
                  </a:lnTo>
                  <a:lnTo>
                    <a:pt x="752" y="2394"/>
                  </a:lnTo>
                  <a:lnTo>
                    <a:pt x="752" y="2393"/>
                  </a:lnTo>
                  <a:lnTo>
                    <a:pt x="750" y="2391"/>
                  </a:lnTo>
                  <a:lnTo>
                    <a:pt x="750" y="2388"/>
                  </a:lnTo>
                  <a:lnTo>
                    <a:pt x="750" y="2386"/>
                  </a:lnTo>
                  <a:lnTo>
                    <a:pt x="750" y="2383"/>
                  </a:lnTo>
                  <a:lnTo>
                    <a:pt x="750" y="2382"/>
                  </a:lnTo>
                  <a:lnTo>
                    <a:pt x="754" y="2374"/>
                  </a:lnTo>
                  <a:lnTo>
                    <a:pt x="754" y="2372"/>
                  </a:lnTo>
                  <a:lnTo>
                    <a:pt x="750" y="2372"/>
                  </a:lnTo>
                  <a:lnTo>
                    <a:pt x="744" y="2372"/>
                  </a:lnTo>
                  <a:lnTo>
                    <a:pt x="741" y="2369"/>
                  </a:lnTo>
                  <a:lnTo>
                    <a:pt x="738" y="2369"/>
                  </a:lnTo>
                  <a:lnTo>
                    <a:pt x="733" y="2366"/>
                  </a:lnTo>
                  <a:lnTo>
                    <a:pt x="730" y="2364"/>
                  </a:lnTo>
                  <a:lnTo>
                    <a:pt x="727" y="2364"/>
                  </a:lnTo>
                  <a:lnTo>
                    <a:pt x="724" y="2361"/>
                  </a:lnTo>
                  <a:lnTo>
                    <a:pt x="722" y="2358"/>
                  </a:lnTo>
                  <a:lnTo>
                    <a:pt x="719" y="2356"/>
                  </a:lnTo>
                  <a:lnTo>
                    <a:pt x="717" y="2353"/>
                  </a:lnTo>
                  <a:lnTo>
                    <a:pt x="713" y="2345"/>
                  </a:lnTo>
                  <a:lnTo>
                    <a:pt x="708" y="2341"/>
                  </a:lnTo>
                  <a:lnTo>
                    <a:pt x="701" y="2326"/>
                  </a:lnTo>
                  <a:lnTo>
                    <a:pt x="694" y="2312"/>
                  </a:lnTo>
                  <a:lnTo>
                    <a:pt x="690" y="2306"/>
                  </a:lnTo>
                  <a:lnTo>
                    <a:pt x="686" y="2300"/>
                  </a:lnTo>
                  <a:lnTo>
                    <a:pt x="684" y="2296"/>
                  </a:lnTo>
                  <a:lnTo>
                    <a:pt x="683" y="2293"/>
                  </a:lnTo>
                  <a:lnTo>
                    <a:pt x="679" y="2290"/>
                  </a:lnTo>
                  <a:lnTo>
                    <a:pt x="678" y="2289"/>
                  </a:lnTo>
                  <a:lnTo>
                    <a:pt x="673" y="2285"/>
                  </a:lnTo>
                  <a:lnTo>
                    <a:pt x="668" y="2281"/>
                  </a:lnTo>
                  <a:lnTo>
                    <a:pt x="662" y="2278"/>
                  </a:lnTo>
                  <a:lnTo>
                    <a:pt x="656" y="2273"/>
                  </a:lnTo>
                  <a:lnTo>
                    <a:pt x="649" y="2268"/>
                  </a:lnTo>
                  <a:lnTo>
                    <a:pt x="645" y="2265"/>
                  </a:lnTo>
                  <a:lnTo>
                    <a:pt x="643" y="2262"/>
                  </a:lnTo>
                  <a:lnTo>
                    <a:pt x="640" y="2259"/>
                  </a:lnTo>
                  <a:lnTo>
                    <a:pt x="638" y="2257"/>
                  </a:lnTo>
                  <a:lnTo>
                    <a:pt x="637" y="2254"/>
                  </a:lnTo>
                  <a:lnTo>
                    <a:pt x="635" y="2243"/>
                  </a:lnTo>
                  <a:lnTo>
                    <a:pt x="632" y="2233"/>
                  </a:lnTo>
                  <a:lnTo>
                    <a:pt x="630" y="2229"/>
                  </a:lnTo>
                  <a:lnTo>
                    <a:pt x="629" y="2224"/>
                  </a:lnTo>
                  <a:lnTo>
                    <a:pt x="627" y="2224"/>
                  </a:lnTo>
                  <a:lnTo>
                    <a:pt x="624" y="2221"/>
                  </a:lnTo>
                  <a:lnTo>
                    <a:pt x="624" y="2219"/>
                  </a:lnTo>
                  <a:lnTo>
                    <a:pt x="621" y="2218"/>
                  </a:lnTo>
                  <a:lnTo>
                    <a:pt x="602" y="2218"/>
                  </a:lnTo>
                  <a:lnTo>
                    <a:pt x="602" y="2221"/>
                  </a:lnTo>
                  <a:lnTo>
                    <a:pt x="600" y="2224"/>
                  </a:lnTo>
                  <a:lnTo>
                    <a:pt x="599" y="2229"/>
                  </a:lnTo>
                  <a:lnTo>
                    <a:pt x="597" y="2230"/>
                  </a:lnTo>
                  <a:lnTo>
                    <a:pt x="596" y="2232"/>
                  </a:lnTo>
                  <a:lnTo>
                    <a:pt x="594" y="2233"/>
                  </a:lnTo>
                  <a:lnTo>
                    <a:pt x="589" y="2233"/>
                  </a:lnTo>
                  <a:lnTo>
                    <a:pt x="585" y="2233"/>
                  </a:lnTo>
                  <a:lnTo>
                    <a:pt x="583" y="2233"/>
                  </a:lnTo>
                  <a:lnTo>
                    <a:pt x="578" y="2233"/>
                  </a:lnTo>
                  <a:lnTo>
                    <a:pt x="575" y="2233"/>
                  </a:lnTo>
                  <a:lnTo>
                    <a:pt x="573" y="2232"/>
                  </a:lnTo>
                  <a:lnTo>
                    <a:pt x="570" y="2232"/>
                  </a:lnTo>
                  <a:lnTo>
                    <a:pt x="569" y="2229"/>
                  </a:lnTo>
                  <a:lnTo>
                    <a:pt x="566" y="2225"/>
                  </a:lnTo>
                  <a:lnTo>
                    <a:pt x="562" y="2222"/>
                  </a:lnTo>
                  <a:lnTo>
                    <a:pt x="561" y="2218"/>
                  </a:lnTo>
                  <a:lnTo>
                    <a:pt x="558" y="2213"/>
                  </a:lnTo>
                  <a:lnTo>
                    <a:pt x="555" y="2208"/>
                  </a:lnTo>
                  <a:lnTo>
                    <a:pt x="553" y="2205"/>
                  </a:lnTo>
                  <a:lnTo>
                    <a:pt x="548" y="2200"/>
                  </a:lnTo>
                  <a:lnTo>
                    <a:pt x="547" y="2196"/>
                  </a:lnTo>
                  <a:lnTo>
                    <a:pt x="542" y="2192"/>
                  </a:lnTo>
                  <a:lnTo>
                    <a:pt x="540" y="2191"/>
                  </a:lnTo>
                  <a:lnTo>
                    <a:pt x="537" y="2188"/>
                  </a:lnTo>
                  <a:lnTo>
                    <a:pt x="534" y="2188"/>
                  </a:lnTo>
                  <a:lnTo>
                    <a:pt x="532" y="2186"/>
                  </a:lnTo>
                  <a:lnTo>
                    <a:pt x="529" y="2184"/>
                  </a:lnTo>
                  <a:lnTo>
                    <a:pt x="528" y="2184"/>
                  </a:lnTo>
                  <a:lnTo>
                    <a:pt x="523" y="2183"/>
                  </a:lnTo>
                  <a:lnTo>
                    <a:pt x="520" y="2183"/>
                  </a:lnTo>
                  <a:lnTo>
                    <a:pt x="509" y="2184"/>
                  </a:lnTo>
                  <a:lnTo>
                    <a:pt x="501" y="2184"/>
                  </a:lnTo>
                  <a:lnTo>
                    <a:pt x="496" y="2186"/>
                  </a:lnTo>
                  <a:lnTo>
                    <a:pt x="494" y="2188"/>
                  </a:lnTo>
                  <a:lnTo>
                    <a:pt x="490" y="2188"/>
                  </a:lnTo>
                  <a:lnTo>
                    <a:pt x="487" y="2189"/>
                  </a:lnTo>
                  <a:lnTo>
                    <a:pt x="485" y="2191"/>
                  </a:lnTo>
                  <a:lnTo>
                    <a:pt x="483" y="2192"/>
                  </a:lnTo>
                  <a:lnTo>
                    <a:pt x="480" y="2194"/>
                  </a:lnTo>
                  <a:lnTo>
                    <a:pt x="479" y="2196"/>
                  </a:lnTo>
                  <a:lnTo>
                    <a:pt x="477" y="2197"/>
                  </a:lnTo>
                  <a:lnTo>
                    <a:pt x="476" y="2200"/>
                  </a:lnTo>
                  <a:lnTo>
                    <a:pt x="476" y="2202"/>
                  </a:lnTo>
                  <a:lnTo>
                    <a:pt x="474" y="2205"/>
                  </a:lnTo>
                  <a:lnTo>
                    <a:pt x="472" y="2211"/>
                  </a:lnTo>
                  <a:lnTo>
                    <a:pt x="471" y="2216"/>
                  </a:lnTo>
                  <a:lnTo>
                    <a:pt x="471" y="2224"/>
                  </a:lnTo>
                  <a:lnTo>
                    <a:pt x="469" y="2230"/>
                  </a:lnTo>
                  <a:lnTo>
                    <a:pt x="468" y="2238"/>
                  </a:lnTo>
                  <a:lnTo>
                    <a:pt x="468" y="2246"/>
                  </a:lnTo>
                  <a:lnTo>
                    <a:pt x="466" y="2254"/>
                  </a:lnTo>
                  <a:lnTo>
                    <a:pt x="463" y="2265"/>
                  </a:lnTo>
                  <a:lnTo>
                    <a:pt x="461" y="2270"/>
                  </a:lnTo>
                  <a:lnTo>
                    <a:pt x="460" y="2274"/>
                  </a:lnTo>
                  <a:lnTo>
                    <a:pt x="458" y="2278"/>
                  </a:lnTo>
                  <a:lnTo>
                    <a:pt x="455" y="2282"/>
                  </a:lnTo>
                  <a:lnTo>
                    <a:pt x="450" y="2290"/>
                  </a:lnTo>
                  <a:lnTo>
                    <a:pt x="444" y="2298"/>
                  </a:lnTo>
                  <a:lnTo>
                    <a:pt x="439" y="2306"/>
                  </a:lnTo>
                  <a:lnTo>
                    <a:pt x="434" y="2314"/>
                  </a:lnTo>
                  <a:lnTo>
                    <a:pt x="433" y="2319"/>
                  </a:lnTo>
                  <a:lnTo>
                    <a:pt x="430" y="2323"/>
                  </a:lnTo>
                  <a:lnTo>
                    <a:pt x="430" y="2326"/>
                  </a:lnTo>
                  <a:lnTo>
                    <a:pt x="428" y="2331"/>
                  </a:lnTo>
                  <a:lnTo>
                    <a:pt x="425" y="2331"/>
                  </a:lnTo>
                  <a:lnTo>
                    <a:pt x="422" y="2331"/>
                  </a:lnTo>
                  <a:lnTo>
                    <a:pt x="420" y="2330"/>
                  </a:lnTo>
                  <a:lnTo>
                    <a:pt x="417" y="2328"/>
                  </a:lnTo>
                  <a:lnTo>
                    <a:pt x="414" y="2325"/>
                  </a:lnTo>
                  <a:lnTo>
                    <a:pt x="411" y="2320"/>
                  </a:lnTo>
                  <a:lnTo>
                    <a:pt x="406" y="2317"/>
                  </a:lnTo>
                  <a:lnTo>
                    <a:pt x="404" y="2314"/>
                  </a:lnTo>
                  <a:lnTo>
                    <a:pt x="403" y="2312"/>
                  </a:lnTo>
                  <a:lnTo>
                    <a:pt x="401" y="2311"/>
                  </a:lnTo>
                  <a:lnTo>
                    <a:pt x="400" y="2311"/>
                  </a:lnTo>
                  <a:lnTo>
                    <a:pt x="398" y="2311"/>
                  </a:lnTo>
                  <a:lnTo>
                    <a:pt x="395" y="2311"/>
                  </a:lnTo>
                  <a:lnTo>
                    <a:pt x="392" y="2311"/>
                  </a:lnTo>
                  <a:lnTo>
                    <a:pt x="389" y="2312"/>
                  </a:lnTo>
                  <a:lnTo>
                    <a:pt x="387" y="2312"/>
                  </a:lnTo>
                  <a:lnTo>
                    <a:pt x="382" y="2315"/>
                  </a:lnTo>
                  <a:lnTo>
                    <a:pt x="378" y="2319"/>
                  </a:lnTo>
                  <a:lnTo>
                    <a:pt x="373" y="2323"/>
                  </a:lnTo>
                  <a:lnTo>
                    <a:pt x="368" y="2328"/>
                  </a:lnTo>
                  <a:lnTo>
                    <a:pt x="363" y="2333"/>
                  </a:lnTo>
                  <a:lnTo>
                    <a:pt x="360" y="2337"/>
                  </a:lnTo>
                  <a:lnTo>
                    <a:pt x="355" y="2344"/>
                  </a:lnTo>
                  <a:lnTo>
                    <a:pt x="351" y="2349"/>
                  </a:lnTo>
                  <a:lnTo>
                    <a:pt x="346" y="2352"/>
                  </a:lnTo>
                  <a:lnTo>
                    <a:pt x="340" y="2356"/>
                  </a:lnTo>
                  <a:lnTo>
                    <a:pt x="338" y="2358"/>
                  </a:lnTo>
                  <a:lnTo>
                    <a:pt x="335" y="2360"/>
                  </a:lnTo>
                  <a:lnTo>
                    <a:pt x="332" y="2361"/>
                  </a:lnTo>
                  <a:lnTo>
                    <a:pt x="330" y="2363"/>
                  </a:lnTo>
                  <a:lnTo>
                    <a:pt x="325" y="2364"/>
                  </a:lnTo>
                  <a:lnTo>
                    <a:pt x="322" y="2364"/>
                  </a:lnTo>
                  <a:lnTo>
                    <a:pt x="319" y="2364"/>
                  </a:lnTo>
                  <a:lnTo>
                    <a:pt x="316" y="2364"/>
                  </a:lnTo>
                  <a:lnTo>
                    <a:pt x="311" y="2364"/>
                  </a:lnTo>
                  <a:lnTo>
                    <a:pt x="308" y="2364"/>
                  </a:lnTo>
                  <a:lnTo>
                    <a:pt x="305" y="2364"/>
                  </a:lnTo>
                  <a:lnTo>
                    <a:pt x="302" y="2363"/>
                  </a:lnTo>
                  <a:lnTo>
                    <a:pt x="300" y="2361"/>
                  </a:lnTo>
                  <a:lnTo>
                    <a:pt x="299" y="2360"/>
                  </a:lnTo>
                  <a:lnTo>
                    <a:pt x="297" y="2356"/>
                  </a:lnTo>
                  <a:lnTo>
                    <a:pt x="297" y="2355"/>
                  </a:lnTo>
                  <a:lnTo>
                    <a:pt x="295" y="2353"/>
                  </a:lnTo>
                  <a:lnTo>
                    <a:pt x="294" y="2350"/>
                  </a:lnTo>
                  <a:lnTo>
                    <a:pt x="294" y="2349"/>
                  </a:lnTo>
                  <a:lnTo>
                    <a:pt x="294" y="2345"/>
                  </a:lnTo>
                  <a:lnTo>
                    <a:pt x="294" y="2341"/>
                  </a:lnTo>
                  <a:lnTo>
                    <a:pt x="294" y="2336"/>
                  </a:lnTo>
                  <a:lnTo>
                    <a:pt x="294" y="2323"/>
                  </a:lnTo>
                  <a:lnTo>
                    <a:pt x="294" y="2311"/>
                  </a:lnTo>
                  <a:lnTo>
                    <a:pt x="294" y="2301"/>
                  </a:lnTo>
                  <a:lnTo>
                    <a:pt x="294" y="2292"/>
                  </a:lnTo>
                  <a:lnTo>
                    <a:pt x="294" y="2282"/>
                  </a:lnTo>
                  <a:lnTo>
                    <a:pt x="294" y="2271"/>
                  </a:lnTo>
                  <a:lnTo>
                    <a:pt x="294" y="2260"/>
                  </a:lnTo>
                  <a:lnTo>
                    <a:pt x="294" y="2248"/>
                  </a:lnTo>
                  <a:lnTo>
                    <a:pt x="294" y="2241"/>
                  </a:lnTo>
                  <a:lnTo>
                    <a:pt x="294" y="2237"/>
                  </a:lnTo>
                  <a:lnTo>
                    <a:pt x="295" y="2232"/>
                  </a:lnTo>
                  <a:lnTo>
                    <a:pt x="297" y="2225"/>
                  </a:lnTo>
                  <a:lnTo>
                    <a:pt x="299" y="2221"/>
                  </a:lnTo>
                  <a:lnTo>
                    <a:pt x="300" y="2216"/>
                  </a:lnTo>
                  <a:lnTo>
                    <a:pt x="302" y="2211"/>
                  </a:lnTo>
                  <a:lnTo>
                    <a:pt x="302" y="2205"/>
                  </a:lnTo>
                  <a:lnTo>
                    <a:pt x="292" y="2200"/>
                  </a:lnTo>
                  <a:lnTo>
                    <a:pt x="284" y="2196"/>
                  </a:lnTo>
                  <a:lnTo>
                    <a:pt x="280" y="2192"/>
                  </a:lnTo>
                  <a:lnTo>
                    <a:pt x="276" y="2191"/>
                  </a:lnTo>
                  <a:lnTo>
                    <a:pt x="272" y="2188"/>
                  </a:lnTo>
                  <a:lnTo>
                    <a:pt x="269" y="2184"/>
                  </a:lnTo>
                  <a:lnTo>
                    <a:pt x="265" y="2181"/>
                  </a:lnTo>
                  <a:lnTo>
                    <a:pt x="264" y="2178"/>
                  </a:lnTo>
                  <a:lnTo>
                    <a:pt x="261" y="2173"/>
                  </a:lnTo>
                  <a:lnTo>
                    <a:pt x="259" y="2170"/>
                  </a:lnTo>
                  <a:lnTo>
                    <a:pt x="258" y="2166"/>
                  </a:lnTo>
                  <a:lnTo>
                    <a:pt x="256" y="2161"/>
                  </a:lnTo>
                  <a:lnTo>
                    <a:pt x="256" y="2158"/>
                  </a:lnTo>
                  <a:lnTo>
                    <a:pt x="256" y="2151"/>
                  </a:lnTo>
                  <a:lnTo>
                    <a:pt x="256" y="2150"/>
                  </a:lnTo>
                  <a:lnTo>
                    <a:pt x="256" y="2147"/>
                  </a:lnTo>
                  <a:lnTo>
                    <a:pt x="256" y="2140"/>
                  </a:lnTo>
                  <a:lnTo>
                    <a:pt x="256" y="2131"/>
                  </a:lnTo>
                  <a:lnTo>
                    <a:pt x="256" y="2129"/>
                  </a:lnTo>
                  <a:lnTo>
                    <a:pt x="256" y="2126"/>
                  </a:lnTo>
                  <a:lnTo>
                    <a:pt x="253" y="2125"/>
                  </a:lnTo>
                  <a:lnTo>
                    <a:pt x="253" y="2121"/>
                  </a:lnTo>
                  <a:lnTo>
                    <a:pt x="251" y="2121"/>
                  </a:lnTo>
                  <a:lnTo>
                    <a:pt x="248" y="2120"/>
                  </a:lnTo>
                  <a:lnTo>
                    <a:pt x="246" y="2118"/>
                  </a:lnTo>
                  <a:lnTo>
                    <a:pt x="243" y="2118"/>
                  </a:lnTo>
                  <a:lnTo>
                    <a:pt x="239" y="2117"/>
                  </a:lnTo>
                  <a:lnTo>
                    <a:pt x="235" y="2113"/>
                  </a:lnTo>
                  <a:lnTo>
                    <a:pt x="232" y="2113"/>
                  </a:lnTo>
                  <a:lnTo>
                    <a:pt x="231" y="2112"/>
                  </a:lnTo>
                  <a:lnTo>
                    <a:pt x="229" y="2110"/>
                  </a:lnTo>
                  <a:lnTo>
                    <a:pt x="227" y="2109"/>
                  </a:lnTo>
                  <a:lnTo>
                    <a:pt x="226" y="2106"/>
                  </a:lnTo>
                  <a:lnTo>
                    <a:pt x="224" y="2104"/>
                  </a:lnTo>
                  <a:lnTo>
                    <a:pt x="224" y="2101"/>
                  </a:lnTo>
                  <a:lnTo>
                    <a:pt x="223" y="2096"/>
                  </a:lnTo>
                  <a:lnTo>
                    <a:pt x="221" y="2091"/>
                  </a:lnTo>
                  <a:lnTo>
                    <a:pt x="221" y="2085"/>
                  </a:lnTo>
                  <a:lnTo>
                    <a:pt x="220" y="2080"/>
                  </a:lnTo>
                  <a:lnTo>
                    <a:pt x="220" y="2076"/>
                  </a:lnTo>
                  <a:lnTo>
                    <a:pt x="218" y="2072"/>
                  </a:lnTo>
                  <a:lnTo>
                    <a:pt x="218" y="2069"/>
                  </a:lnTo>
                  <a:lnTo>
                    <a:pt x="216" y="2068"/>
                  </a:lnTo>
                  <a:lnTo>
                    <a:pt x="215" y="2065"/>
                  </a:lnTo>
                  <a:lnTo>
                    <a:pt x="213" y="2060"/>
                  </a:lnTo>
                  <a:lnTo>
                    <a:pt x="212" y="2057"/>
                  </a:lnTo>
                  <a:lnTo>
                    <a:pt x="210" y="2054"/>
                  </a:lnTo>
                  <a:lnTo>
                    <a:pt x="207" y="2052"/>
                  </a:lnTo>
                  <a:lnTo>
                    <a:pt x="205" y="2049"/>
                  </a:lnTo>
                  <a:lnTo>
                    <a:pt x="204" y="2046"/>
                  </a:lnTo>
                  <a:lnTo>
                    <a:pt x="201" y="2044"/>
                  </a:lnTo>
                  <a:lnTo>
                    <a:pt x="197" y="2043"/>
                  </a:lnTo>
                  <a:lnTo>
                    <a:pt x="194" y="2039"/>
                  </a:lnTo>
                  <a:lnTo>
                    <a:pt x="193" y="2039"/>
                  </a:lnTo>
                  <a:lnTo>
                    <a:pt x="190" y="2038"/>
                  </a:lnTo>
                  <a:lnTo>
                    <a:pt x="185" y="2036"/>
                  </a:lnTo>
                  <a:lnTo>
                    <a:pt x="177" y="2035"/>
                  </a:lnTo>
                  <a:lnTo>
                    <a:pt x="167" y="2031"/>
                  </a:lnTo>
                  <a:lnTo>
                    <a:pt x="169" y="2030"/>
                  </a:lnTo>
                  <a:lnTo>
                    <a:pt x="171" y="2027"/>
                  </a:lnTo>
                  <a:lnTo>
                    <a:pt x="171" y="2024"/>
                  </a:lnTo>
                  <a:lnTo>
                    <a:pt x="174" y="2022"/>
                  </a:lnTo>
                  <a:lnTo>
                    <a:pt x="174" y="2019"/>
                  </a:lnTo>
                  <a:lnTo>
                    <a:pt x="175" y="2017"/>
                  </a:lnTo>
                  <a:lnTo>
                    <a:pt x="177" y="2014"/>
                  </a:lnTo>
                  <a:lnTo>
                    <a:pt x="177" y="2011"/>
                  </a:lnTo>
                  <a:lnTo>
                    <a:pt x="177" y="2006"/>
                  </a:lnTo>
                  <a:lnTo>
                    <a:pt x="175" y="2003"/>
                  </a:lnTo>
                  <a:lnTo>
                    <a:pt x="174" y="2001"/>
                  </a:lnTo>
                  <a:lnTo>
                    <a:pt x="172" y="2000"/>
                  </a:lnTo>
                  <a:lnTo>
                    <a:pt x="169" y="1998"/>
                  </a:lnTo>
                  <a:lnTo>
                    <a:pt x="166" y="1998"/>
                  </a:lnTo>
                  <a:lnTo>
                    <a:pt x="163" y="1998"/>
                  </a:lnTo>
                  <a:lnTo>
                    <a:pt x="160" y="1998"/>
                  </a:lnTo>
                  <a:lnTo>
                    <a:pt x="152" y="1998"/>
                  </a:lnTo>
                  <a:lnTo>
                    <a:pt x="144" y="1998"/>
                  </a:lnTo>
                  <a:lnTo>
                    <a:pt x="139" y="1998"/>
                  </a:lnTo>
                  <a:lnTo>
                    <a:pt x="136" y="1998"/>
                  </a:lnTo>
                  <a:lnTo>
                    <a:pt x="133" y="1998"/>
                  </a:lnTo>
                  <a:lnTo>
                    <a:pt x="128" y="1997"/>
                  </a:lnTo>
                  <a:lnTo>
                    <a:pt x="122" y="1994"/>
                  </a:lnTo>
                  <a:lnTo>
                    <a:pt x="115" y="1992"/>
                  </a:lnTo>
                  <a:lnTo>
                    <a:pt x="114" y="1990"/>
                  </a:lnTo>
                  <a:lnTo>
                    <a:pt x="112" y="1990"/>
                  </a:lnTo>
                  <a:lnTo>
                    <a:pt x="109" y="1990"/>
                  </a:lnTo>
                  <a:lnTo>
                    <a:pt x="106" y="1989"/>
                  </a:lnTo>
                  <a:lnTo>
                    <a:pt x="98" y="1990"/>
                  </a:lnTo>
                  <a:lnTo>
                    <a:pt x="88" y="1990"/>
                  </a:lnTo>
                  <a:lnTo>
                    <a:pt x="85" y="1990"/>
                  </a:lnTo>
                  <a:lnTo>
                    <a:pt x="81" y="1990"/>
                  </a:lnTo>
                  <a:lnTo>
                    <a:pt x="76" y="1990"/>
                  </a:lnTo>
                  <a:lnTo>
                    <a:pt x="71" y="1989"/>
                  </a:lnTo>
                  <a:lnTo>
                    <a:pt x="71" y="1973"/>
                  </a:lnTo>
                  <a:lnTo>
                    <a:pt x="71" y="1964"/>
                  </a:lnTo>
                  <a:lnTo>
                    <a:pt x="71" y="1957"/>
                  </a:lnTo>
                  <a:lnTo>
                    <a:pt x="71" y="1946"/>
                  </a:lnTo>
                  <a:lnTo>
                    <a:pt x="73" y="1943"/>
                  </a:lnTo>
                  <a:lnTo>
                    <a:pt x="73" y="1940"/>
                  </a:lnTo>
                  <a:lnTo>
                    <a:pt x="74" y="1938"/>
                  </a:lnTo>
                  <a:lnTo>
                    <a:pt x="76" y="1935"/>
                  </a:lnTo>
                  <a:lnTo>
                    <a:pt x="77" y="1931"/>
                  </a:lnTo>
                  <a:lnTo>
                    <a:pt x="81" y="1927"/>
                  </a:lnTo>
                  <a:lnTo>
                    <a:pt x="84" y="1924"/>
                  </a:lnTo>
                  <a:lnTo>
                    <a:pt x="87" y="1919"/>
                  </a:lnTo>
                  <a:lnTo>
                    <a:pt x="87" y="1918"/>
                  </a:lnTo>
                  <a:lnTo>
                    <a:pt x="88" y="1916"/>
                  </a:lnTo>
                  <a:lnTo>
                    <a:pt x="88" y="1915"/>
                  </a:lnTo>
                  <a:lnTo>
                    <a:pt x="88" y="1913"/>
                  </a:lnTo>
                  <a:lnTo>
                    <a:pt x="88" y="1908"/>
                  </a:lnTo>
                  <a:lnTo>
                    <a:pt x="88" y="1904"/>
                  </a:lnTo>
                  <a:lnTo>
                    <a:pt x="87" y="1901"/>
                  </a:lnTo>
                  <a:lnTo>
                    <a:pt x="84" y="1896"/>
                  </a:lnTo>
                  <a:lnTo>
                    <a:pt x="82" y="1893"/>
                  </a:lnTo>
                  <a:lnTo>
                    <a:pt x="79" y="1890"/>
                  </a:lnTo>
                  <a:lnTo>
                    <a:pt x="76" y="1886"/>
                  </a:lnTo>
                  <a:lnTo>
                    <a:pt x="73" y="1882"/>
                  </a:lnTo>
                  <a:lnTo>
                    <a:pt x="66" y="1875"/>
                  </a:lnTo>
                  <a:lnTo>
                    <a:pt x="62" y="1869"/>
                  </a:lnTo>
                  <a:lnTo>
                    <a:pt x="58" y="1863"/>
                  </a:lnTo>
                  <a:lnTo>
                    <a:pt x="55" y="1861"/>
                  </a:lnTo>
                  <a:lnTo>
                    <a:pt x="55" y="1856"/>
                  </a:lnTo>
                  <a:lnTo>
                    <a:pt x="54" y="1852"/>
                  </a:lnTo>
                  <a:lnTo>
                    <a:pt x="54" y="1848"/>
                  </a:lnTo>
                  <a:lnTo>
                    <a:pt x="54" y="1847"/>
                  </a:lnTo>
                  <a:lnTo>
                    <a:pt x="54" y="1844"/>
                  </a:lnTo>
                  <a:lnTo>
                    <a:pt x="54" y="1842"/>
                  </a:lnTo>
                  <a:lnTo>
                    <a:pt x="54" y="1837"/>
                  </a:lnTo>
                  <a:lnTo>
                    <a:pt x="54" y="1834"/>
                  </a:lnTo>
                  <a:lnTo>
                    <a:pt x="55" y="1830"/>
                  </a:lnTo>
                  <a:lnTo>
                    <a:pt x="55" y="1825"/>
                  </a:lnTo>
                  <a:lnTo>
                    <a:pt x="57" y="1823"/>
                  </a:lnTo>
                  <a:lnTo>
                    <a:pt x="57" y="1822"/>
                  </a:lnTo>
                  <a:lnTo>
                    <a:pt x="55" y="1820"/>
                  </a:lnTo>
                  <a:lnTo>
                    <a:pt x="55" y="1817"/>
                  </a:lnTo>
                  <a:lnTo>
                    <a:pt x="54" y="1815"/>
                  </a:lnTo>
                  <a:lnTo>
                    <a:pt x="54" y="1814"/>
                  </a:lnTo>
                  <a:lnTo>
                    <a:pt x="51" y="1812"/>
                  </a:lnTo>
                  <a:lnTo>
                    <a:pt x="49" y="1809"/>
                  </a:lnTo>
                  <a:lnTo>
                    <a:pt x="44" y="1809"/>
                  </a:lnTo>
                  <a:lnTo>
                    <a:pt x="35" y="1807"/>
                  </a:lnTo>
                  <a:lnTo>
                    <a:pt x="25" y="1804"/>
                  </a:lnTo>
                  <a:lnTo>
                    <a:pt x="27" y="1801"/>
                  </a:lnTo>
                  <a:lnTo>
                    <a:pt x="28" y="1798"/>
                  </a:lnTo>
                  <a:lnTo>
                    <a:pt x="30" y="1796"/>
                  </a:lnTo>
                  <a:lnTo>
                    <a:pt x="32" y="1795"/>
                  </a:lnTo>
                  <a:lnTo>
                    <a:pt x="36" y="1790"/>
                  </a:lnTo>
                  <a:lnTo>
                    <a:pt x="41" y="1787"/>
                  </a:lnTo>
                  <a:lnTo>
                    <a:pt x="46" y="1784"/>
                  </a:lnTo>
                  <a:lnTo>
                    <a:pt x="51" y="1779"/>
                  </a:lnTo>
                  <a:lnTo>
                    <a:pt x="51" y="1778"/>
                  </a:lnTo>
                  <a:lnTo>
                    <a:pt x="54" y="1776"/>
                  </a:lnTo>
                  <a:lnTo>
                    <a:pt x="54" y="1773"/>
                  </a:lnTo>
                  <a:lnTo>
                    <a:pt x="54" y="1768"/>
                  </a:lnTo>
                  <a:lnTo>
                    <a:pt x="54" y="1757"/>
                  </a:lnTo>
                  <a:lnTo>
                    <a:pt x="52" y="1746"/>
                  </a:lnTo>
                  <a:lnTo>
                    <a:pt x="51" y="1735"/>
                  </a:lnTo>
                  <a:lnTo>
                    <a:pt x="49" y="1722"/>
                  </a:lnTo>
                  <a:lnTo>
                    <a:pt x="47" y="1711"/>
                  </a:lnTo>
                  <a:lnTo>
                    <a:pt x="44" y="1700"/>
                  </a:lnTo>
                  <a:lnTo>
                    <a:pt x="41" y="1689"/>
                  </a:lnTo>
                  <a:lnTo>
                    <a:pt x="38" y="1680"/>
                  </a:lnTo>
                  <a:lnTo>
                    <a:pt x="33" y="1669"/>
                  </a:lnTo>
                  <a:lnTo>
                    <a:pt x="30" y="1659"/>
                  </a:lnTo>
                  <a:lnTo>
                    <a:pt x="25" y="1648"/>
                  </a:lnTo>
                  <a:lnTo>
                    <a:pt x="21" y="1639"/>
                  </a:lnTo>
                  <a:lnTo>
                    <a:pt x="16" y="1629"/>
                  </a:lnTo>
                  <a:lnTo>
                    <a:pt x="9" y="1620"/>
                  </a:lnTo>
                  <a:lnTo>
                    <a:pt x="5" y="1610"/>
                  </a:lnTo>
                  <a:lnTo>
                    <a:pt x="0" y="1601"/>
                  </a:lnTo>
                  <a:lnTo>
                    <a:pt x="2" y="1599"/>
                  </a:lnTo>
                  <a:lnTo>
                    <a:pt x="5" y="1598"/>
                  </a:lnTo>
                  <a:lnTo>
                    <a:pt x="8" y="1595"/>
                  </a:lnTo>
                  <a:lnTo>
                    <a:pt x="13" y="1593"/>
                  </a:lnTo>
                  <a:lnTo>
                    <a:pt x="17" y="1585"/>
                  </a:lnTo>
                  <a:lnTo>
                    <a:pt x="22" y="1579"/>
                  </a:lnTo>
                  <a:lnTo>
                    <a:pt x="28" y="1572"/>
                  </a:lnTo>
                  <a:lnTo>
                    <a:pt x="33" y="1568"/>
                  </a:lnTo>
                  <a:lnTo>
                    <a:pt x="35" y="1565"/>
                  </a:lnTo>
                  <a:lnTo>
                    <a:pt x="38" y="1561"/>
                  </a:lnTo>
                  <a:lnTo>
                    <a:pt x="41" y="1561"/>
                  </a:lnTo>
                  <a:lnTo>
                    <a:pt x="43" y="1560"/>
                  </a:lnTo>
                  <a:lnTo>
                    <a:pt x="44" y="1560"/>
                  </a:lnTo>
                  <a:lnTo>
                    <a:pt x="47" y="1558"/>
                  </a:lnTo>
                  <a:lnTo>
                    <a:pt x="51" y="1558"/>
                  </a:lnTo>
                  <a:lnTo>
                    <a:pt x="54" y="1558"/>
                  </a:lnTo>
                  <a:lnTo>
                    <a:pt x="58" y="1558"/>
                  </a:lnTo>
                  <a:lnTo>
                    <a:pt x="62" y="1558"/>
                  </a:lnTo>
                  <a:lnTo>
                    <a:pt x="63" y="1558"/>
                  </a:lnTo>
                  <a:lnTo>
                    <a:pt x="66" y="1558"/>
                  </a:lnTo>
                  <a:lnTo>
                    <a:pt x="68" y="1557"/>
                  </a:lnTo>
                  <a:lnTo>
                    <a:pt x="69" y="1557"/>
                  </a:lnTo>
                  <a:lnTo>
                    <a:pt x="71" y="1554"/>
                  </a:lnTo>
                  <a:lnTo>
                    <a:pt x="71" y="1552"/>
                  </a:lnTo>
                  <a:lnTo>
                    <a:pt x="71" y="1550"/>
                  </a:lnTo>
                  <a:lnTo>
                    <a:pt x="71" y="1547"/>
                  </a:lnTo>
                  <a:lnTo>
                    <a:pt x="71" y="1544"/>
                  </a:lnTo>
                  <a:lnTo>
                    <a:pt x="71" y="1541"/>
                  </a:lnTo>
                  <a:lnTo>
                    <a:pt x="69" y="1538"/>
                  </a:lnTo>
                  <a:lnTo>
                    <a:pt x="68" y="1535"/>
                  </a:lnTo>
                  <a:lnTo>
                    <a:pt x="66" y="1531"/>
                  </a:lnTo>
                  <a:lnTo>
                    <a:pt x="63" y="1528"/>
                  </a:lnTo>
                  <a:lnTo>
                    <a:pt x="63" y="1527"/>
                  </a:lnTo>
                  <a:lnTo>
                    <a:pt x="63" y="1524"/>
                  </a:lnTo>
                  <a:lnTo>
                    <a:pt x="88" y="1456"/>
                  </a:lnTo>
                  <a:lnTo>
                    <a:pt x="92" y="1453"/>
                  </a:lnTo>
                  <a:lnTo>
                    <a:pt x="98" y="1449"/>
                  </a:lnTo>
                  <a:lnTo>
                    <a:pt x="103" y="1448"/>
                  </a:lnTo>
                  <a:lnTo>
                    <a:pt x="107" y="1445"/>
                  </a:lnTo>
                  <a:lnTo>
                    <a:pt x="111" y="1443"/>
                  </a:lnTo>
                  <a:lnTo>
                    <a:pt x="112" y="1442"/>
                  </a:lnTo>
                  <a:lnTo>
                    <a:pt x="115" y="1440"/>
                  </a:lnTo>
                  <a:lnTo>
                    <a:pt x="117" y="1437"/>
                  </a:lnTo>
                  <a:lnTo>
                    <a:pt x="118" y="1435"/>
                  </a:lnTo>
                  <a:lnTo>
                    <a:pt x="120" y="1432"/>
                  </a:lnTo>
                  <a:lnTo>
                    <a:pt x="120" y="1429"/>
                  </a:lnTo>
                  <a:lnTo>
                    <a:pt x="122" y="1426"/>
                  </a:lnTo>
                  <a:lnTo>
                    <a:pt x="120" y="1423"/>
                  </a:lnTo>
                  <a:lnTo>
                    <a:pt x="120" y="1421"/>
                  </a:lnTo>
                  <a:lnTo>
                    <a:pt x="120" y="1418"/>
                  </a:lnTo>
                  <a:lnTo>
                    <a:pt x="118" y="1416"/>
                  </a:lnTo>
                  <a:lnTo>
                    <a:pt x="115" y="1413"/>
                  </a:lnTo>
                  <a:lnTo>
                    <a:pt x="112" y="1412"/>
                  </a:lnTo>
                  <a:lnTo>
                    <a:pt x="107" y="1408"/>
                  </a:lnTo>
                  <a:lnTo>
                    <a:pt x="104" y="1405"/>
                  </a:lnTo>
                  <a:lnTo>
                    <a:pt x="101" y="1404"/>
                  </a:lnTo>
                  <a:lnTo>
                    <a:pt x="100" y="1401"/>
                  </a:lnTo>
                  <a:lnTo>
                    <a:pt x="96" y="1399"/>
                  </a:lnTo>
                  <a:lnTo>
                    <a:pt x="96" y="1396"/>
                  </a:lnTo>
                  <a:lnTo>
                    <a:pt x="95" y="1393"/>
                  </a:lnTo>
                  <a:lnTo>
                    <a:pt x="95" y="1389"/>
                  </a:lnTo>
                  <a:lnTo>
                    <a:pt x="93" y="1383"/>
                  </a:lnTo>
                  <a:lnTo>
                    <a:pt x="92" y="1377"/>
                  </a:lnTo>
                  <a:lnTo>
                    <a:pt x="92" y="1371"/>
                  </a:lnTo>
                  <a:lnTo>
                    <a:pt x="92" y="1366"/>
                  </a:lnTo>
                  <a:lnTo>
                    <a:pt x="90" y="1363"/>
                  </a:lnTo>
                  <a:lnTo>
                    <a:pt x="88" y="1360"/>
                  </a:lnTo>
                  <a:lnTo>
                    <a:pt x="87" y="1358"/>
                  </a:lnTo>
                  <a:lnTo>
                    <a:pt x="85" y="1355"/>
                  </a:lnTo>
                  <a:lnTo>
                    <a:pt x="82" y="1352"/>
                  </a:lnTo>
                  <a:lnTo>
                    <a:pt x="79" y="1348"/>
                  </a:lnTo>
                  <a:lnTo>
                    <a:pt x="76" y="1345"/>
                  </a:lnTo>
                  <a:lnTo>
                    <a:pt x="74" y="1342"/>
                  </a:lnTo>
                  <a:lnTo>
                    <a:pt x="68" y="1337"/>
                  </a:lnTo>
                  <a:lnTo>
                    <a:pt x="62" y="1334"/>
                  </a:lnTo>
                  <a:lnTo>
                    <a:pt x="55" y="1330"/>
                  </a:lnTo>
                  <a:lnTo>
                    <a:pt x="51" y="1323"/>
                  </a:lnTo>
                  <a:lnTo>
                    <a:pt x="47" y="1322"/>
                  </a:lnTo>
                  <a:lnTo>
                    <a:pt x="44" y="1317"/>
                  </a:lnTo>
                  <a:lnTo>
                    <a:pt x="43" y="1314"/>
                  </a:lnTo>
                  <a:lnTo>
                    <a:pt x="41" y="1309"/>
                  </a:lnTo>
                  <a:lnTo>
                    <a:pt x="38" y="1306"/>
                  </a:lnTo>
                  <a:lnTo>
                    <a:pt x="36" y="1303"/>
                  </a:lnTo>
                  <a:lnTo>
                    <a:pt x="36" y="1300"/>
                  </a:lnTo>
                  <a:lnTo>
                    <a:pt x="35" y="1296"/>
                  </a:lnTo>
                  <a:lnTo>
                    <a:pt x="33" y="1292"/>
                  </a:lnTo>
                  <a:lnTo>
                    <a:pt x="33" y="1287"/>
                  </a:lnTo>
                  <a:lnTo>
                    <a:pt x="32" y="1285"/>
                  </a:lnTo>
                  <a:lnTo>
                    <a:pt x="30" y="1282"/>
                  </a:lnTo>
                  <a:lnTo>
                    <a:pt x="30" y="1281"/>
                  </a:lnTo>
                  <a:lnTo>
                    <a:pt x="28" y="1279"/>
                  </a:lnTo>
                  <a:lnTo>
                    <a:pt x="25" y="1278"/>
                  </a:lnTo>
                  <a:lnTo>
                    <a:pt x="22" y="1276"/>
                  </a:lnTo>
                  <a:lnTo>
                    <a:pt x="21" y="1273"/>
                  </a:lnTo>
                  <a:lnTo>
                    <a:pt x="16" y="1273"/>
                  </a:lnTo>
                  <a:lnTo>
                    <a:pt x="19" y="1263"/>
                  </a:lnTo>
                  <a:lnTo>
                    <a:pt x="22" y="1259"/>
                  </a:lnTo>
                  <a:lnTo>
                    <a:pt x="24" y="1255"/>
                  </a:lnTo>
                  <a:lnTo>
                    <a:pt x="25" y="1252"/>
                  </a:lnTo>
                  <a:lnTo>
                    <a:pt x="25" y="1249"/>
                  </a:lnTo>
                  <a:lnTo>
                    <a:pt x="25" y="1246"/>
                  </a:lnTo>
                  <a:lnTo>
                    <a:pt x="25" y="1243"/>
                  </a:lnTo>
                  <a:lnTo>
                    <a:pt x="28" y="1238"/>
                  </a:lnTo>
                  <a:lnTo>
                    <a:pt x="28" y="1236"/>
                  </a:lnTo>
                  <a:lnTo>
                    <a:pt x="28" y="1232"/>
                  </a:lnTo>
                  <a:lnTo>
                    <a:pt x="30" y="1229"/>
                  </a:lnTo>
                  <a:lnTo>
                    <a:pt x="30" y="1224"/>
                  </a:lnTo>
                  <a:lnTo>
                    <a:pt x="33" y="1225"/>
                  </a:lnTo>
                  <a:lnTo>
                    <a:pt x="36" y="1225"/>
                  </a:lnTo>
                  <a:lnTo>
                    <a:pt x="39" y="1225"/>
                  </a:lnTo>
                  <a:lnTo>
                    <a:pt x="43" y="1225"/>
                  </a:lnTo>
                  <a:lnTo>
                    <a:pt x="47" y="1225"/>
                  </a:lnTo>
                  <a:lnTo>
                    <a:pt x="51" y="1224"/>
                  </a:lnTo>
                  <a:lnTo>
                    <a:pt x="55" y="1222"/>
                  </a:lnTo>
                  <a:lnTo>
                    <a:pt x="58" y="1219"/>
                  </a:lnTo>
                  <a:lnTo>
                    <a:pt x="62" y="1218"/>
                  </a:lnTo>
                  <a:lnTo>
                    <a:pt x="63" y="1214"/>
                  </a:lnTo>
                  <a:lnTo>
                    <a:pt x="66" y="1214"/>
                  </a:lnTo>
                  <a:lnTo>
                    <a:pt x="66" y="1211"/>
                  </a:lnTo>
                  <a:lnTo>
                    <a:pt x="69" y="1211"/>
                  </a:lnTo>
                  <a:lnTo>
                    <a:pt x="71" y="1210"/>
                  </a:lnTo>
                  <a:lnTo>
                    <a:pt x="71" y="1211"/>
                  </a:lnTo>
                  <a:lnTo>
                    <a:pt x="74" y="1211"/>
                  </a:lnTo>
                  <a:lnTo>
                    <a:pt x="76" y="1214"/>
                  </a:lnTo>
                  <a:lnTo>
                    <a:pt x="77" y="1218"/>
                  </a:lnTo>
                  <a:lnTo>
                    <a:pt x="79" y="1219"/>
                  </a:lnTo>
                  <a:lnTo>
                    <a:pt x="81" y="1221"/>
                  </a:lnTo>
                  <a:lnTo>
                    <a:pt x="82" y="1222"/>
                  </a:lnTo>
                  <a:lnTo>
                    <a:pt x="84" y="1222"/>
                  </a:lnTo>
                  <a:lnTo>
                    <a:pt x="87" y="1222"/>
                  </a:lnTo>
                  <a:lnTo>
                    <a:pt x="90" y="1222"/>
                  </a:lnTo>
                  <a:lnTo>
                    <a:pt x="93" y="1221"/>
                  </a:lnTo>
                  <a:lnTo>
                    <a:pt x="96" y="1219"/>
                  </a:lnTo>
                  <a:lnTo>
                    <a:pt x="100" y="1218"/>
                  </a:lnTo>
                  <a:lnTo>
                    <a:pt x="107" y="1213"/>
                  </a:lnTo>
                  <a:lnTo>
                    <a:pt x="114" y="1208"/>
                  </a:lnTo>
                  <a:lnTo>
                    <a:pt x="120" y="1205"/>
                  </a:lnTo>
                  <a:lnTo>
                    <a:pt x="125" y="1199"/>
                  </a:lnTo>
                  <a:lnTo>
                    <a:pt x="183" y="1186"/>
                  </a:lnTo>
                  <a:lnTo>
                    <a:pt x="186" y="1186"/>
                  </a:lnTo>
                  <a:lnTo>
                    <a:pt x="190" y="1186"/>
                  </a:lnTo>
                  <a:lnTo>
                    <a:pt x="191" y="1186"/>
                  </a:lnTo>
                  <a:lnTo>
                    <a:pt x="191" y="1188"/>
                  </a:lnTo>
                  <a:lnTo>
                    <a:pt x="191" y="1189"/>
                  </a:lnTo>
                  <a:lnTo>
                    <a:pt x="193" y="1197"/>
                  </a:lnTo>
                  <a:lnTo>
                    <a:pt x="194" y="1205"/>
                  </a:lnTo>
                  <a:lnTo>
                    <a:pt x="197" y="1210"/>
                  </a:lnTo>
                  <a:lnTo>
                    <a:pt x="199" y="1213"/>
                  </a:lnTo>
                  <a:lnTo>
                    <a:pt x="201" y="1214"/>
                  </a:lnTo>
                  <a:lnTo>
                    <a:pt x="202" y="1218"/>
                  </a:lnTo>
                  <a:lnTo>
                    <a:pt x="204" y="1218"/>
                  </a:lnTo>
                  <a:lnTo>
                    <a:pt x="207" y="1219"/>
                  </a:lnTo>
                  <a:lnTo>
                    <a:pt x="209" y="1219"/>
                  </a:lnTo>
                  <a:lnTo>
                    <a:pt x="212" y="1219"/>
                  </a:lnTo>
                  <a:lnTo>
                    <a:pt x="215" y="1219"/>
                  </a:lnTo>
                  <a:lnTo>
                    <a:pt x="218" y="1219"/>
                  </a:lnTo>
                  <a:lnTo>
                    <a:pt x="221" y="1219"/>
                  </a:lnTo>
                  <a:lnTo>
                    <a:pt x="224" y="1218"/>
                  </a:lnTo>
                  <a:lnTo>
                    <a:pt x="231" y="1218"/>
                  </a:lnTo>
                  <a:lnTo>
                    <a:pt x="235" y="1214"/>
                  </a:lnTo>
                  <a:lnTo>
                    <a:pt x="242" y="1213"/>
                  </a:lnTo>
                  <a:lnTo>
                    <a:pt x="248" y="1210"/>
                  </a:lnTo>
                  <a:lnTo>
                    <a:pt x="256" y="1210"/>
                  </a:lnTo>
                  <a:lnTo>
                    <a:pt x="262" y="1207"/>
                  </a:lnTo>
                  <a:lnTo>
                    <a:pt x="276" y="1205"/>
                  </a:lnTo>
                  <a:lnTo>
                    <a:pt x="289" y="1202"/>
                  </a:lnTo>
                  <a:lnTo>
                    <a:pt x="294" y="1199"/>
                  </a:lnTo>
                  <a:lnTo>
                    <a:pt x="299" y="1197"/>
                  </a:lnTo>
                  <a:lnTo>
                    <a:pt x="300" y="1195"/>
                  </a:lnTo>
                  <a:lnTo>
                    <a:pt x="302" y="1194"/>
                  </a:lnTo>
                  <a:lnTo>
                    <a:pt x="303" y="1192"/>
                  </a:lnTo>
                  <a:lnTo>
                    <a:pt x="305" y="1191"/>
                  </a:lnTo>
                  <a:lnTo>
                    <a:pt x="306" y="1189"/>
                  </a:lnTo>
                  <a:lnTo>
                    <a:pt x="306" y="1186"/>
                  </a:lnTo>
                  <a:lnTo>
                    <a:pt x="306" y="1184"/>
                  </a:lnTo>
                  <a:lnTo>
                    <a:pt x="306" y="1181"/>
                  </a:lnTo>
                  <a:lnTo>
                    <a:pt x="306" y="1178"/>
                  </a:lnTo>
                  <a:lnTo>
                    <a:pt x="306" y="1177"/>
                  </a:lnTo>
                  <a:lnTo>
                    <a:pt x="306" y="1173"/>
                  </a:lnTo>
                  <a:lnTo>
                    <a:pt x="305" y="1170"/>
                  </a:lnTo>
                  <a:lnTo>
                    <a:pt x="299" y="1159"/>
                  </a:lnTo>
                  <a:lnTo>
                    <a:pt x="289" y="1147"/>
                  </a:lnTo>
                  <a:lnTo>
                    <a:pt x="286" y="1143"/>
                  </a:lnTo>
                  <a:lnTo>
                    <a:pt x="284" y="1140"/>
                  </a:lnTo>
                  <a:lnTo>
                    <a:pt x="284" y="1137"/>
                  </a:lnTo>
                  <a:lnTo>
                    <a:pt x="283" y="1134"/>
                  </a:lnTo>
                  <a:lnTo>
                    <a:pt x="283" y="1131"/>
                  </a:lnTo>
                  <a:lnTo>
                    <a:pt x="283" y="1128"/>
                  </a:lnTo>
                  <a:lnTo>
                    <a:pt x="284" y="1126"/>
                  </a:lnTo>
                  <a:lnTo>
                    <a:pt x="284" y="1125"/>
                  </a:lnTo>
                  <a:lnTo>
                    <a:pt x="286" y="1125"/>
                  </a:lnTo>
                  <a:lnTo>
                    <a:pt x="288" y="1123"/>
                  </a:lnTo>
                  <a:lnTo>
                    <a:pt x="289" y="1120"/>
                  </a:lnTo>
                  <a:lnTo>
                    <a:pt x="292" y="1120"/>
                  </a:lnTo>
                  <a:lnTo>
                    <a:pt x="294" y="1118"/>
                  </a:lnTo>
                  <a:lnTo>
                    <a:pt x="297" y="1118"/>
                  </a:lnTo>
                  <a:lnTo>
                    <a:pt x="299" y="1117"/>
                  </a:lnTo>
                  <a:lnTo>
                    <a:pt x="302" y="1115"/>
                  </a:lnTo>
                  <a:lnTo>
                    <a:pt x="305" y="1115"/>
                  </a:lnTo>
                  <a:lnTo>
                    <a:pt x="311" y="1115"/>
                  </a:lnTo>
                  <a:lnTo>
                    <a:pt x="318" y="1115"/>
                  </a:lnTo>
                  <a:lnTo>
                    <a:pt x="325" y="1117"/>
                  </a:lnTo>
                  <a:lnTo>
                    <a:pt x="332" y="1117"/>
                  </a:lnTo>
                  <a:lnTo>
                    <a:pt x="338" y="1118"/>
                  </a:lnTo>
                  <a:lnTo>
                    <a:pt x="344" y="1118"/>
                  </a:lnTo>
                  <a:lnTo>
                    <a:pt x="348" y="1118"/>
                  </a:lnTo>
                  <a:lnTo>
                    <a:pt x="351" y="1117"/>
                  </a:lnTo>
                  <a:lnTo>
                    <a:pt x="352" y="1115"/>
                  </a:lnTo>
                  <a:lnTo>
                    <a:pt x="355" y="1115"/>
                  </a:lnTo>
                  <a:lnTo>
                    <a:pt x="359" y="1115"/>
                  </a:lnTo>
                  <a:lnTo>
                    <a:pt x="360" y="1112"/>
                  </a:lnTo>
                  <a:lnTo>
                    <a:pt x="363" y="1110"/>
                  </a:lnTo>
                  <a:lnTo>
                    <a:pt x="363" y="1109"/>
                  </a:lnTo>
                  <a:lnTo>
                    <a:pt x="367" y="1107"/>
                  </a:lnTo>
                  <a:lnTo>
                    <a:pt x="367" y="1104"/>
                  </a:lnTo>
                  <a:lnTo>
                    <a:pt x="368" y="1101"/>
                  </a:lnTo>
                  <a:lnTo>
                    <a:pt x="368" y="1098"/>
                  </a:lnTo>
                  <a:lnTo>
                    <a:pt x="381" y="1096"/>
                  </a:lnTo>
                  <a:lnTo>
                    <a:pt x="392" y="1096"/>
                  </a:lnTo>
                  <a:lnTo>
                    <a:pt x="401" y="1096"/>
                  </a:lnTo>
                  <a:lnTo>
                    <a:pt x="409" y="1098"/>
                  </a:lnTo>
                  <a:lnTo>
                    <a:pt x="414" y="1098"/>
                  </a:lnTo>
                  <a:lnTo>
                    <a:pt x="419" y="1099"/>
                  </a:lnTo>
                  <a:lnTo>
                    <a:pt x="422" y="1102"/>
                  </a:lnTo>
                  <a:lnTo>
                    <a:pt x="425" y="1104"/>
                  </a:lnTo>
                  <a:lnTo>
                    <a:pt x="427" y="1107"/>
                  </a:lnTo>
                  <a:lnTo>
                    <a:pt x="430" y="1110"/>
                  </a:lnTo>
                  <a:lnTo>
                    <a:pt x="430" y="1113"/>
                  </a:lnTo>
                  <a:lnTo>
                    <a:pt x="431" y="1118"/>
                  </a:lnTo>
                  <a:lnTo>
                    <a:pt x="433" y="1120"/>
                  </a:lnTo>
                  <a:lnTo>
                    <a:pt x="434" y="1125"/>
                  </a:lnTo>
                  <a:lnTo>
                    <a:pt x="436" y="1128"/>
                  </a:lnTo>
                  <a:lnTo>
                    <a:pt x="439" y="1131"/>
                  </a:lnTo>
                  <a:lnTo>
                    <a:pt x="439" y="1136"/>
                  </a:lnTo>
                  <a:lnTo>
                    <a:pt x="439" y="1137"/>
                  </a:lnTo>
                  <a:lnTo>
                    <a:pt x="441" y="1142"/>
                  </a:lnTo>
                  <a:lnTo>
                    <a:pt x="442" y="1143"/>
                  </a:lnTo>
                  <a:lnTo>
                    <a:pt x="446" y="1145"/>
                  </a:lnTo>
                  <a:lnTo>
                    <a:pt x="447" y="1147"/>
                  </a:lnTo>
                  <a:lnTo>
                    <a:pt x="450" y="1148"/>
                  </a:lnTo>
                  <a:lnTo>
                    <a:pt x="453" y="1148"/>
                  </a:lnTo>
                  <a:lnTo>
                    <a:pt x="460" y="1151"/>
                  </a:lnTo>
                  <a:lnTo>
                    <a:pt x="466" y="1151"/>
                  </a:lnTo>
                  <a:lnTo>
                    <a:pt x="468" y="1153"/>
                  </a:lnTo>
                  <a:lnTo>
                    <a:pt x="471" y="1154"/>
                  </a:lnTo>
                  <a:lnTo>
                    <a:pt x="472" y="1156"/>
                  </a:lnTo>
                  <a:lnTo>
                    <a:pt x="474" y="1158"/>
                  </a:lnTo>
                  <a:lnTo>
                    <a:pt x="474" y="1166"/>
                  </a:lnTo>
                  <a:lnTo>
                    <a:pt x="474" y="1173"/>
                  </a:lnTo>
                  <a:lnTo>
                    <a:pt x="476" y="1181"/>
                  </a:lnTo>
                  <a:lnTo>
                    <a:pt x="477" y="1188"/>
                  </a:lnTo>
                  <a:lnTo>
                    <a:pt x="480" y="1194"/>
                  </a:lnTo>
                  <a:lnTo>
                    <a:pt x="483" y="1199"/>
                  </a:lnTo>
                  <a:lnTo>
                    <a:pt x="487" y="1205"/>
                  </a:lnTo>
                  <a:lnTo>
                    <a:pt x="491" y="1208"/>
                  </a:lnTo>
                  <a:lnTo>
                    <a:pt x="494" y="1213"/>
                  </a:lnTo>
                  <a:lnTo>
                    <a:pt x="499" y="1216"/>
                  </a:lnTo>
                  <a:lnTo>
                    <a:pt x="506" y="1219"/>
                  </a:lnTo>
                  <a:lnTo>
                    <a:pt x="512" y="1222"/>
                  </a:lnTo>
                  <a:lnTo>
                    <a:pt x="517" y="1225"/>
                  </a:lnTo>
                  <a:lnTo>
                    <a:pt x="523" y="1227"/>
                  </a:lnTo>
                  <a:lnTo>
                    <a:pt x="529" y="1230"/>
                  </a:lnTo>
                  <a:lnTo>
                    <a:pt x="537" y="1232"/>
                  </a:lnTo>
                  <a:lnTo>
                    <a:pt x="542" y="1232"/>
                  </a:lnTo>
                  <a:lnTo>
                    <a:pt x="545" y="1232"/>
                  </a:lnTo>
                  <a:lnTo>
                    <a:pt x="550" y="1232"/>
                  </a:lnTo>
                  <a:lnTo>
                    <a:pt x="553" y="1232"/>
                  </a:lnTo>
                  <a:lnTo>
                    <a:pt x="556" y="1232"/>
                  </a:lnTo>
                  <a:lnTo>
                    <a:pt x="558" y="1232"/>
                  </a:lnTo>
                  <a:lnTo>
                    <a:pt x="561" y="1230"/>
                  </a:lnTo>
                  <a:lnTo>
                    <a:pt x="561" y="1227"/>
                  </a:lnTo>
                  <a:lnTo>
                    <a:pt x="562" y="1225"/>
                  </a:lnTo>
                  <a:lnTo>
                    <a:pt x="562" y="1222"/>
                  </a:lnTo>
                  <a:lnTo>
                    <a:pt x="564" y="1219"/>
                  </a:lnTo>
                  <a:lnTo>
                    <a:pt x="564" y="1218"/>
                  </a:lnTo>
                  <a:lnTo>
                    <a:pt x="562" y="1211"/>
                  </a:lnTo>
                  <a:lnTo>
                    <a:pt x="562" y="1203"/>
                  </a:lnTo>
                  <a:lnTo>
                    <a:pt x="558" y="1188"/>
                  </a:lnTo>
                  <a:lnTo>
                    <a:pt x="553" y="1172"/>
                  </a:lnTo>
                  <a:lnTo>
                    <a:pt x="550" y="1166"/>
                  </a:lnTo>
                  <a:lnTo>
                    <a:pt x="548" y="1158"/>
                  </a:lnTo>
                  <a:lnTo>
                    <a:pt x="547" y="1151"/>
                  </a:lnTo>
                  <a:lnTo>
                    <a:pt x="545" y="1148"/>
                  </a:lnTo>
                  <a:lnTo>
                    <a:pt x="547" y="1143"/>
                  </a:lnTo>
                  <a:lnTo>
                    <a:pt x="547" y="1140"/>
                  </a:lnTo>
                  <a:lnTo>
                    <a:pt x="548" y="1140"/>
                  </a:lnTo>
                  <a:lnTo>
                    <a:pt x="548" y="1139"/>
                  </a:lnTo>
                  <a:lnTo>
                    <a:pt x="550" y="1139"/>
                  </a:lnTo>
                  <a:lnTo>
                    <a:pt x="553" y="1142"/>
                  </a:lnTo>
                  <a:lnTo>
                    <a:pt x="559" y="1145"/>
                  </a:lnTo>
                  <a:lnTo>
                    <a:pt x="562" y="1148"/>
                  </a:lnTo>
                  <a:lnTo>
                    <a:pt x="566" y="1150"/>
                  </a:lnTo>
                  <a:lnTo>
                    <a:pt x="570" y="1151"/>
                  </a:lnTo>
                  <a:lnTo>
                    <a:pt x="575" y="1151"/>
                  </a:lnTo>
                  <a:lnTo>
                    <a:pt x="578" y="1151"/>
                  </a:lnTo>
                  <a:lnTo>
                    <a:pt x="581" y="1151"/>
                  </a:lnTo>
                  <a:lnTo>
                    <a:pt x="583" y="1151"/>
                  </a:lnTo>
                  <a:lnTo>
                    <a:pt x="586" y="1150"/>
                  </a:lnTo>
                  <a:lnTo>
                    <a:pt x="589" y="1148"/>
                  </a:lnTo>
                  <a:lnTo>
                    <a:pt x="591" y="1145"/>
                  </a:lnTo>
                  <a:lnTo>
                    <a:pt x="594" y="1143"/>
                  </a:lnTo>
                  <a:lnTo>
                    <a:pt x="604" y="1128"/>
                  </a:lnTo>
                  <a:lnTo>
                    <a:pt x="610" y="1115"/>
                  </a:lnTo>
                  <a:lnTo>
                    <a:pt x="611" y="1112"/>
                  </a:lnTo>
                  <a:lnTo>
                    <a:pt x="615" y="1109"/>
                  </a:lnTo>
                  <a:lnTo>
                    <a:pt x="616" y="1106"/>
                  </a:lnTo>
                  <a:lnTo>
                    <a:pt x="618" y="1104"/>
                  </a:lnTo>
                  <a:lnTo>
                    <a:pt x="619" y="1102"/>
                  </a:lnTo>
                  <a:lnTo>
                    <a:pt x="622" y="1102"/>
                  </a:lnTo>
                  <a:lnTo>
                    <a:pt x="626" y="1102"/>
                  </a:lnTo>
                  <a:lnTo>
                    <a:pt x="629" y="1102"/>
                  </a:lnTo>
                  <a:lnTo>
                    <a:pt x="641" y="1102"/>
                  </a:lnTo>
                  <a:lnTo>
                    <a:pt x="657" y="1102"/>
                  </a:lnTo>
                  <a:lnTo>
                    <a:pt x="668" y="1104"/>
                  </a:lnTo>
                  <a:lnTo>
                    <a:pt x="675" y="1107"/>
                  </a:lnTo>
                  <a:lnTo>
                    <a:pt x="678" y="1107"/>
                  </a:lnTo>
                  <a:lnTo>
                    <a:pt x="679" y="1107"/>
                  </a:lnTo>
                  <a:lnTo>
                    <a:pt x="681" y="1107"/>
                  </a:lnTo>
                  <a:lnTo>
                    <a:pt x="683" y="1106"/>
                  </a:lnTo>
                  <a:lnTo>
                    <a:pt x="683" y="1104"/>
                  </a:lnTo>
                  <a:lnTo>
                    <a:pt x="681" y="1104"/>
                  </a:lnTo>
                  <a:lnTo>
                    <a:pt x="679" y="1101"/>
                  </a:lnTo>
                  <a:lnTo>
                    <a:pt x="676" y="1098"/>
                  </a:lnTo>
                  <a:lnTo>
                    <a:pt x="673" y="1095"/>
                  </a:lnTo>
                  <a:lnTo>
                    <a:pt x="670" y="1090"/>
                  </a:lnTo>
                  <a:lnTo>
                    <a:pt x="668" y="1085"/>
                  </a:lnTo>
                  <a:lnTo>
                    <a:pt x="665" y="1080"/>
                  </a:lnTo>
                  <a:lnTo>
                    <a:pt x="665" y="1079"/>
                  </a:lnTo>
                  <a:lnTo>
                    <a:pt x="665" y="1076"/>
                  </a:lnTo>
                  <a:lnTo>
                    <a:pt x="665" y="1074"/>
                  </a:lnTo>
                  <a:lnTo>
                    <a:pt x="665" y="1071"/>
                  </a:lnTo>
                  <a:lnTo>
                    <a:pt x="665" y="1069"/>
                  </a:lnTo>
                  <a:lnTo>
                    <a:pt x="667" y="1066"/>
                  </a:lnTo>
                  <a:lnTo>
                    <a:pt x="668" y="1065"/>
                  </a:lnTo>
                  <a:lnTo>
                    <a:pt x="671" y="1061"/>
                  </a:lnTo>
                  <a:lnTo>
                    <a:pt x="678" y="1065"/>
                  </a:lnTo>
                  <a:lnTo>
                    <a:pt x="684" y="1065"/>
                  </a:lnTo>
                  <a:lnTo>
                    <a:pt x="689" y="1065"/>
                  </a:lnTo>
                  <a:lnTo>
                    <a:pt x="694" y="1065"/>
                  </a:lnTo>
                  <a:lnTo>
                    <a:pt x="698" y="1065"/>
                  </a:lnTo>
                  <a:lnTo>
                    <a:pt x="703" y="1065"/>
                  </a:lnTo>
                  <a:lnTo>
                    <a:pt x="706" y="1061"/>
                  </a:lnTo>
                  <a:lnTo>
                    <a:pt x="708" y="1060"/>
                  </a:lnTo>
                  <a:lnTo>
                    <a:pt x="709" y="1058"/>
                  </a:lnTo>
                  <a:lnTo>
                    <a:pt x="709" y="1057"/>
                  </a:lnTo>
                  <a:lnTo>
                    <a:pt x="709" y="1055"/>
                  </a:lnTo>
                  <a:lnTo>
                    <a:pt x="709" y="1054"/>
                  </a:lnTo>
                  <a:lnTo>
                    <a:pt x="708" y="1050"/>
                  </a:lnTo>
                  <a:lnTo>
                    <a:pt x="706" y="1050"/>
                  </a:lnTo>
                  <a:lnTo>
                    <a:pt x="703" y="1047"/>
                  </a:lnTo>
                  <a:lnTo>
                    <a:pt x="698" y="1044"/>
                  </a:lnTo>
                  <a:lnTo>
                    <a:pt x="692" y="1041"/>
                  </a:lnTo>
                  <a:lnTo>
                    <a:pt x="684" y="1038"/>
                  </a:lnTo>
                  <a:lnTo>
                    <a:pt x="678" y="1019"/>
                  </a:lnTo>
                  <a:lnTo>
                    <a:pt x="675" y="1008"/>
                  </a:lnTo>
                  <a:lnTo>
                    <a:pt x="673" y="1005"/>
                  </a:lnTo>
                  <a:lnTo>
                    <a:pt x="673" y="1003"/>
                  </a:lnTo>
                  <a:lnTo>
                    <a:pt x="671" y="1003"/>
                  </a:lnTo>
                  <a:lnTo>
                    <a:pt x="670" y="1003"/>
                  </a:lnTo>
                  <a:lnTo>
                    <a:pt x="667" y="1008"/>
                  </a:lnTo>
                  <a:lnTo>
                    <a:pt x="662" y="1013"/>
                  </a:lnTo>
                  <a:lnTo>
                    <a:pt x="657" y="1016"/>
                  </a:lnTo>
                  <a:lnTo>
                    <a:pt x="654" y="1017"/>
                  </a:lnTo>
                  <a:lnTo>
                    <a:pt x="652" y="1017"/>
                  </a:lnTo>
                  <a:lnTo>
                    <a:pt x="649" y="1017"/>
                  </a:lnTo>
                  <a:lnTo>
                    <a:pt x="646" y="1019"/>
                  </a:lnTo>
                  <a:lnTo>
                    <a:pt x="643" y="1019"/>
                  </a:lnTo>
                  <a:lnTo>
                    <a:pt x="643" y="1014"/>
                  </a:lnTo>
                  <a:lnTo>
                    <a:pt x="645" y="1011"/>
                  </a:lnTo>
                  <a:lnTo>
                    <a:pt x="645" y="1005"/>
                  </a:lnTo>
                  <a:lnTo>
                    <a:pt x="646" y="1003"/>
                  </a:lnTo>
                  <a:lnTo>
                    <a:pt x="649" y="995"/>
                  </a:lnTo>
                  <a:lnTo>
                    <a:pt x="652" y="990"/>
                  </a:lnTo>
                  <a:lnTo>
                    <a:pt x="657" y="983"/>
                  </a:lnTo>
                  <a:lnTo>
                    <a:pt x="664" y="975"/>
                  </a:lnTo>
                  <a:lnTo>
                    <a:pt x="665" y="972"/>
                  </a:lnTo>
                  <a:lnTo>
                    <a:pt x="667" y="970"/>
                  </a:lnTo>
                  <a:lnTo>
                    <a:pt x="667" y="967"/>
                  </a:lnTo>
                  <a:lnTo>
                    <a:pt x="668" y="965"/>
                  </a:lnTo>
                  <a:lnTo>
                    <a:pt x="667" y="964"/>
                  </a:lnTo>
                  <a:lnTo>
                    <a:pt x="667" y="962"/>
                  </a:lnTo>
                  <a:lnTo>
                    <a:pt x="665" y="960"/>
                  </a:lnTo>
                  <a:lnTo>
                    <a:pt x="665" y="957"/>
                  </a:lnTo>
                  <a:lnTo>
                    <a:pt x="664" y="956"/>
                  </a:lnTo>
                  <a:lnTo>
                    <a:pt x="660" y="954"/>
                  </a:lnTo>
                  <a:lnTo>
                    <a:pt x="656" y="948"/>
                  </a:lnTo>
                  <a:lnTo>
                    <a:pt x="649" y="942"/>
                  </a:lnTo>
                  <a:lnTo>
                    <a:pt x="652" y="943"/>
                  </a:lnTo>
                  <a:lnTo>
                    <a:pt x="657" y="943"/>
                  </a:lnTo>
                  <a:lnTo>
                    <a:pt x="660" y="943"/>
                  </a:lnTo>
                  <a:lnTo>
                    <a:pt x="665" y="942"/>
                  </a:lnTo>
                  <a:lnTo>
                    <a:pt x="668" y="942"/>
                  </a:lnTo>
                  <a:lnTo>
                    <a:pt x="673" y="940"/>
                  </a:lnTo>
                  <a:lnTo>
                    <a:pt x="676" y="938"/>
                  </a:lnTo>
                  <a:lnTo>
                    <a:pt x="681" y="938"/>
                  </a:lnTo>
                  <a:lnTo>
                    <a:pt x="689" y="934"/>
                  </a:lnTo>
                  <a:lnTo>
                    <a:pt x="697" y="929"/>
                  </a:lnTo>
                  <a:lnTo>
                    <a:pt x="703" y="924"/>
                  </a:lnTo>
                  <a:lnTo>
                    <a:pt x="711" y="919"/>
                  </a:lnTo>
                  <a:lnTo>
                    <a:pt x="725" y="908"/>
                  </a:lnTo>
                  <a:lnTo>
                    <a:pt x="739" y="899"/>
                  </a:lnTo>
                  <a:lnTo>
                    <a:pt x="747" y="894"/>
                  </a:lnTo>
                  <a:lnTo>
                    <a:pt x="754" y="891"/>
                  </a:lnTo>
                  <a:lnTo>
                    <a:pt x="757" y="889"/>
                  </a:lnTo>
                  <a:lnTo>
                    <a:pt x="760" y="888"/>
                  </a:lnTo>
                  <a:lnTo>
                    <a:pt x="763" y="888"/>
                  </a:lnTo>
                  <a:lnTo>
                    <a:pt x="766" y="886"/>
                  </a:lnTo>
                  <a:lnTo>
                    <a:pt x="768" y="888"/>
                  </a:lnTo>
                  <a:lnTo>
                    <a:pt x="768" y="889"/>
                  </a:lnTo>
                  <a:lnTo>
                    <a:pt x="768" y="893"/>
                  </a:lnTo>
                  <a:lnTo>
                    <a:pt x="768" y="894"/>
                  </a:lnTo>
                  <a:lnTo>
                    <a:pt x="766" y="897"/>
                  </a:lnTo>
                  <a:lnTo>
                    <a:pt x="765" y="901"/>
                  </a:lnTo>
                  <a:lnTo>
                    <a:pt x="762" y="902"/>
                  </a:lnTo>
                  <a:lnTo>
                    <a:pt x="760" y="905"/>
                  </a:lnTo>
                  <a:lnTo>
                    <a:pt x="757" y="908"/>
                  </a:lnTo>
                  <a:lnTo>
                    <a:pt x="755" y="910"/>
                  </a:lnTo>
                  <a:lnTo>
                    <a:pt x="752" y="912"/>
                  </a:lnTo>
                  <a:lnTo>
                    <a:pt x="750" y="915"/>
                  </a:lnTo>
                  <a:lnTo>
                    <a:pt x="749" y="916"/>
                  </a:lnTo>
                  <a:lnTo>
                    <a:pt x="747" y="918"/>
                  </a:lnTo>
                  <a:lnTo>
                    <a:pt x="747" y="919"/>
                  </a:lnTo>
                  <a:lnTo>
                    <a:pt x="749" y="921"/>
                  </a:lnTo>
                  <a:lnTo>
                    <a:pt x="750" y="921"/>
                  </a:lnTo>
                  <a:lnTo>
                    <a:pt x="750" y="923"/>
                  </a:lnTo>
                  <a:lnTo>
                    <a:pt x="752" y="923"/>
                  </a:lnTo>
                  <a:lnTo>
                    <a:pt x="758" y="918"/>
                  </a:lnTo>
                  <a:lnTo>
                    <a:pt x="765" y="913"/>
                  </a:lnTo>
                  <a:lnTo>
                    <a:pt x="773" y="908"/>
                  </a:lnTo>
                  <a:lnTo>
                    <a:pt x="777" y="902"/>
                  </a:lnTo>
                  <a:lnTo>
                    <a:pt x="779" y="902"/>
                  </a:lnTo>
                  <a:lnTo>
                    <a:pt x="780" y="902"/>
                  </a:lnTo>
                  <a:lnTo>
                    <a:pt x="784" y="904"/>
                  </a:lnTo>
                  <a:lnTo>
                    <a:pt x="784" y="907"/>
                  </a:lnTo>
                  <a:lnTo>
                    <a:pt x="785" y="915"/>
                  </a:lnTo>
                  <a:lnTo>
                    <a:pt x="788" y="923"/>
                  </a:lnTo>
                  <a:lnTo>
                    <a:pt x="788" y="934"/>
                  </a:lnTo>
                  <a:lnTo>
                    <a:pt x="790" y="942"/>
                  </a:lnTo>
                  <a:lnTo>
                    <a:pt x="792" y="943"/>
                  </a:lnTo>
                  <a:lnTo>
                    <a:pt x="792" y="946"/>
                  </a:lnTo>
                  <a:lnTo>
                    <a:pt x="793" y="946"/>
                  </a:lnTo>
                  <a:lnTo>
                    <a:pt x="795" y="945"/>
                  </a:lnTo>
                  <a:lnTo>
                    <a:pt x="796" y="943"/>
                  </a:lnTo>
                  <a:lnTo>
                    <a:pt x="798" y="942"/>
                  </a:lnTo>
                  <a:lnTo>
                    <a:pt x="799" y="940"/>
                  </a:lnTo>
                  <a:lnTo>
                    <a:pt x="801" y="937"/>
                  </a:lnTo>
                  <a:lnTo>
                    <a:pt x="801" y="935"/>
                  </a:lnTo>
                  <a:lnTo>
                    <a:pt x="801" y="932"/>
                  </a:lnTo>
                  <a:lnTo>
                    <a:pt x="801" y="929"/>
                  </a:lnTo>
                  <a:lnTo>
                    <a:pt x="798" y="916"/>
                  </a:lnTo>
                  <a:lnTo>
                    <a:pt x="793" y="901"/>
                  </a:lnTo>
                  <a:lnTo>
                    <a:pt x="793" y="893"/>
                  </a:lnTo>
                  <a:lnTo>
                    <a:pt x="793" y="885"/>
                  </a:lnTo>
                  <a:lnTo>
                    <a:pt x="793" y="880"/>
                  </a:lnTo>
                  <a:lnTo>
                    <a:pt x="793" y="877"/>
                  </a:lnTo>
                  <a:lnTo>
                    <a:pt x="793" y="874"/>
                  </a:lnTo>
                  <a:lnTo>
                    <a:pt x="793" y="869"/>
                  </a:lnTo>
                  <a:lnTo>
                    <a:pt x="795" y="866"/>
                  </a:lnTo>
                  <a:lnTo>
                    <a:pt x="796" y="863"/>
                  </a:lnTo>
                  <a:lnTo>
                    <a:pt x="798" y="860"/>
                  </a:lnTo>
                  <a:lnTo>
                    <a:pt x="801" y="856"/>
                  </a:lnTo>
                  <a:lnTo>
                    <a:pt x="804" y="855"/>
                  </a:lnTo>
                  <a:lnTo>
                    <a:pt x="806" y="852"/>
                  </a:lnTo>
                  <a:lnTo>
                    <a:pt x="812" y="850"/>
                  </a:lnTo>
                  <a:lnTo>
                    <a:pt x="815" y="848"/>
                  </a:lnTo>
                  <a:lnTo>
                    <a:pt x="826" y="844"/>
                  </a:lnTo>
                  <a:lnTo>
                    <a:pt x="836" y="841"/>
                  </a:lnTo>
                  <a:lnTo>
                    <a:pt x="842" y="839"/>
                  </a:lnTo>
                  <a:lnTo>
                    <a:pt x="850" y="837"/>
                  </a:lnTo>
                  <a:lnTo>
                    <a:pt x="852" y="837"/>
                  </a:lnTo>
                  <a:lnTo>
                    <a:pt x="855" y="839"/>
                  </a:lnTo>
                  <a:lnTo>
                    <a:pt x="856" y="839"/>
                  </a:lnTo>
                  <a:lnTo>
                    <a:pt x="858" y="839"/>
                  </a:lnTo>
                  <a:lnTo>
                    <a:pt x="859" y="841"/>
                  </a:lnTo>
                  <a:lnTo>
                    <a:pt x="859" y="842"/>
                  </a:lnTo>
                  <a:lnTo>
                    <a:pt x="861" y="842"/>
                  </a:lnTo>
                  <a:lnTo>
                    <a:pt x="863" y="844"/>
                  </a:lnTo>
                  <a:lnTo>
                    <a:pt x="863" y="847"/>
                  </a:lnTo>
                  <a:lnTo>
                    <a:pt x="863" y="850"/>
                  </a:lnTo>
                  <a:lnTo>
                    <a:pt x="863" y="853"/>
                  </a:lnTo>
                  <a:lnTo>
                    <a:pt x="863" y="856"/>
                  </a:lnTo>
                  <a:lnTo>
                    <a:pt x="861" y="864"/>
                  </a:lnTo>
                  <a:lnTo>
                    <a:pt x="859" y="871"/>
                  </a:lnTo>
                  <a:lnTo>
                    <a:pt x="859" y="874"/>
                  </a:lnTo>
                  <a:lnTo>
                    <a:pt x="861" y="875"/>
                  </a:lnTo>
                  <a:lnTo>
                    <a:pt x="863" y="875"/>
                  </a:lnTo>
                  <a:lnTo>
                    <a:pt x="864" y="875"/>
                  </a:lnTo>
                  <a:lnTo>
                    <a:pt x="867" y="874"/>
                  </a:lnTo>
                  <a:lnTo>
                    <a:pt x="875" y="869"/>
                  </a:lnTo>
                  <a:lnTo>
                    <a:pt x="883" y="864"/>
                  </a:lnTo>
                  <a:lnTo>
                    <a:pt x="894" y="858"/>
                  </a:lnTo>
                  <a:lnTo>
                    <a:pt x="901" y="855"/>
                  </a:lnTo>
                  <a:lnTo>
                    <a:pt x="908" y="853"/>
                  </a:lnTo>
                  <a:lnTo>
                    <a:pt x="916" y="850"/>
                  </a:lnTo>
                  <a:lnTo>
                    <a:pt x="924" y="848"/>
                  </a:lnTo>
                  <a:lnTo>
                    <a:pt x="929" y="852"/>
                  </a:lnTo>
                  <a:lnTo>
                    <a:pt x="934" y="853"/>
                  </a:lnTo>
                  <a:lnTo>
                    <a:pt x="940" y="855"/>
                  </a:lnTo>
                  <a:lnTo>
                    <a:pt x="945" y="855"/>
                  </a:lnTo>
                  <a:lnTo>
                    <a:pt x="948" y="856"/>
                  </a:lnTo>
                  <a:lnTo>
                    <a:pt x="953" y="855"/>
                  </a:lnTo>
                  <a:lnTo>
                    <a:pt x="956" y="855"/>
                  </a:lnTo>
                  <a:lnTo>
                    <a:pt x="961" y="855"/>
                  </a:lnTo>
                  <a:lnTo>
                    <a:pt x="962" y="852"/>
                  </a:lnTo>
                  <a:lnTo>
                    <a:pt x="965" y="852"/>
                  </a:lnTo>
                  <a:lnTo>
                    <a:pt x="970" y="848"/>
                  </a:lnTo>
                  <a:lnTo>
                    <a:pt x="972" y="847"/>
                  </a:lnTo>
                  <a:lnTo>
                    <a:pt x="975" y="844"/>
                  </a:lnTo>
                  <a:lnTo>
                    <a:pt x="976" y="842"/>
                  </a:lnTo>
                  <a:lnTo>
                    <a:pt x="978" y="839"/>
                  </a:lnTo>
                  <a:lnTo>
                    <a:pt x="980" y="836"/>
                  </a:lnTo>
                  <a:lnTo>
                    <a:pt x="983" y="830"/>
                  </a:lnTo>
                  <a:lnTo>
                    <a:pt x="986" y="822"/>
                  </a:lnTo>
                  <a:lnTo>
                    <a:pt x="987" y="815"/>
                  </a:lnTo>
                  <a:lnTo>
                    <a:pt x="989" y="809"/>
                  </a:lnTo>
                  <a:lnTo>
                    <a:pt x="991" y="803"/>
                  </a:lnTo>
                  <a:lnTo>
                    <a:pt x="991" y="796"/>
                  </a:lnTo>
                  <a:lnTo>
                    <a:pt x="991" y="793"/>
                  </a:lnTo>
                  <a:lnTo>
                    <a:pt x="992" y="789"/>
                  </a:lnTo>
                  <a:lnTo>
                    <a:pt x="992" y="784"/>
                  </a:lnTo>
                  <a:lnTo>
                    <a:pt x="994" y="778"/>
                  </a:lnTo>
                  <a:lnTo>
                    <a:pt x="995" y="770"/>
                  </a:lnTo>
                  <a:lnTo>
                    <a:pt x="999" y="763"/>
                  </a:lnTo>
                  <a:lnTo>
                    <a:pt x="1002" y="757"/>
                  </a:lnTo>
                  <a:lnTo>
                    <a:pt x="1006" y="749"/>
                  </a:lnTo>
                  <a:lnTo>
                    <a:pt x="1011" y="741"/>
                  </a:lnTo>
                  <a:lnTo>
                    <a:pt x="1017" y="735"/>
                  </a:lnTo>
                  <a:lnTo>
                    <a:pt x="1021" y="732"/>
                  </a:lnTo>
                  <a:lnTo>
                    <a:pt x="1024" y="727"/>
                  </a:lnTo>
                  <a:lnTo>
                    <a:pt x="1027" y="724"/>
                  </a:lnTo>
                  <a:lnTo>
                    <a:pt x="1032" y="722"/>
                  </a:lnTo>
                  <a:lnTo>
                    <a:pt x="1035" y="719"/>
                  </a:lnTo>
                  <a:lnTo>
                    <a:pt x="1038" y="716"/>
                  </a:lnTo>
                  <a:lnTo>
                    <a:pt x="1043" y="714"/>
                  </a:lnTo>
                  <a:lnTo>
                    <a:pt x="1047" y="711"/>
                  </a:lnTo>
                  <a:lnTo>
                    <a:pt x="1052" y="710"/>
                  </a:lnTo>
                  <a:lnTo>
                    <a:pt x="1055" y="708"/>
                  </a:lnTo>
                  <a:lnTo>
                    <a:pt x="1060" y="707"/>
                  </a:lnTo>
                  <a:lnTo>
                    <a:pt x="1065" y="707"/>
                  </a:lnTo>
                  <a:lnTo>
                    <a:pt x="1070" y="707"/>
                  </a:lnTo>
                  <a:lnTo>
                    <a:pt x="1074" y="707"/>
                  </a:lnTo>
                  <a:lnTo>
                    <a:pt x="1081" y="707"/>
                  </a:lnTo>
                  <a:lnTo>
                    <a:pt x="1085" y="707"/>
                  </a:lnTo>
                  <a:lnTo>
                    <a:pt x="1090" y="708"/>
                  </a:lnTo>
                  <a:lnTo>
                    <a:pt x="1095" y="708"/>
                  </a:lnTo>
                  <a:lnTo>
                    <a:pt x="1101" y="711"/>
                  </a:lnTo>
                  <a:lnTo>
                    <a:pt x="1104" y="711"/>
                  </a:lnTo>
                  <a:lnTo>
                    <a:pt x="1109" y="714"/>
                  </a:lnTo>
                  <a:lnTo>
                    <a:pt x="1111" y="716"/>
                  </a:lnTo>
                  <a:lnTo>
                    <a:pt x="1114" y="718"/>
                  </a:lnTo>
                  <a:lnTo>
                    <a:pt x="1117" y="719"/>
                  </a:lnTo>
                  <a:lnTo>
                    <a:pt x="1122" y="722"/>
                  </a:lnTo>
                  <a:lnTo>
                    <a:pt x="1126" y="727"/>
                  </a:lnTo>
                  <a:lnTo>
                    <a:pt x="1128" y="730"/>
                  </a:lnTo>
                  <a:lnTo>
                    <a:pt x="1131" y="733"/>
                  </a:lnTo>
                  <a:lnTo>
                    <a:pt x="1134" y="736"/>
                  </a:lnTo>
                  <a:lnTo>
                    <a:pt x="1136" y="740"/>
                  </a:lnTo>
                  <a:lnTo>
                    <a:pt x="1139" y="741"/>
                  </a:lnTo>
                  <a:lnTo>
                    <a:pt x="1141" y="741"/>
                  </a:lnTo>
                  <a:lnTo>
                    <a:pt x="1142" y="741"/>
                  </a:lnTo>
                  <a:lnTo>
                    <a:pt x="1142" y="740"/>
                  </a:lnTo>
                  <a:lnTo>
                    <a:pt x="1145" y="738"/>
                  </a:lnTo>
                  <a:lnTo>
                    <a:pt x="1149" y="735"/>
                  </a:lnTo>
                  <a:lnTo>
                    <a:pt x="1152" y="732"/>
                  </a:lnTo>
                  <a:lnTo>
                    <a:pt x="1155" y="730"/>
                  </a:lnTo>
                  <a:lnTo>
                    <a:pt x="1156" y="729"/>
                  </a:lnTo>
                  <a:lnTo>
                    <a:pt x="1161" y="729"/>
                  </a:lnTo>
                  <a:lnTo>
                    <a:pt x="1164" y="729"/>
                  </a:lnTo>
                  <a:lnTo>
                    <a:pt x="1169" y="729"/>
                  </a:lnTo>
                  <a:lnTo>
                    <a:pt x="1172" y="729"/>
                  </a:lnTo>
                  <a:lnTo>
                    <a:pt x="1177" y="730"/>
                  </a:lnTo>
                  <a:lnTo>
                    <a:pt x="1180" y="732"/>
                  </a:lnTo>
                  <a:lnTo>
                    <a:pt x="1185" y="735"/>
                  </a:lnTo>
                  <a:lnTo>
                    <a:pt x="1190" y="736"/>
                  </a:lnTo>
                  <a:lnTo>
                    <a:pt x="1193" y="738"/>
                  </a:lnTo>
                  <a:lnTo>
                    <a:pt x="1202" y="743"/>
                  </a:lnTo>
                  <a:lnTo>
                    <a:pt x="1210" y="748"/>
                  </a:lnTo>
                  <a:lnTo>
                    <a:pt x="1218" y="752"/>
                  </a:lnTo>
                  <a:lnTo>
                    <a:pt x="1224" y="757"/>
                  </a:lnTo>
                  <a:lnTo>
                    <a:pt x="1229" y="760"/>
                  </a:lnTo>
                  <a:lnTo>
                    <a:pt x="1234" y="762"/>
                  </a:lnTo>
                  <a:lnTo>
                    <a:pt x="1237" y="762"/>
                  </a:lnTo>
                  <a:lnTo>
                    <a:pt x="1237" y="760"/>
                  </a:lnTo>
                  <a:lnTo>
                    <a:pt x="1237" y="759"/>
                  </a:lnTo>
                  <a:lnTo>
                    <a:pt x="1235" y="755"/>
                  </a:lnTo>
                  <a:lnTo>
                    <a:pt x="1234" y="752"/>
                  </a:lnTo>
                  <a:lnTo>
                    <a:pt x="1231" y="748"/>
                  </a:lnTo>
                  <a:lnTo>
                    <a:pt x="1226" y="744"/>
                  </a:lnTo>
                  <a:lnTo>
                    <a:pt x="1221" y="738"/>
                  </a:lnTo>
                  <a:lnTo>
                    <a:pt x="1217" y="732"/>
                  </a:lnTo>
                  <a:lnTo>
                    <a:pt x="1210" y="724"/>
                  </a:lnTo>
                  <a:lnTo>
                    <a:pt x="1205" y="716"/>
                  </a:lnTo>
                  <a:lnTo>
                    <a:pt x="1201" y="708"/>
                  </a:lnTo>
                  <a:lnTo>
                    <a:pt x="1198" y="705"/>
                  </a:lnTo>
                  <a:lnTo>
                    <a:pt x="1196" y="700"/>
                  </a:lnTo>
                  <a:lnTo>
                    <a:pt x="1196" y="695"/>
                  </a:lnTo>
                  <a:lnTo>
                    <a:pt x="1193" y="691"/>
                  </a:lnTo>
                  <a:lnTo>
                    <a:pt x="1194" y="691"/>
                  </a:lnTo>
                  <a:lnTo>
                    <a:pt x="1193" y="688"/>
                  </a:lnTo>
                  <a:lnTo>
                    <a:pt x="1193" y="686"/>
                  </a:lnTo>
                  <a:lnTo>
                    <a:pt x="1193" y="684"/>
                  </a:lnTo>
                  <a:lnTo>
                    <a:pt x="1193" y="683"/>
                  </a:lnTo>
                  <a:lnTo>
                    <a:pt x="1193" y="678"/>
                  </a:lnTo>
                  <a:lnTo>
                    <a:pt x="1193" y="675"/>
                  </a:lnTo>
                  <a:lnTo>
                    <a:pt x="1193" y="670"/>
                  </a:lnTo>
                  <a:lnTo>
                    <a:pt x="1194" y="667"/>
                  </a:lnTo>
                  <a:lnTo>
                    <a:pt x="1196" y="664"/>
                  </a:lnTo>
                  <a:lnTo>
                    <a:pt x="1198" y="661"/>
                  </a:lnTo>
                  <a:lnTo>
                    <a:pt x="1198" y="658"/>
                  </a:lnTo>
                  <a:lnTo>
                    <a:pt x="1201" y="654"/>
                  </a:lnTo>
                  <a:lnTo>
                    <a:pt x="1204" y="650"/>
                  </a:lnTo>
                  <a:lnTo>
                    <a:pt x="1209" y="645"/>
                  </a:lnTo>
                  <a:lnTo>
                    <a:pt x="1213" y="640"/>
                  </a:lnTo>
                  <a:lnTo>
                    <a:pt x="1218" y="634"/>
                  </a:lnTo>
                  <a:lnTo>
                    <a:pt x="1229" y="628"/>
                  </a:lnTo>
                  <a:lnTo>
                    <a:pt x="1239" y="618"/>
                  </a:lnTo>
                  <a:lnTo>
                    <a:pt x="1243" y="613"/>
                  </a:lnTo>
                  <a:lnTo>
                    <a:pt x="1247" y="609"/>
                  </a:lnTo>
                  <a:lnTo>
                    <a:pt x="1250" y="607"/>
                  </a:lnTo>
                  <a:lnTo>
                    <a:pt x="1250" y="604"/>
                  </a:lnTo>
                  <a:lnTo>
                    <a:pt x="1251" y="601"/>
                  </a:lnTo>
                  <a:lnTo>
                    <a:pt x="1253" y="599"/>
                  </a:lnTo>
                  <a:lnTo>
                    <a:pt x="1254" y="593"/>
                  </a:lnTo>
                  <a:lnTo>
                    <a:pt x="1254" y="587"/>
                  </a:lnTo>
                  <a:lnTo>
                    <a:pt x="1254" y="580"/>
                  </a:lnTo>
                  <a:lnTo>
                    <a:pt x="1254" y="576"/>
                  </a:lnTo>
                  <a:lnTo>
                    <a:pt x="1254" y="563"/>
                  </a:lnTo>
                  <a:lnTo>
                    <a:pt x="1253" y="554"/>
                  </a:lnTo>
                  <a:lnTo>
                    <a:pt x="1253" y="549"/>
                  </a:lnTo>
                  <a:lnTo>
                    <a:pt x="1253" y="546"/>
                  </a:lnTo>
                  <a:lnTo>
                    <a:pt x="1253" y="542"/>
                  </a:lnTo>
                  <a:lnTo>
                    <a:pt x="1253" y="541"/>
                  </a:lnTo>
                  <a:lnTo>
                    <a:pt x="1253" y="539"/>
                  </a:lnTo>
                  <a:lnTo>
                    <a:pt x="1253" y="538"/>
                  </a:lnTo>
                  <a:lnTo>
                    <a:pt x="1254" y="538"/>
                  </a:lnTo>
                  <a:lnTo>
                    <a:pt x="1258" y="538"/>
                  </a:lnTo>
                  <a:lnTo>
                    <a:pt x="1259" y="538"/>
                  </a:lnTo>
                  <a:lnTo>
                    <a:pt x="1267" y="542"/>
                  </a:lnTo>
                  <a:lnTo>
                    <a:pt x="1275" y="546"/>
                  </a:lnTo>
                  <a:lnTo>
                    <a:pt x="1280" y="547"/>
                  </a:lnTo>
                  <a:lnTo>
                    <a:pt x="1283" y="549"/>
                  </a:lnTo>
                  <a:lnTo>
                    <a:pt x="1286" y="549"/>
                  </a:lnTo>
                  <a:lnTo>
                    <a:pt x="1291" y="550"/>
                  </a:lnTo>
                  <a:lnTo>
                    <a:pt x="1292" y="549"/>
                  </a:lnTo>
                  <a:lnTo>
                    <a:pt x="1297" y="549"/>
                  </a:lnTo>
                  <a:lnTo>
                    <a:pt x="1300" y="547"/>
                  </a:lnTo>
                  <a:lnTo>
                    <a:pt x="1303" y="546"/>
                  </a:lnTo>
                  <a:lnTo>
                    <a:pt x="1307" y="544"/>
                  </a:lnTo>
                  <a:lnTo>
                    <a:pt x="1310" y="541"/>
                  </a:lnTo>
                  <a:lnTo>
                    <a:pt x="1313" y="538"/>
                  </a:lnTo>
                  <a:lnTo>
                    <a:pt x="1316" y="533"/>
                  </a:lnTo>
                  <a:lnTo>
                    <a:pt x="1322" y="535"/>
                  </a:lnTo>
                  <a:lnTo>
                    <a:pt x="1329" y="538"/>
                  </a:lnTo>
                  <a:lnTo>
                    <a:pt x="1333" y="538"/>
                  </a:lnTo>
                  <a:lnTo>
                    <a:pt x="1338" y="538"/>
                  </a:lnTo>
                  <a:lnTo>
                    <a:pt x="1340" y="538"/>
                  </a:lnTo>
                  <a:lnTo>
                    <a:pt x="1343" y="536"/>
                  </a:lnTo>
                  <a:lnTo>
                    <a:pt x="1345" y="535"/>
                  </a:lnTo>
                  <a:lnTo>
                    <a:pt x="1346" y="533"/>
                  </a:lnTo>
                  <a:lnTo>
                    <a:pt x="1346" y="530"/>
                  </a:lnTo>
                  <a:lnTo>
                    <a:pt x="1349" y="525"/>
                  </a:lnTo>
                  <a:lnTo>
                    <a:pt x="1349" y="522"/>
                  </a:lnTo>
                  <a:lnTo>
                    <a:pt x="1349" y="520"/>
                  </a:lnTo>
                  <a:lnTo>
                    <a:pt x="1351" y="517"/>
                  </a:lnTo>
                  <a:lnTo>
                    <a:pt x="1354" y="516"/>
                  </a:lnTo>
                  <a:lnTo>
                    <a:pt x="1352" y="514"/>
                  </a:lnTo>
                  <a:lnTo>
                    <a:pt x="1352" y="509"/>
                  </a:lnTo>
                  <a:lnTo>
                    <a:pt x="1351" y="505"/>
                  </a:lnTo>
                  <a:lnTo>
                    <a:pt x="1349" y="497"/>
                  </a:lnTo>
                  <a:lnTo>
                    <a:pt x="1346" y="494"/>
                  </a:lnTo>
                  <a:lnTo>
                    <a:pt x="1345" y="492"/>
                  </a:lnTo>
                  <a:lnTo>
                    <a:pt x="1343" y="489"/>
                  </a:lnTo>
                  <a:lnTo>
                    <a:pt x="1340" y="487"/>
                  </a:lnTo>
                  <a:lnTo>
                    <a:pt x="1338" y="486"/>
                  </a:lnTo>
                  <a:lnTo>
                    <a:pt x="1337" y="486"/>
                  </a:lnTo>
                  <a:lnTo>
                    <a:pt x="1335" y="486"/>
                  </a:lnTo>
                  <a:lnTo>
                    <a:pt x="1333" y="486"/>
                  </a:lnTo>
                  <a:lnTo>
                    <a:pt x="1332" y="486"/>
                  </a:lnTo>
                  <a:lnTo>
                    <a:pt x="1329" y="486"/>
                  </a:lnTo>
                  <a:lnTo>
                    <a:pt x="1327" y="487"/>
                  </a:lnTo>
                  <a:lnTo>
                    <a:pt x="1326" y="489"/>
                  </a:lnTo>
                  <a:lnTo>
                    <a:pt x="1316" y="487"/>
                  </a:lnTo>
                  <a:lnTo>
                    <a:pt x="1308" y="487"/>
                  </a:lnTo>
                  <a:lnTo>
                    <a:pt x="1303" y="487"/>
                  </a:lnTo>
                  <a:lnTo>
                    <a:pt x="1297" y="487"/>
                  </a:lnTo>
                  <a:lnTo>
                    <a:pt x="1294" y="487"/>
                  </a:lnTo>
                  <a:lnTo>
                    <a:pt x="1291" y="487"/>
                  </a:lnTo>
                  <a:lnTo>
                    <a:pt x="1288" y="486"/>
                  </a:lnTo>
                  <a:lnTo>
                    <a:pt x="1284" y="484"/>
                  </a:lnTo>
                  <a:lnTo>
                    <a:pt x="1281" y="483"/>
                  </a:lnTo>
                  <a:lnTo>
                    <a:pt x="1277" y="479"/>
                  </a:lnTo>
                  <a:lnTo>
                    <a:pt x="1272" y="476"/>
                  </a:lnTo>
                  <a:lnTo>
                    <a:pt x="1267" y="473"/>
                  </a:lnTo>
                  <a:lnTo>
                    <a:pt x="1267" y="472"/>
                  </a:lnTo>
                  <a:lnTo>
                    <a:pt x="1266" y="472"/>
                  </a:lnTo>
                  <a:lnTo>
                    <a:pt x="1266" y="470"/>
                  </a:lnTo>
                  <a:lnTo>
                    <a:pt x="1266" y="468"/>
                  </a:lnTo>
                  <a:lnTo>
                    <a:pt x="1266" y="467"/>
                  </a:lnTo>
                  <a:lnTo>
                    <a:pt x="1266" y="464"/>
                  </a:lnTo>
                  <a:lnTo>
                    <a:pt x="1267" y="460"/>
                  </a:lnTo>
                  <a:lnTo>
                    <a:pt x="1270" y="456"/>
                  </a:lnTo>
                  <a:lnTo>
                    <a:pt x="1272" y="453"/>
                  </a:lnTo>
                  <a:lnTo>
                    <a:pt x="1275" y="448"/>
                  </a:lnTo>
                  <a:lnTo>
                    <a:pt x="1281" y="437"/>
                  </a:lnTo>
                  <a:lnTo>
                    <a:pt x="1291" y="426"/>
                  </a:lnTo>
                  <a:lnTo>
                    <a:pt x="1299" y="412"/>
                  </a:lnTo>
                  <a:lnTo>
                    <a:pt x="1308" y="396"/>
                  </a:lnTo>
                  <a:lnTo>
                    <a:pt x="1314" y="386"/>
                  </a:lnTo>
                  <a:lnTo>
                    <a:pt x="1321" y="375"/>
                  </a:lnTo>
                  <a:lnTo>
                    <a:pt x="1326" y="364"/>
                  </a:lnTo>
                  <a:lnTo>
                    <a:pt x="1332" y="352"/>
                  </a:lnTo>
                  <a:lnTo>
                    <a:pt x="1337" y="341"/>
                  </a:lnTo>
                  <a:lnTo>
                    <a:pt x="1341" y="330"/>
                  </a:lnTo>
                  <a:lnTo>
                    <a:pt x="1348" y="320"/>
                  </a:lnTo>
                  <a:lnTo>
                    <a:pt x="1354" y="311"/>
                  </a:lnTo>
                  <a:lnTo>
                    <a:pt x="1359" y="303"/>
                  </a:lnTo>
                  <a:lnTo>
                    <a:pt x="1363" y="296"/>
                  </a:lnTo>
                  <a:lnTo>
                    <a:pt x="1370" y="290"/>
                  </a:lnTo>
                  <a:lnTo>
                    <a:pt x="1375" y="284"/>
                  </a:lnTo>
                  <a:lnTo>
                    <a:pt x="1381" y="277"/>
                  </a:lnTo>
                  <a:lnTo>
                    <a:pt x="1387" y="273"/>
                  </a:lnTo>
                  <a:lnTo>
                    <a:pt x="1393" y="266"/>
                  </a:lnTo>
                  <a:lnTo>
                    <a:pt x="1400" y="262"/>
                  </a:lnTo>
                  <a:lnTo>
                    <a:pt x="1412" y="252"/>
                  </a:lnTo>
                  <a:lnTo>
                    <a:pt x="1427" y="241"/>
                  </a:lnTo>
                  <a:lnTo>
                    <a:pt x="1439" y="232"/>
                  </a:lnTo>
                  <a:lnTo>
                    <a:pt x="1454" y="224"/>
                  </a:lnTo>
                  <a:lnTo>
                    <a:pt x="1482" y="205"/>
                  </a:lnTo>
                  <a:lnTo>
                    <a:pt x="1509" y="184"/>
                  </a:lnTo>
                  <a:lnTo>
                    <a:pt x="1523" y="175"/>
                  </a:lnTo>
                  <a:lnTo>
                    <a:pt x="1536" y="166"/>
                  </a:lnTo>
                  <a:lnTo>
                    <a:pt x="1542" y="159"/>
                  </a:lnTo>
                  <a:lnTo>
                    <a:pt x="1548" y="153"/>
                  </a:lnTo>
                  <a:lnTo>
                    <a:pt x="1555" y="147"/>
                  </a:lnTo>
                  <a:lnTo>
                    <a:pt x="1561" y="140"/>
                  </a:lnTo>
                  <a:lnTo>
                    <a:pt x="1569" y="137"/>
                  </a:lnTo>
                  <a:lnTo>
                    <a:pt x="1578" y="136"/>
                  </a:lnTo>
                  <a:lnTo>
                    <a:pt x="1586" y="134"/>
                  </a:lnTo>
                  <a:lnTo>
                    <a:pt x="1593" y="132"/>
                  </a:lnTo>
                  <a:lnTo>
                    <a:pt x="1599" y="132"/>
                  </a:lnTo>
                  <a:lnTo>
                    <a:pt x="1605" y="134"/>
                  </a:lnTo>
                  <a:lnTo>
                    <a:pt x="1610" y="136"/>
                  </a:lnTo>
                  <a:lnTo>
                    <a:pt x="1615" y="137"/>
                  </a:lnTo>
                  <a:lnTo>
                    <a:pt x="1624" y="140"/>
                  </a:lnTo>
                  <a:lnTo>
                    <a:pt x="1632" y="145"/>
                  </a:lnTo>
                  <a:lnTo>
                    <a:pt x="1635" y="145"/>
                  </a:lnTo>
                  <a:lnTo>
                    <a:pt x="1638" y="147"/>
                  </a:lnTo>
                  <a:lnTo>
                    <a:pt x="1642" y="148"/>
                  </a:lnTo>
                  <a:lnTo>
                    <a:pt x="1645" y="148"/>
                  </a:lnTo>
                  <a:lnTo>
                    <a:pt x="1649" y="148"/>
                  </a:lnTo>
                  <a:lnTo>
                    <a:pt x="1654" y="148"/>
                  </a:lnTo>
                  <a:lnTo>
                    <a:pt x="1657" y="147"/>
                  </a:lnTo>
                  <a:lnTo>
                    <a:pt x="1662" y="147"/>
                  </a:lnTo>
                  <a:lnTo>
                    <a:pt x="1664" y="147"/>
                  </a:lnTo>
                  <a:lnTo>
                    <a:pt x="1667" y="145"/>
                  </a:lnTo>
                  <a:lnTo>
                    <a:pt x="1667" y="143"/>
                  </a:lnTo>
                  <a:lnTo>
                    <a:pt x="1668" y="142"/>
                  </a:lnTo>
                  <a:lnTo>
                    <a:pt x="1670" y="140"/>
                  </a:lnTo>
                  <a:lnTo>
                    <a:pt x="1672" y="137"/>
                  </a:lnTo>
                  <a:lnTo>
                    <a:pt x="1672" y="136"/>
                  </a:lnTo>
                  <a:lnTo>
                    <a:pt x="1672" y="132"/>
                  </a:lnTo>
                  <a:lnTo>
                    <a:pt x="1672" y="124"/>
                  </a:lnTo>
                  <a:lnTo>
                    <a:pt x="1673" y="117"/>
                  </a:lnTo>
                  <a:lnTo>
                    <a:pt x="1668" y="113"/>
                  </a:lnTo>
                  <a:lnTo>
                    <a:pt x="1664" y="112"/>
                  </a:lnTo>
                  <a:lnTo>
                    <a:pt x="1659" y="110"/>
                  </a:lnTo>
                  <a:lnTo>
                    <a:pt x="1656" y="109"/>
                  </a:lnTo>
                  <a:lnTo>
                    <a:pt x="1651" y="109"/>
                  </a:lnTo>
                  <a:lnTo>
                    <a:pt x="1646" y="109"/>
                  </a:lnTo>
                  <a:lnTo>
                    <a:pt x="1642" y="109"/>
                  </a:lnTo>
                  <a:lnTo>
                    <a:pt x="1637" y="109"/>
                  </a:lnTo>
                  <a:lnTo>
                    <a:pt x="1630" y="109"/>
                  </a:lnTo>
                  <a:lnTo>
                    <a:pt x="1624" y="109"/>
                  </a:lnTo>
                  <a:lnTo>
                    <a:pt x="1621" y="110"/>
                  </a:lnTo>
                  <a:lnTo>
                    <a:pt x="1618" y="110"/>
                  </a:lnTo>
                  <a:lnTo>
                    <a:pt x="1619" y="104"/>
                  </a:lnTo>
                  <a:lnTo>
                    <a:pt x="1619" y="98"/>
                  </a:lnTo>
                  <a:lnTo>
                    <a:pt x="1621" y="91"/>
                  </a:lnTo>
                  <a:lnTo>
                    <a:pt x="1621" y="87"/>
                  </a:lnTo>
                  <a:lnTo>
                    <a:pt x="1623" y="80"/>
                  </a:lnTo>
                  <a:lnTo>
                    <a:pt x="1624" y="76"/>
                  </a:lnTo>
                  <a:lnTo>
                    <a:pt x="1626" y="71"/>
                  </a:lnTo>
                  <a:lnTo>
                    <a:pt x="1629" y="68"/>
                  </a:lnTo>
                  <a:lnTo>
                    <a:pt x="1629" y="63"/>
                  </a:lnTo>
                  <a:lnTo>
                    <a:pt x="1632" y="58"/>
                  </a:lnTo>
                  <a:lnTo>
                    <a:pt x="1635" y="55"/>
                  </a:lnTo>
                  <a:lnTo>
                    <a:pt x="1637" y="52"/>
                  </a:lnTo>
                  <a:lnTo>
                    <a:pt x="1640" y="47"/>
                  </a:lnTo>
                  <a:lnTo>
                    <a:pt x="1643" y="44"/>
                  </a:lnTo>
                  <a:lnTo>
                    <a:pt x="1646" y="42"/>
                  </a:lnTo>
                  <a:lnTo>
                    <a:pt x="1649" y="39"/>
                  </a:lnTo>
                  <a:lnTo>
                    <a:pt x="1656" y="33"/>
                  </a:lnTo>
                  <a:lnTo>
                    <a:pt x="1662" y="28"/>
                  </a:lnTo>
                  <a:lnTo>
                    <a:pt x="1670" y="24"/>
                  </a:lnTo>
                  <a:lnTo>
                    <a:pt x="1678" y="19"/>
                  </a:lnTo>
                  <a:lnTo>
                    <a:pt x="1695" y="11"/>
                  </a:lnTo>
                  <a:lnTo>
                    <a:pt x="1713" y="0"/>
                  </a:lnTo>
                  <a:lnTo>
                    <a:pt x="1719" y="3"/>
                  </a:lnTo>
                  <a:lnTo>
                    <a:pt x="1725" y="8"/>
                  </a:lnTo>
                  <a:lnTo>
                    <a:pt x="1730" y="13"/>
                  </a:lnTo>
                  <a:lnTo>
                    <a:pt x="1733" y="16"/>
                  </a:lnTo>
                  <a:lnTo>
                    <a:pt x="1738" y="20"/>
                  </a:lnTo>
                  <a:lnTo>
                    <a:pt x="1741" y="24"/>
                  </a:lnTo>
                  <a:lnTo>
                    <a:pt x="1743" y="30"/>
                  </a:lnTo>
                  <a:lnTo>
                    <a:pt x="1744" y="33"/>
                  </a:lnTo>
                  <a:lnTo>
                    <a:pt x="1746" y="38"/>
                  </a:lnTo>
                  <a:lnTo>
                    <a:pt x="1746" y="42"/>
                  </a:lnTo>
                  <a:lnTo>
                    <a:pt x="1746" y="46"/>
                  </a:lnTo>
                  <a:lnTo>
                    <a:pt x="1746" y="50"/>
                  </a:lnTo>
                  <a:lnTo>
                    <a:pt x="1746" y="55"/>
                  </a:lnTo>
                  <a:lnTo>
                    <a:pt x="1746" y="58"/>
                  </a:lnTo>
                  <a:lnTo>
                    <a:pt x="1744" y="61"/>
                  </a:lnTo>
                  <a:lnTo>
                    <a:pt x="1743" y="65"/>
                  </a:lnTo>
                  <a:lnTo>
                    <a:pt x="1738" y="79"/>
                  </a:lnTo>
                  <a:lnTo>
                    <a:pt x="1733" y="88"/>
                  </a:lnTo>
                  <a:lnTo>
                    <a:pt x="1733" y="90"/>
                  </a:lnTo>
                  <a:lnTo>
                    <a:pt x="1732" y="91"/>
                  </a:lnTo>
                  <a:lnTo>
                    <a:pt x="1733" y="91"/>
                  </a:lnTo>
                  <a:lnTo>
                    <a:pt x="1733" y="93"/>
                  </a:lnTo>
                  <a:lnTo>
                    <a:pt x="1735" y="91"/>
                  </a:lnTo>
                  <a:lnTo>
                    <a:pt x="1736" y="91"/>
                  </a:lnTo>
                  <a:lnTo>
                    <a:pt x="1738" y="90"/>
                  </a:lnTo>
                  <a:lnTo>
                    <a:pt x="1743" y="88"/>
                  </a:lnTo>
                  <a:lnTo>
                    <a:pt x="1747" y="85"/>
                  </a:lnTo>
                  <a:lnTo>
                    <a:pt x="1751" y="83"/>
                  </a:lnTo>
                  <a:lnTo>
                    <a:pt x="1755" y="83"/>
                  </a:lnTo>
                  <a:lnTo>
                    <a:pt x="1758" y="83"/>
                  </a:lnTo>
                  <a:lnTo>
                    <a:pt x="1762" y="83"/>
                  </a:lnTo>
                  <a:lnTo>
                    <a:pt x="1765" y="83"/>
                  </a:lnTo>
                  <a:lnTo>
                    <a:pt x="1768" y="83"/>
                  </a:lnTo>
                  <a:lnTo>
                    <a:pt x="1770" y="83"/>
                  </a:lnTo>
                  <a:lnTo>
                    <a:pt x="1773" y="85"/>
                  </a:lnTo>
                  <a:lnTo>
                    <a:pt x="1774" y="87"/>
                  </a:lnTo>
                  <a:lnTo>
                    <a:pt x="1777" y="88"/>
                  </a:lnTo>
                  <a:lnTo>
                    <a:pt x="1781" y="91"/>
                  </a:lnTo>
                  <a:lnTo>
                    <a:pt x="1784" y="96"/>
                  </a:lnTo>
                  <a:lnTo>
                    <a:pt x="1787" y="99"/>
                  </a:lnTo>
                  <a:lnTo>
                    <a:pt x="1792" y="104"/>
                  </a:lnTo>
                  <a:lnTo>
                    <a:pt x="1795" y="104"/>
                  </a:lnTo>
                  <a:lnTo>
                    <a:pt x="1796" y="106"/>
                  </a:lnTo>
                  <a:lnTo>
                    <a:pt x="1798" y="107"/>
                  </a:lnTo>
                  <a:lnTo>
                    <a:pt x="1801" y="109"/>
                  </a:lnTo>
                  <a:lnTo>
                    <a:pt x="1804" y="109"/>
                  </a:lnTo>
                  <a:lnTo>
                    <a:pt x="1807" y="109"/>
                  </a:lnTo>
                  <a:lnTo>
                    <a:pt x="1811" y="109"/>
                  </a:lnTo>
                  <a:lnTo>
                    <a:pt x="1814" y="109"/>
                  </a:lnTo>
                  <a:lnTo>
                    <a:pt x="1817" y="107"/>
                  </a:lnTo>
                  <a:lnTo>
                    <a:pt x="1823" y="106"/>
                  </a:lnTo>
                  <a:lnTo>
                    <a:pt x="1826" y="104"/>
                  </a:lnTo>
                  <a:lnTo>
                    <a:pt x="1831" y="101"/>
                  </a:lnTo>
                  <a:lnTo>
                    <a:pt x="1833" y="102"/>
                  </a:lnTo>
                  <a:lnTo>
                    <a:pt x="1834" y="104"/>
                  </a:lnTo>
                  <a:lnTo>
                    <a:pt x="1836" y="106"/>
                  </a:lnTo>
                  <a:lnTo>
                    <a:pt x="1836" y="110"/>
                  </a:lnTo>
                  <a:lnTo>
                    <a:pt x="1837" y="113"/>
                  </a:lnTo>
                  <a:lnTo>
                    <a:pt x="1837" y="118"/>
                  </a:lnTo>
                  <a:lnTo>
                    <a:pt x="1836" y="124"/>
                  </a:lnTo>
                  <a:lnTo>
                    <a:pt x="1834" y="129"/>
                  </a:lnTo>
                  <a:lnTo>
                    <a:pt x="1833" y="134"/>
                  </a:lnTo>
                  <a:lnTo>
                    <a:pt x="1830" y="139"/>
                  </a:lnTo>
                  <a:lnTo>
                    <a:pt x="1826" y="145"/>
                  </a:lnTo>
                  <a:lnTo>
                    <a:pt x="1823" y="150"/>
                  </a:lnTo>
                  <a:lnTo>
                    <a:pt x="1817" y="154"/>
                  </a:lnTo>
                  <a:lnTo>
                    <a:pt x="1815" y="156"/>
                  </a:lnTo>
                  <a:lnTo>
                    <a:pt x="1812" y="158"/>
                  </a:lnTo>
                  <a:lnTo>
                    <a:pt x="1811" y="159"/>
                  </a:lnTo>
                  <a:lnTo>
                    <a:pt x="1807" y="161"/>
                  </a:lnTo>
                  <a:lnTo>
                    <a:pt x="1804" y="162"/>
                  </a:lnTo>
                  <a:lnTo>
                    <a:pt x="1801" y="164"/>
                  </a:lnTo>
                  <a:lnTo>
                    <a:pt x="1798" y="164"/>
                  </a:lnTo>
                  <a:lnTo>
                    <a:pt x="1795" y="166"/>
                  </a:lnTo>
                  <a:lnTo>
                    <a:pt x="1792" y="166"/>
                  </a:lnTo>
                  <a:lnTo>
                    <a:pt x="1790" y="166"/>
                  </a:lnTo>
                  <a:lnTo>
                    <a:pt x="1790" y="167"/>
                  </a:lnTo>
                  <a:lnTo>
                    <a:pt x="1787" y="169"/>
                  </a:lnTo>
                  <a:lnTo>
                    <a:pt x="1785" y="170"/>
                  </a:lnTo>
                  <a:lnTo>
                    <a:pt x="1784" y="173"/>
                  </a:lnTo>
                  <a:lnTo>
                    <a:pt x="1782" y="181"/>
                  </a:lnTo>
                  <a:lnTo>
                    <a:pt x="1779" y="189"/>
                  </a:lnTo>
                  <a:lnTo>
                    <a:pt x="1777" y="192"/>
                  </a:lnTo>
                  <a:lnTo>
                    <a:pt x="1774" y="197"/>
                  </a:lnTo>
                  <a:lnTo>
                    <a:pt x="1774" y="199"/>
                  </a:lnTo>
                  <a:lnTo>
                    <a:pt x="1771" y="200"/>
                  </a:lnTo>
                  <a:lnTo>
                    <a:pt x="1770" y="200"/>
                  </a:lnTo>
                  <a:lnTo>
                    <a:pt x="1768" y="203"/>
                  </a:lnTo>
                  <a:lnTo>
                    <a:pt x="1765" y="203"/>
                  </a:lnTo>
                  <a:lnTo>
                    <a:pt x="1762" y="205"/>
                  </a:lnTo>
                  <a:lnTo>
                    <a:pt x="1758" y="205"/>
                  </a:lnTo>
                  <a:lnTo>
                    <a:pt x="1755" y="205"/>
                  </a:lnTo>
                  <a:lnTo>
                    <a:pt x="1751" y="205"/>
                  </a:lnTo>
                  <a:lnTo>
                    <a:pt x="1747" y="205"/>
                  </a:lnTo>
                  <a:lnTo>
                    <a:pt x="1743" y="205"/>
                  </a:lnTo>
                  <a:lnTo>
                    <a:pt x="1736" y="205"/>
                  </a:lnTo>
                  <a:lnTo>
                    <a:pt x="1732" y="203"/>
                  </a:lnTo>
                  <a:lnTo>
                    <a:pt x="1725" y="203"/>
                  </a:lnTo>
                  <a:lnTo>
                    <a:pt x="1724" y="203"/>
                  </a:lnTo>
                  <a:lnTo>
                    <a:pt x="1721" y="203"/>
                  </a:lnTo>
                  <a:lnTo>
                    <a:pt x="1717" y="203"/>
                  </a:lnTo>
                  <a:lnTo>
                    <a:pt x="1716" y="203"/>
                  </a:lnTo>
                  <a:lnTo>
                    <a:pt x="1713" y="205"/>
                  </a:lnTo>
                  <a:lnTo>
                    <a:pt x="1711" y="208"/>
                  </a:lnTo>
                  <a:lnTo>
                    <a:pt x="1709" y="210"/>
                  </a:lnTo>
                  <a:lnTo>
                    <a:pt x="1709" y="213"/>
                  </a:lnTo>
                  <a:lnTo>
                    <a:pt x="1708" y="218"/>
                  </a:lnTo>
                  <a:lnTo>
                    <a:pt x="1708" y="224"/>
                  </a:lnTo>
                  <a:lnTo>
                    <a:pt x="1708" y="229"/>
                  </a:lnTo>
                  <a:lnTo>
                    <a:pt x="1708" y="236"/>
                  </a:lnTo>
                  <a:lnTo>
                    <a:pt x="1709" y="241"/>
                  </a:lnTo>
                  <a:lnTo>
                    <a:pt x="1711" y="248"/>
                  </a:lnTo>
                  <a:lnTo>
                    <a:pt x="1711" y="252"/>
                  </a:lnTo>
                  <a:lnTo>
                    <a:pt x="1711" y="257"/>
                  </a:lnTo>
                  <a:lnTo>
                    <a:pt x="1709" y="260"/>
                  </a:lnTo>
                  <a:lnTo>
                    <a:pt x="1709" y="263"/>
                  </a:lnTo>
                  <a:lnTo>
                    <a:pt x="1708" y="265"/>
                  </a:lnTo>
                  <a:lnTo>
                    <a:pt x="1705" y="266"/>
                  </a:lnTo>
                  <a:lnTo>
                    <a:pt x="1703" y="270"/>
                  </a:lnTo>
                  <a:lnTo>
                    <a:pt x="1700" y="270"/>
                  </a:lnTo>
                  <a:lnTo>
                    <a:pt x="1697" y="273"/>
                  </a:lnTo>
                  <a:lnTo>
                    <a:pt x="1695" y="273"/>
                  </a:lnTo>
                  <a:lnTo>
                    <a:pt x="1687" y="273"/>
                  </a:lnTo>
                  <a:lnTo>
                    <a:pt x="1679" y="273"/>
                  </a:lnTo>
                  <a:lnTo>
                    <a:pt x="1672" y="273"/>
                  </a:lnTo>
                  <a:lnTo>
                    <a:pt x="1664" y="273"/>
                  </a:lnTo>
                  <a:lnTo>
                    <a:pt x="1657" y="273"/>
                  </a:lnTo>
                  <a:lnTo>
                    <a:pt x="1651" y="274"/>
                  </a:lnTo>
                  <a:lnTo>
                    <a:pt x="1649" y="274"/>
                  </a:lnTo>
                  <a:lnTo>
                    <a:pt x="1646" y="276"/>
                  </a:lnTo>
                  <a:lnTo>
                    <a:pt x="1643" y="277"/>
                  </a:lnTo>
                  <a:lnTo>
                    <a:pt x="1642" y="279"/>
                  </a:lnTo>
                  <a:lnTo>
                    <a:pt x="1642" y="282"/>
                  </a:lnTo>
                  <a:lnTo>
                    <a:pt x="1640" y="285"/>
                  </a:lnTo>
                  <a:lnTo>
                    <a:pt x="1640" y="287"/>
                  </a:lnTo>
                  <a:lnTo>
                    <a:pt x="1640" y="292"/>
                  </a:lnTo>
                  <a:lnTo>
                    <a:pt x="1642" y="295"/>
                  </a:lnTo>
                  <a:lnTo>
                    <a:pt x="1643" y="298"/>
                  </a:lnTo>
                  <a:lnTo>
                    <a:pt x="1646" y="300"/>
                  </a:lnTo>
                  <a:lnTo>
                    <a:pt x="1649" y="303"/>
                  </a:lnTo>
                  <a:lnTo>
                    <a:pt x="1651" y="304"/>
                  </a:lnTo>
                  <a:lnTo>
                    <a:pt x="1654" y="306"/>
                  </a:lnTo>
                  <a:lnTo>
                    <a:pt x="1657" y="306"/>
                  </a:lnTo>
                  <a:lnTo>
                    <a:pt x="1662" y="307"/>
                  </a:lnTo>
                  <a:lnTo>
                    <a:pt x="1676" y="309"/>
                  </a:lnTo>
                  <a:lnTo>
                    <a:pt x="1692" y="312"/>
                  </a:lnTo>
                  <a:lnTo>
                    <a:pt x="1695" y="312"/>
                  </a:lnTo>
                  <a:lnTo>
                    <a:pt x="1700" y="312"/>
                  </a:lnTo>
                  <a:lnTo>
                    <a:pt x="1703" y="315"/>
                  </a:lnTo>
                  <a:lnTo>
                    <a:pt x="1708" y="317"/>
                  </a:lnTo>
                  <a:lnTo>
                    <a:pt x="1709" y="319"/>
                  </a:lnTo>
                  <a:lnTo>
                    <a:pt x="1714" y="320"/>
                  </a:lnTo>
                  <a:lnTo>
                    <a:pt x="1717" y="323"/>
                  </a:lnTo>
                  <a:lnTo>
                    <a:pt x="1721" y="326"/>
                  </a:lnTo>
                  <a:lnTo>
                    <a:pt x="1724" y="331"/>
                  </a:lnTo>
                  <a:lnTo>
                    <a:pt x="1727" y="336"/>
                  </a:lnTo>
                  <a:lnTo>
                    <a:pt x="1730" y="341"/>
                  </a:lnTo>
                  <a:lnTo>
                    <a:pt x="1732" y="345"/>
                  </a:lnTo>
                  <a:lnTo>
                    <a:pt x="1733" y="352"/>
                  </a:lnTo>
                  <a:lnTo>
                    <a:pt x="1736" y="360"/>
                  </a:lnTo>
                  <a:lnTo>
                    <a:pt x="1738" y="367"/>
                  </a:lnTo>
                  <a:lnTo>
                    <a:pt x="1738" y="377"/>
                  </a:lnTo>
                  <a:lnTo>
                    <a:pt x="1739" y="382"/>
                  </a:lnTo>
                  <a:lnTo>
                    <a:pt x="1739" y="383"/>
                  </a:lnTo>
                  <a:lnTo>
                    <a:pt x="1739" y="389"/>
                  </a:lnTo>
                  <a:lnTo>
                    <a:pt x="1738" y="394"/>
                  </a:lnTo>
                  <a:lnTo>
                    <a:pt x="1738" y="399"/>
                  </a:lnTo>
                  <a:lnTo>
                    <a:pt x="1736" y="404"/>
                  </a:lnTo>
                  <a:lnTo>
                    <a:pt x="1733" y="407"/>
                  </a:lnTo>
                  <a:lnTo>
                    <a:pt x="1730" y="410"/>
                  </a:lnTo>
                  <a:lnTo>
                    <a:pt x="1727" y="413"/>
                  </a:lnTo>
                  <a:lnTo>
                    <a:pt x="1713" y="424"/>
                  </a:lnTo>
                  <a:lnTo>
                    <a:pt x="1695" y="435"/>
                  </a:lnTo>
                  <a:lnTo>
                    <a:pt x="1694" y="438"/>
                  </a:lnTo>
                  <a:lnTo>
                    <a:pt x="1692" y="438"/>
                  </a:lnTo>
                  <a:lnTo>
                    <a:pt x="1691" y="440"/>
                  </a:lnTo>
                  <a:lnTo>
                    <a:pt x="1689" y="442"/>
                  </a:lnTo>
                  <a:lnTo>
                    <a:pt x="1689" y="443"/>
                  </a:lnTo>
                  <a:lnTo>
                    <a:pt x="1689" y="445"/>
                  </a:lnTo>
                  <a:lnTo>
                    <a:pt x="1689" y="446"/>
                  </a:lnTo>
                  <a:lnTo>
                    <a:pt x="1689" y="448"/>
                  </a:lnTo>
                  <a:lnTo>
                    <a:pt x="1689" y="451"/>
                  </a:lnTo>
                  <a:lnTo>
                    <a:pt x="1691" y="453"/>
                  </a:lnTo>
                  <a:lnTo>
                    <a:pt x="1694" y="456"/>
                  </a:lnTo>
                  <a:lnTo>
                    <a:pt x="1697" y="459"/>
                  </a:lnTo>
                  <a:lnTo>
                    <a:pt x="1700" y="460"/>
                  </a:lnTo>
                  <a:lnTo>
                    <a:pt x="1703" y="460"/>
                  </a:lnTo>
                  <a:lnTo>
                    <a:pt x="1708" y="462"/>
                  </a:lnTo>
                  <a:lnTo>
                    <a:pt x="1711" y="460"/>
                  </a:lnTo>
                  <a:lnTo>
                    <a:pt x="1714" y="460"/>
                  </a:lnTo>
                  <a:lnTo>
                    <a:pt x="1716" y="460"/>
                  </a:lnTo>
                  <a:lnTo>
                    <a:pt x="1717" y="459"/>
                  </a:lnTo>
                  <a:lnTo>
                    <a:pt x="1721" y="459"/>
                  </a:lnTo>
                  <a:lnTo>
                    <a:pt x="1724" y="456"/>
                  </a:lnTo>
                  <a:lnTo>
                    <a:pt x="1725" y="456"/>
                  </a:lnTo>
                  <a:lnTo>
                    <a:pt x="1727" y="453"/>
                  </a:lnTo>
                  <a:lnTo>
                    <a:pt x="1730" y="451"/>
                  </a:lnTo>
                  <a:lnTo>
                    <a:pt x="1732" y="445"/>
                  </a:lnTo>
                  <a:lnTo>
                    <a:pt x="1735" y="438"/>
                  </a:lnTo>
                  <a:lnTo>
                    <a:pt x="1738" y="434"/>
                  </a:lnTo>
                  <a:lnTo>
                    <a:pt x="1741" y="430"/>
                  </a:lnTo>
                  <a:lnTo>
                    <a:pt x="1743" y="426"/>
                  </a:lnTo>
                  <a:lnTo>
                    <a:pt x="1746" y="423"/>
                  </a:lnTo>
                  <a:lnTo>
                    <a:pt x="1749" y="419"/>
                  </a:lnTo>
                  <a:lnTo>
                    <a:pt x="1754" y="416"/>
                  </a:lnTo>
                  <a:lnTo>
                    <a:pt x="1757" y="413"/>
                  </a:lnTo>
                  <a:lnTo>
                    <a:pt x="1758" y="412"/>
                  </a:lnTo>
                  <a:lnTo>
                    <a:pt x="1763" y="410"/>
                  </a:lnTo>
                  <a:lnTo>
                    <a:pt x="1766" y="408"/>
                  </a:lnTo>
                  <a:lnTo>
                    <a:pt x="1771" y="407"/>
                  </a:lnTo>
                  <a:lnTo>
                    <a:pt x="1774" y="407"/>
                  </a:lnTo>
                  <a:lnTo>
                    <a:pt x="1777" y="405"/>
                  </a:lnTo>
                  <a:lnTo>
                    <a:pt x="1782" y="405"/>
                  </a:lnTo>
                  <a:lnTo>
                    <a:pt x="1790" y="405"/>
                  </a:lnTo>
                  <a:lnTo>
                    <a:pt x="1798" y="405"/>
                  </a:lnTo>
                  <a:lnTo>
                    <a:pt x="1807" y="405"/>
                  </a:lnTo>
                  <a:lnTo>
                    <a:pt x="1817" y="405"/>
                  </a:lnTo>
                  <a:lnTo>
                    <a:pt x="1826" y="405"/>
                  </a:lnTo>
                  <a:lnTo>
                    <a:pt x="1836" y="405"/>
                  </a:lnTo>
                  <a:lnTo>
                    <a:pt x="1847" y="404"/>
                  </a:lnTo>
                  <a:lnTo>
                    <a:pt x="1858" y="402"/>
                  </a:lnTo>
                  <a:lnTo>
                    <a:pt x="1866" y="402"/>
                  </a:lnTo>
                  <a:lnTo>
                    <a:pt x="1872" y="402"/>
                  </a:lnTo>
                  <a:lnTo>
                    <a:pt x="1877" y="402"/>
                  </a:lnTo>
                  <a:lnTo>
                    <a:pt x="1882" y="402"/>
                  </a:lnTo>
                  <a:lnTo>
                    <a:pt x="1886" y="404"/>
                  </a:lnTo>
                  <a:lnTo>
                    <a:pt x="1891" y="405"/>
                  </a:lnTo>
                  <a:lnTo>
                    <a:pt x="1894" y="408"/>
                  </a:lnTo>
                  <a:lnTo>
                    <a:pt x="1899" y="410"/>
                  </a:lnTo>
                  <a:lnTo>
                    <a:pt x="1902" y="413"/>
                  </a:lnTo>
                  <a:lnTo>
                    <a:pt x="1904" y="416"/>
                  </a:lnTo>
                  <a:lnTo>
                    <a:pt x="1905" y="419"/>
                  </a:lnTo>
                  <a:lnTo>
                    <a:pt x="1907" y="423"/>
                  </a:lnTo>
                  <a:lnTo>
                    <a:pt x="1909" y="426"/>
                  </a:lnTo>
                  <a:lnTo>
                    <a:pt x="1910" y="429"/>
                  </a:lnTo>
                  <a:lnTo>
                    <a:pt x="1910" y="432"/>
                  </a:lnTo>
                  <a:lnTo>
                    <a:pt x="1910" y="435"/>
                  </a:lnTo>
                  <a:lnTo>
                    <a:pt x="1910" y="438"/>
                  </a:lnTo>
                  <a:lnTo>
                    <a:pt x="1910" y="440"/>
                  </a:lnTo>
                  <a:lnTo>
                    <a:pt x="1910" y="443"/>
                  </a:lnTo>
                  <a:lnTo>
                    <a:pt x="1909" y="446"/>
                  </a:lnTo>
                  <a:lnTo>
                    <a:pt x="1905" y="451"/>
                  </a:lnTo>
                  <a:lnTo>
                    <a:pt x="1904" y="456"/>
                  </a:lnTo>
                  <a:lnTo>
                    <a:pt x="1899" y="459"/>
                  </a:lnTo>
                  <a:lnTo>
                    <a:pt x="1896" y="464"/>
                  </a:lnTo>
                  <a:lnTo>
                    <a:pt x="1891" y="468"/>
                  </a:lnTo>
                  <a:lnTo>
                    <a:pt x="1886" y="472"/>
                  </a:lnTo>
                  <a:lnTo>
                    <a:pt x="1879" y="479"/>
                  </a:lnTo>
                  <a:lnTo>
                    <a:pt x="1872" y="486"/>
                  </a:lnTo>
                  <a:lnTo>
                    <a:pt x="1869" y="489"/>
                  </a:lnTo>
                  <a:lnTo>
                    <a:pt x="1867" y="492"/>
                  </a:lnTo>
                  <a:lnTo>
                    <a:pt x="1867" y="494"/>
                  </a:lnTo>
                  <a:lnTo>
                    <a:pt x="1867" y="497"/>
                  </a:lnTo>
                  <a:lnTo>
                    <a:pt x="1867" y="498"/>
                  </a:lnTo>
                  <a:lnTo>
                    <a:pt x="1867" y="500"/>
                  </a:lnTo>
                  <a:lnTo>
                    <a:pt x="1871" y="513"/>
                  </a:lnTo>
                  <a:lnTo>
                    <a:pt x="1872" y="525"/>
                  </a:lnTo>
                  <a:lnTo>
                    <a:pt x="1875" y="539"/>
                  </a:lnTo>
                  <a:lnTo>
                    <a:pt x="1879" y="552"/>
                  </a:lnTo>
                  <a:lnTo>
                    <a:pt x="1880" y="565"/>
                  </a:lnTo>
                  <a:lnTo>
                    <a:pt x="1883" y="576"/>
                  </a:lnTo>
                  <a:lnTo>
                    <a:pt x="1885" y="588"/>
                  </a:lnTo>
                  <a:lnTo>
                    <a:pt x="1888" y="599"/>
                  </a:lnTo>
                  <a:lnTo>
                    <a:pt x="1888" y="601"/>
                  </a:lnTo>
                  <a:lnTo>
                    <a:pt x="1885" y="601"/>
                  </a:lnTo>
                  <a:lnTo>
                    <a:pt x="1882" y="601"/>
                  </a:lnTo>
                  <a:lnTo>
                    <a:pt x="1885" y="601"/>
                  </a:lnTo>
                  <a:lnTo>
                    <a:pt x="1890" y="601"/>
                  </a:lnTo>
                  <a:lnTo>
                    <a:pt x="1894" y="621"/>
                  </a:lnTo>
                  <a:lnTo>
                    <a:pt x="1901" y="640"/>
                  </a:lnTo>
                  <a:lnTo>
                    <a:pt x="1905" y="659"/>
                  </a:lnTo>
                  <a:lnTo>
                    <a:pt x="1912" y="678"/>
                  </a:lnTo>
                  <a:lnTo>
                    <a:pt x="1916" y="694"/>
                  </a:lnTo>
                  <a:lnTo>
                    <a:pt x="1921" y="710"/>
                  </a:lnTo>
                  <a:lnTo>
                    <a:pt x="1926" y="724"/>
                  </a:lnTo>
                  <a:lnTo>
                    <a:pt x="1931" y="738"/>
                  </a:lnTo>
                  <a:lnTo>
                    <a:pt x="1935" y="751"/>
                  </a:lnTo>
                  <a:lnTo>
                    <a:pt x="1940" y="762"/>
                  </a:lnTo>
                  <a:lnTo>
                    <a:pt x="1946" y="773"/>
                  </a:lnTo>
                  <a:lnTo>
                    <a:pt x="1950" y="782"/>
                  </a:lnTo>
                  <a:lnTo>
                    <a:pt x="1954" y="792"/>
                  </a:lnTo>
                  <a:lnTo>
                    <a:pt x="1959" y="800"/>
                  </a:lnTo>
                  <a:lnTo>
                    <a:pt x="1964" y="806"/>
                  </a:lnTo>
                  <a:lnTo>
                    <a:pt x="1967" y="811"/>
                  </a:lnTo>
                  <a:lnTo>
                    <a:pt x="1967" y="812"/>
                  </a:lnTo>
                  <a:lnTo>
                    <a:pt x="1967" y="814"/>
                  </a:lnTo>
                  <a:lnTo>
                    <a:pt x="1965" y="814"/>
                  </a:lnTo>
                  <a:lnTo>
                    <a:pt x="1962" y="815"/>
                  </a:lnTo>
                  <a:lnTo>
                    <a:pt x="1958" y="815"/>
                  </a:lnTo>
                  <a:lnTo>
                    <a:pt x="1951" y="815"/>
                  </a:lnTo>
                  <a:lnTo>
                    <a:pt x="1945" y="815"/>
                  </a:lnTo>
                  <a:lnTo>
                    <a:pt x="1937" y="815"/>
                  </a:lnTo>
                  <a:lnTo>
                    <a:pt x="1929" y="819"/>
                  </a:lnTo>
                  <a:lnTo>
                    <a:pt x="1926" y="819"/>
                  </a:lnTo>
                  <a:lnTo>
                    <a:pt x="1921" y="820"/>
                  </a:lnTo>
                  <a:lnTo>
                    <a:pt x="1916" y="822"/>
                  </a:lnTo>
                  <a:lnTo>
                    <a:pt x="1912" y="823"/>
                  </a:lnTo>
                  <a:lnTo>
                    <a:pt x="1909" y="826"/>
                  </a:lnTo>
                  <a:lnTo>
                    <a:pt x="1905" y="831"/>
                  </a:lnTo>
                  <a:lnTo>
                    <a:pt x="1901" y="834"/>
                  </a:lnTo>
                  <a:lnTo>
                    <a:pt x="1897" y="837"/>
                  </a:lnTo>
                  <a:lnTo>
                    <a:pt x="1894" y="842"/>
                  </a:lnTo>
                  <a:lnTo>
                    <a:pt x="1891" y="848"/>
                  </a:lnTo>
                  <a:lnTo>
                    <a:pt x="1891" y="850"/>
                  </a:lnTo>
                  <a:lnTo>
                    <a:pt x="1890" y="853"/>
                  </a:lnTo>
                  <a:lnTo>
                    <a:pt x="1886" y="860"/>
                  </a:lnTo>
                  <a:lnTo>
                    <a:pt x="1885" y="867"/>
                  </a:lnTo>
                  <a:lnTo>
                    <a:pt x="1885" y="869"/>
                  </a:lnTo>
                  <a:lnTo>
                    <a:pt x="1885" y="875"/>
                  </a:lnTo>
                  <a:lnTo>
                    <a:pt x="1883" y="885"/>
                  </a:lnTo>
                  <a:lnTo>
                    <a:pt x="1882" y="893"/>
                  </a:lnTo>
                  <a:lnTo>
                    <a:pt x="1883" y="896"/>
                  </a:lnTo>
                  <a:lnTo>
                    <a:pt x="1883" y="897"/>
                  </a:lnTo>
                  <a:lnTo>
                    <a:pt x="1885" y="901"/>
                  </a:lnTo>
                  <a:lnTo>
                    <a:pt x="1885" y="902"/>
                  </a:lnTo>
                  <a:lnTo>
                    <a:pt x="1886" y="907"/>
                  </a:lnTo>
                  <a:lnTo>
                    <a:pt x="1890" y="912"/>
                  </a:lnTo>
                  <a:lnTo>
                    <a:pt x="1896" y="921"/>
                  </a:lnTo>
                  <a:lnTo>
                    <a:pt x="1904" y="931"/>
                  </a:lnTo>
                  <a:lnTo>
                    <a:pt x="1907" y="937"/>
                  </a:lnTo>
                  <a:lnTo>
                    <a:pt x="1909" y="940"/>
                  </a:lnTo>
                  <a:lnTo>
                    <a:pt x="1912" y="943"/>
                  </a:lnTo>
                  <a:lnTo>
                    <a:pt x="1912" y="948"/>
                  </a:lnTo>
                  <a:lnTo>
                    <a:pt x="1913" y="949"/>
                  </a:lnTo>
                  <a:lnTo>
                    <a:pt x="1913" y="951"/>
                  </a:lnTo>
                  <a:lnTo>
                    <a:pt x="1912" y="951"/>
                  </a:lnTo>
                  <a:lnTo>
                    <a:pt x="1912" y="953"/>
                  </a:lnTo>
                  <a:lnTo>
                    <a:pt x="1912" y="954"/>
                  </a:lnTo>
                  <a:lnTo>
                    <a:pt x="1910" y="956"/>
                  </a:lnTo>
                  <a:lnTo>
                    <a:pt x="1909" y="957"/>
                  </a:lnTo>
                  <a:lnTo>
                    <a:pt x="1907" y="957"/>
                  </a:lnTo>
                  <a:lnTo>
                    <a:pt x="1905" y="957"/>
                  </a:lnTo>
                  <a:lnTo>
                    <a:pt x="1902" y="956"/>
                  </a:lnTo>
                  <a:lnTo>
                    <a:pt x="1899" y="954"/>
                  </a:lnTo>
                  <a:lnTo>
                    <a:pt x="1897" y="951"/>
                  </a:lnTo>
                  <a:lnTo>
                    <a:pt x="1891" y="945"/>
                  </a:lnTo>
                  <a:lnTo>
                    <a:pt x="1885" y="938"/>
                  </a:lnTo>
                  <a:lnTo>
                    <a:pt x="1882" y="935"/>
                  </a:lnTo>
                  <a:lnTo>
                    <a:pt x="1880" y="932"/>
                  </a:lnTo>
                  <a:lnTo>
                    <a:pt x="1877" y="931"/>
                  </a:lnTo>
                  <a:lnTo>
                    <a:pt x="1875" y="929"/>
                  </a:lnTo>
                  <a:lnTo>
                    <a:pt x="1874" y="927"/>
                  </a:lnTo>
                  <a:lnTo>
                    <a:pt x="1872" y="927"/>
                  </a:lnTo>
                  <a:lnTo>
                    <a:pt x="1871" y="929"/>
                  </a:lnTo>
                  <a:lnTo>
                    <a:pt x="1869" y="929"/>
                  </a:lnTo>
                  <a:lnTo>
                    <a:pt x="1869" y="931"/>
                  </a:lnTo>
                  <a:lnTo>
                    <a:pt x="1867" y="931"/>
                  </a:lnTo>
                  <a:lnTo>
                    <a:pt x="1867" y="975"/>
                  </a:lnTo>
                  <a:lnTo>
                    <a:pt x="1872" y="978"/>
                  </a:lnTo>
                  <a:lnTo>
                    <a:pt x="1877" y="983"/>
                  </a:lnTo>
                  <a:lnTo>
                    <a:pt x="1880" y="984"/>
                  </a:lnTo>
                  <a:lnTo>
                    <a:pt x="1882" y="987"/>
                  </a:lnTo>
                  <a:lnTo>
                    <a:pt x="1883" y="990"/>
                  </a:lnTo>
                  <a:lnTo>
                    <a:pt x="1885" y="992"/>
                  </a:lnTo>
                  <a:lnTo>
                    <a:pt x="1885" y="995"/>
                  </a:lnTo>
                  <a:lnTo>
                    <a:pt x="1885" y="998"/>
                  </a:lnTo>
                  <a:lnTo>
                    <a:pt x="1883" y="1001"/>
                  </a:lnTo>
                  <a:lnTo>
                    <a:pt x="1882" y="1003"/>
                  </a:lnTo>
                  <a:lnTo>
                    <a:pt x="1877" y="1003"/>
                  </a:lnTo>
                  <a:lnTo>
                    <a:pt x="1874" y="1005"/>
                  </a:lnTo>
                  <a:lnTo>
                    <a:pt x="1869" y="1005"/>
                  </a:lnTo>
                  <a:lnTo>
                    <a:pt x="1866" y="1008"/>
                  </a:lnTo>
                  <a:lnTo>
                    <a:pt x="1863" y="1008"/>
                  </a:lnTo>
                  <a:lnTo>
                    <a:pt x="1860" y="1011"/>
                  </a:lnTo>
                  <a:lnTo>
                    <a:pt x="1856" y="1013"/>
                  </a:lnTo>
                  <a:lnTo>
                    <a:pt x="1853" y="1016"/>
                  </a:lnTo>
                  <a:lnTo>
                    <a:pt x="1853" y="1017"/>
                  </a:lnTo>
                  <a:lnTo>
                    <a:pt x="1852" y="1020"/>
                  </a:lnTo>
                  <a:lnTo>
                    <a:pt x="1852" y="1024"/>
                  </a:lnTo>
                  <a:lnTo>
                    <a:pt x="1852" y="1025"/>
                  </a:lnTo>
                  <a:lnTo>
                    <a:pt x="1853" y="1030"/>
                  </a:lnTo>
                  <a:lnTo>
                    <a:pt x="1853" y="1033"/>
                  </a:lnTo>
                  <a:lnTo>
                    <a:pt x="1856" y="1036"/>
                  </a:lnTo>
                  <a:lnTo>
                    <a:pt x="1860" y="1041"/>
                  </a:lnTo>
                  <a:lnTo>
                    <a:pt x="1866" y="1049"/>
                  </a:lnTo>
                  <a:lnTo>
                    <a:pt x="1874" y="1057"/>
                  </a:lnTo>
                  <a:lnTo>
                    <a:pt x="1880" y="1066"/>
                  </a:lnTo>
                  <a:lnTo>
                    <a:pt x="1886" y="1077"/>
                  </a:lnTo>
                  <a:lnTo>
                    <a:pt x="1901" y="1098"/>
                  </a:lnTo>
                  <a:lnTo>
                    <a:pt x="1915" y="1120"/>
                  </a:lnTo>
                  <a:lnTo>
                    <a:pt x="1921" y="1131"/>
                  </a:lnTo>
                  <a:lnTo>
                    <a:pt x="1928" y="1142"/>
                  </a:lnTo>
                  <a:lnTo>
                    <a:pt x="1934" y="1151"/>
                  </a:lnTo>
                  <a:lnTo>
                    <a:pt x="1940" y="1159"/>
                  </a:lnTo>
                  <a:lnTo>
                    <a:pt x="1946" y="1166"/>
                  </a:lnTo>
                  <a:lnTo>
                    <a:pt x="1951" y="1172"/>
                  </a:lnTo>
                  <a:lnTo>
                    <a:pt x="1953" y="1175"/>
                  </a:lnTo>
                  <a:lnTo>
                    <a:pt x="1956" y="1177"/>
                  </a:lnTo>
                  <a:lnTo>
                    <a:pt x="1959" y="1178"/>
                  </a:lnTo>
                  <a:lnTo>
                    <a:pt x="1961" y="1178"/>
                  </a:lnTo>
                  <a:lnTo>
                    <a:pt x="1965" y="1178"/>
                  </a:lnTo>
                  <a:lnTo>
                    <a:pt x="1969" y="1178"/>
                  </a:lnTo>
                  <a:lnTo>
                    <a:pt x="1970" y="1178"/>
                  </a:lnTo>
                  <a:lnTo>
                    <a:pt x="1972" y="1178"/>
                  </a:lnTo>
                  <a:lnTo>
                    <a:pt x="1972" y="1177"/>
                  </a:lnTo>
                  <a:lnTo>
                    <a:pt x="1973" y="1175"/>
                  </a:lnTo>
                  <a:lnTo>
                    <a:pt x="1973" y="1173"/>
                  </a:lnTo>
                  <a:lnTo>
                    <a:pt x="1972" y="1170"/>
                  </a:lnTo>
                  <a:lnTo>
                    <a:pt x="1972" y="1169"/>
                  </a:lnTo>
                  <a:lnTo>
                    <a:pt x="1969" y="1161"/>
                  </a:lnTo>
                  <a:lnTo>
                    <a:pt x="1969" y="1156"/>
                  </a:lnTo>
                  <a:lnTo>
                    <a:pt x="1967" y="1153"/>
                  </a:lnTo>
                  <a:lnTo>
                    <a:pt x="1967" y="1151"/>
                  </a:lnTo>
                  <a:lnTo>
                    <a:pt x="1967" y="1150"/>
                  </a:lnTo>
                  <a:lnTo>
                    <a:pt x="1967" y="1148"/>
                  </a:lnTo>
                  <a:lnTo>
                    <a:pt x="1969" y="1145"/>
                  </a:lnTo>
                  <a:lnTo>
                    <a:pt x="1972" y="1142"/>
                  </a:lnTo>
                  <a:lnTo>
                    <a:pt x="1973" y="1140"/>
                  </a:lnTo>
                  <a:lnTo>
                    <a:pt x="1973" y="1137"/>
                  </a:lnTo>
                  <a:lnTo>
                    <a:pt x="1976" y="1134"/>
                  </a:lnTo>
                  <a:lnTo>
                    <a:pt x="1980" y="1132"/>
                  </a:lnTo>
                  <a:lnTo>
                    <a:pt x="1981" y="1131"/>
                  </a:lnTo>
                  <a:lnTo>
                    <a:pt x="1984" y="1131"/>
                  </a:lnTo>
                  <a:lnTo>
                    <a:pt x="1986" y="1131"/>
                  </a:lnTo>
                  <a:lnTo>
                    <a:pt x="1989" y="1131"/>
                  </a:lnTo>
                  <a:lnTo>
                    <a:pt x="1991" y="1131"/>
                  </a:lnTo>
                  <a:lnTo>
                    <a:pt x="1992" y="1132"/>
                  </a:lnTo>
                  <a:lnTo>
                    <a:pt x="1994" y="1132"/>
                  </a:lnTo>
                  <a:lnTo>
                    <a:pt x="1995" y="1136"/>
                  </a:lnTo>
                  <a:lnTo>
                    <a:pt x="1997" y="1136"/>
                  </a:lnTo>
                  <a:lnTo>
                    <a:pt x="1997" y="1142"/>
                  </a:lnTo>
                  <a:lnTo>
                    <a:pt x="1999" y="1147"/>
                  </a:lnTo>
                  <a:lnTo>
                    <a:pt x="2000" y="1151"/>
                  </a:lnTo>
                  <a:lnTo>
                    <a:pt x="2000" y="1154"/>
                  </a:lnTo>
                  <a:lnTo>
                    <a:pt x="2002" y="1158"/>
                  </a:lnTo>
                  <a:lnTo>
                    <a:pt x="2003" y="1161"/>
                  </a:lnTo>
                  <a:lnTo>
                    <a:pt x="2005" y="1164"/>
                  </a:lnTo>
                  <a:lnTo>
                    <a:pt x="2007" y="1166"/>
                  </a:lnTo>
                  <a:lnTo>
                    <a:pt x="2008" y="1169"/>
                  </a:lnTo>
                  <a:lnTo>
                    <a:pt x="2007" y="1166"/>
                  </a:lnTo>
                  <a:lnTo>
                    <a:pt x="2008" y="1169"/>
                  </a:lnTo>
                  <a:lnTo>
                    <a:pt x="2010" y="1170"/>
                  </a:lnTo>
                  <a:lnTo>
                    <a:pt x="2013" y="1172"/>
                  </a:lnTo>
                  <a:lnTo>
                    <a:pt x="2014" y="1173"/>
                  </a:lnTo>
                  <a:lnTo>
                    <a:pt x="2018" y="1177"/>
                  </a:lnTo>
                  <a:lnTo>
                    <a:pt x="2024" y="1178"/>
                  </a:lnTo>
                  <a:lnTo>
                    <a:pt x="2030" y="1181"/>
                  </a:lnTo>
                  <a:lnTo>
                    <a:pt x="2035" y="1181"/>
                  </a:lnTo>
                  <a:lnTo>
                    <a:pt x="2043" y="1184"/>
                  </a:lnTo>
                  <a:lnTo>
                    <a:pt x="2051" y="1184"/>
                  </a:lnTo>
                  <a:lnTo>
                    <a:pt x="2060" y="1184"/>
                  </a:lnTo>
                  <a:lnTo>
                    <a:pt x="2067" y="1184"/>
                  </a:lnTo>
                  <a:lnTo>
                    <a:pt x="2074" y="1184"/>
                  </a:lnTo>
                  <a:lnTo>
                    <a:pt x="2081" y="1184"/>
                  </a:lnTo>
                  <a:lnTo>
                    <a:pt x="2086" y="1186"/>
                  </a:lnTo>
                  <a:lnTo>
                    <a:pt x="2090" y="1189"/>
                  </a:lnTo>
                  <a:lnTo>
                    <a:pt x="2095" y="1191"/>
                  </a:lnTo>
                  <a:lnTo>
                    <a:pt x="2098" y="1194"/>
                  </a:lnTo>
                  <a:lnTo>
                    <a:pt x="2100" y="1202"/>
                  </a:lnTo>
                  <a:lnTo>
                    <a:pt x="2100" y="1207"/>
                  </a:lnTo>
                  <a:lnTo>
                    <a:pt x="2100" y="1211"/>
                  </a:lnTo>
                  <a:lnTo>
                    <a:pt x="2100" y="1216"/>
                  </a:lnTo>
                  <a:lnTo>
                    <a:pt x="2100" y="1219"/>
                  </a:lnTo>
                  <a:lnTo>
                    <a:pt x="2097" y="1222"/>
                  </a:lnTo>
                  <a:lnTo>
                    <a:pt x="2095" y="1224"/>
                  </a:lnTo>
                  <a:lnTo>
                    <a:pt x="2092" y="1224"/>
                  </a:lnTo>
                  <a:lnTo>
                    <a:pt x="2090" y="1224"/>
                  </a:lnTo>
                  <a:lnTo>
                    <a:pt x="2087" y="1222"/>
                  </a:lnTo>
                  <a:lnTo>
                    <a:pt x="2086" y="1222"/>
                  </a:lnTo>
                  <a:lnTo>
                    <a:pt x="2079" y="1219"/>
                  </a:lnTo>
                  <a:lnTo>
                    <a:pt x="2074" y="1216"/>
                  </a:lnTo>
                  <a:lnTo>
                    <a:pt x="2071" y="1213"/>
                  </a:lnTo>
                  <a:lnTo>
                    <a:pt x="2067" y="1211"/>
                  </a:lnTo>
                  <a:lnTo>
                    <a:pt x="2065" y="1211"/>
                  </a:lnTo>
                  <a:lnTo>
                    <a:pt x="2065" y="1214"/>
                  </a:lnTo>
                  <a:lnTo>
                    <a:pt x="2065" y="1216"/>
                  </a:lnTo>
                  <a:lnTo>
                    <a:pt x="2067" y="1219"/>
                  </a:lnTo>
                  <a:lnTo>
                    <a:pt x="2068" y="1224"/>
                  </a:lnTo>
                  <a:lnTo>
                    <a:pt x="2071" y="1229"/>
                  </a:lnTo>
                  <a:lnTo>
                    <a:pt x="2078" y="1243"/>
                  </a:lnTo>
                  <a:lnTo>
                    <a:pt x="2089" y="1260"/>
                  </a:lnTo>
                  <a:lnTo>
                    <a:pt x="2090" y="1263"/>
                  </a:lnTo>
                  <a:lnTo>
                    <a:pt x="2092" y="1265"/>
                  </a:lnTo>
                  <a:lnTo>
                    <a:pt x="2095" y="1268"/>
                  </a:lnTo>
                  <a:lnTo>
                    <a:pt x="2097" y="1270"/>
                  </a:lnTo>
                  <a:lnTo>
                    <a:pt x="2104" y="1273"/>
                  </a:lnTo>
                  <a:lnTo>
                    <a:pt x="2112" y="1278"/>
                  </a:lnTo>
                  <a:lnTo>
                    <a:pt x="2130" y="1284"/>
                  </a:lnTo>
                  <a:lnTo>
                    <a:pt x="2146" y="1292"/>
                  </a:lnTo>
                  <a:lnTo>
                    <a:pt x="2150" y="1293"/>
                  </a:lnTo>
                  <a:lnTo>
                    <a:pt x="2153" y="1296"/>
                  </a:lnTo>
                  <a:lnTo>
                    <a:pt x="2157" y="1298"/>
                  </a:lnTo>
                  <a:lnTo>
                    <a:pt x="2158" y="1301"/>
                  </a:lnTo>
                  <a:lnTo>
                    <a:pt x="2161" y="1304"/>
                  </a:lnTo>
                  <a:lnTo>
                    <a:pt x="2163" y="1306"/>
                  </a:lnTo>
                  <a:lnTo>
                    <a:pt x="2165" y="1309"/>
                  </a:lnTo>
                  <a:lnTo>
                    <a:pt x="2166" y="1312"/>
                  </a:lnTo>
                  <a:lnTo>
                    <a:pt x="2166" y="1317"/>
                  </a:lnTo>
                  <a:lnTo>
                    <a:pt x="2166" y="1319"/>
                  </a:lnTo>
                  <a:lnTo>
                    <a:pt x="2166" y="1323"/>
                  </a:lnTo>
                  <a:lnTo>
                    <a:pt x="2163" y="1326"/>
                  </a:lnTo>
                  <a:lnTo>
                    <a:pt x="2161" y="1331"/>
                  </a:lnTo>
                  <a:lnTo>
                    <a:pt x="2158" y="1336"/>
                  </a:lnTo>
                  <a:lnTo>
                    <a:pt x="2153" y="1341"/>
                  </a:lnTo>
                  <a:lnTo>
                    <a:pt x="2149" y="1345"/>
                  </a:lnTo>
                  <a:lnTo>
                    <a:pt x="2144" y="1350"/>
                  </a:lnTo>
                  <a:lnTo>
                    <a:pt x="2142" y="1353"/>
                  </a:lnTo>
                  <a:lnTo>
                    <a:pt x="2141" y="1355"/>
                  </a:lnTo>
                  <a:lnTo>
                    <a:pt x="2141" y="1356"/>
                  </a:lnTo>
                  <a:lnTo>
                    <a:pt x="2141" y="1358"/>
                  </a:lnTo>
                  <a:lnTo>
                    <a:pt x="2141" y="1360"/>
                  </a:lnTo>
                  <a:lnTo>
                    <a:pt x="2142" y="1371"/>
                  </a:lnTo>
                  <a:lnTo>
                    <a:pt x="2146" y="1386"/>
                  </a:lnTo>
                  <a:lnTo>
                    <a:pt x="2149" y="1393"/>
                  </a:lnTo>
                  <a:lnTo>
                    <a:pt x="2150" y="1399"/>
                  </a:lnTo>
                  <a:lnTo>
                    <a:pt x="2153" y="1404"/>
                  </a:lnTo>
                  <a:lnTo>
                    <a:pt x="2155" y="1408"/>
                  </a:lnTo>
                  <a:lnTo>
                    <a:pt x="2158" y="1413"/>
                  </a:lnTo>
                  <a:lnTo>
                    <a:pt x="2163" y="1416"/>
                  </a:lnTo>
                  <a:lnTo>
                    <a:pt x="2166" y="1421"/>
                  </a:lnTo>
                  <a:lnTo>
                    <a:pt x="2171" y="1424"/>
                  </a:lnTo>
                  <a:lnTo>
                    <a:pt x="2174" y="1426"/>
                  </a:lnTo>
                  <a:lnTo>
                    <a:pt x="2177" y="1429"/>
                  </a:lnTo>
                  <a:lnTo>
                    <a:pt x="2182" y="1432"/>
                  </a:lnTo>
                  <a:lnTo>
                    <a:pt x="2187" y="1434"/>
                  </a:lnTo>
                  <a:lnTo>
                    <a:pt x="2195" y="1437"/>
                  </a:lnTo>
                  <a:lnTo>
                    <a:pt x="2201" y="1442"/>
                  </a:lnTo>
                  <a:lnTo>
                    <a:pt x="2207" y="1443"/>
                  </a:lnTo>
                  <a:lnTo>
                    <a:pt x="2212" y="1446"/>
                  </a:lnTo>
                  <a:lnTo>
                    <a:pt x="2215" y="1446"/>
                  </a:lnTo>
                  <a:lnTo>
                    <a:pt x="2217" y="1446"/>
                  </a:lnTo>
                  <a:lnTo>
                    <a:pt x="2217" y="1449"/>
                  </a:lnTo>
                  <a:lnTo>
                    <a:pt x="2218" y="1449"/>
                  </a:lnTo>
                  <a:lnTo>
                    <a:pt x="2218" y="1451"/>
                  </a:lnTo>
                  <a:lnTo>
                    <a:pt x="2217" y="1453"/>
                  </a:lnTo>
                  <a:lnTo>
                    <a:pt x="2215" y="1454"/>
                  </a:lnTo>
                  <a:lnTo>
                    <a:pt x="2209" y="1457"/>
                  </a:lnTo>
                  <a:lnTo>
                    <a:pt x="2201" y="1460"/>
                  </a:lnTo>
                  <a:lnTo>
                    <a:pt x="2199" y="1462"/>
                  </a:lnTo>
                  <a:lnTo>
                    <a:pt x="2196" y="1464"/>
                  </a:lnTo>
                  <a:lnTo>
                    <a:pt x="2195" y="1467"/>
                  </a:lnTo>
                  <a:lnTo>
                    <a:pt x="2193" y="1470"/>
                  </a:lnTo>
                  <a:lnTo>
                    <a:pt x="2191" y="1473"/>
                  </a:lnTo>
                  <a:lnTo>
                    <a:pt x="2190" y="1476"/>
                  </a:lnTo>
                  <a:lnTo>
                    <a:pt x="2190" y="1481"/>
                  </a:lnTo>
                  <a:lnTo>
                    <a:pt x="2188" y="1486"/>
                  </a:lnTo>
                  <a:lnTo>
                    <a:pt x="2188" y="1490"/>
                  </a:lnTo>
                  <a:lnTo>
                    <a:pt x="2187" y="1494"/>
                  </a:lnTo>
                  <a:lnTo>
                    <a:pt x="2187" y="1498"/>
                  </a:lnTo>
                  <a:lnTo>
                    <a:pt x="2187" y="1503"/>
                  </a:lnTo>
                  <a:lnTo>
                    <a:pt x="2188" y="1506"/>
                  </a:lnTo>
                  <a:lnTo>
                    <a:pt x="2188" y="1509"/>
                  </a:lnTo>
                  <a:lnTo>
                    <a:pt x="2190" y="1513"/>
                  </a:lnTo>
                  <a:lnTo>
                    <a:pt x="2191" y="1516"/>
                  </a:lnTo>
                  <a:lnTo>
                    <a:pt x="2196" y="1519"/>
                  </a:lnTo>
                  <a:lnTo>
                    <a:pt x="2199" y="1524"/>
                  </a:lnTo>
                  <a:lnTo>
                    <a:pt x="2204" y="1527"/>
                  </a:lnTo>
                  <a:lnTo>
                    <a:pt x="2207" y="1528"/>
                  </a:lnTo>
                  <a:lnTo>
                    <a:pt x="2215" y="1531"/>
                  </a:lnTo>
                  <a:lnTo>
                    <a:pt x="2220" y="1533"/>
                  </a:lnTo>
                  <a:lnTo>
                    <a:pt x="2223" y="1536"/>
                  </a:lnTo>
                  <a:lnTo>
                    <a:pt x="2226" y="1536"/>
                  </a:lnTo>
                  <a:lnTo>
                    <a:pt x="2229" y="1538"/>
                  </a:lnTo>
                  <a:lnTo>
                    <a:pt x="2231" y="1541"/>
                  </a:lnTo>
                  <a:lnTo>
                    <a:pt x="2232" y="1542"/>
                  </a:lnTo>
                  <a:lnTo>
                    <a:pt x="2236" y="1546"/>
                  </a:lnTo>
                  <a:lnTo>
                    <a:pt x="2237" y="1550"/>
                  </a:lnTo>
                  <a:lnTo>
                    <a:pt x="2240" y="1557"/>
                  </a:lnTo>
                  <a:lnTo>
                    <a:pt x="2245" y="1568"/>
                  </a:lnTo>
                  <a:lnTo>
                    <a:pt x="2250" y="1580"/>
                  </a:lnTo>
                  <a:lnTo>
                    <a:pt x="2253" y="1587"/>
                  </a:lnTo>
                  <a:lnTo>
                    <a:pt x="2255" y="1593"/>
                  </a:lnTo>
                  <a:lnTo>
                    <a:pt x="2256" y="1601"/>
                  </a:lnTo>
                  <a:lnTo>
                    <a:pt x="2258" y="1607"/>
                  </a:lnTo>
                  <a:lnTo>
                    <a:pt x="2261" y="1623"/>
                  </a:lnTo>
                  <a:lnTo>
                    <a:pt x="2262" y="1639"/>
                  </a:lnTo>
                  <a:lnTo>
                    <a:pt x="2266" y="1656"/>
                  </a:lnTo>
                  <a:lnTo>
                    <a:pt x="2266" y="1675"/>
                  </a:lnTo>
                  <a:lnTo>
                    <a:pt x="2243" y="1664"/>
                  </a:lnTo>
                  <a:lnTo>
                    <a:pt x="2217" y="1651"/>
                  </a:lnTo>
                  <a:lnTo>
                    <a:pt x="2190" y="1639"/>
                  </a:lnTo>
                  <a:lnTo>
                    <a:pt x="2163" y="1625"/>
                  </a:lnTo>
                  <a:lnTo>
                    <a:pt x="2134" y="1610"/>
                  </a:lnTo>
                  <a:lnTo>
                    <a:pt x="2108" y="1598"/>
                  </a:lnTo>
                  <a:lnTo>
                    <a:pt x="2082" y="1587"/>
                  </a:lnTo>
                  <a:lnTo>
                    <a:pt x="2060" y="1577"/>
                  </a:lnTo>
                  <a:lnTo>
                    <a:pt x="2048" y="1571"/>
                  </a:lnTo>
                  <a:lnTo>
                    <a:pt x="2035" y="1565"/>
                  </a:lnTo>
                  <a:lnTo>
                    <a:pt x="2024" y="1558"/>
                  </a:lnTo>
                  <a:lnTo>
                    <a:pt x="2013" y="1550"/>
                  </a:lnTo>
                  <a:lnTo>
                    <a:pt x="2002" y="1544"/>
                  </a:lnTo>
                  <a:lnTo>
                    <a:pt x="1992" y="1536"/>
                  </a:lnTo>
                  <a:lnTo>
                    <a:pt x="1981" y="1528"/>
                  </a:lnTo>
                  <a:lnTo>
                    <a:pt x="1973" y="1522"/>
                  </a:lnTo>
                  <a:lnTo>
                    <a:pt x="1959" y="1509"/>
                  </a:lnTo>
                  <a:lnTo>
                    <a:pt x="1946" y="1498"/>
                  </a:lnTo>
                  <a:lnTo>
                    <a:pt x="1940" y="1492"/>
                  </a:lnTo>
                  <a:lnTo>
                    <a:pt x="1937" y="1489"/>
                  </a:lnTo>
                  <a:lnTo>
                    <a:pt x="1935" y="1490"/>
                  </a:lnTo>
                  <a:lnTo>
                    <a:pt x="1931" y="1484"/>
                  </a:lnTo>
                  <a:lnTo>
                    <a:pt x="1924" y="1478"/>
                  </a:lnTo>
                  <a:lnTo>
                    <a:pt x="1920" y="1473"/>
                  </a:lnTo>
                  <a:lnTo>
                    <a:pt x="1915" y="1467"/>
                  </a:lnTo>
                  <a:lnTo>
                    <a:pt x="1910" y="1462"/>
                  </a:lnTo>
                  <a:lnTo>
                    <a:pt x="1907" y="1457"/>
                  </a:lnTo>
                  <a:lnTo>
                    <a:pt x="1905" y="1453"/>
                  </a:lnTo>
                  <a:lnTo>
                    <a:pt x="1902" y="1448"/>
                  </a:lnTo>
                  <a:lnTo>
                    <a:pt x="1899" y="1443"/>
                  </a:lnTo>
                  <a:lnTo>
                    <a:pt x="1897" y="1440"/>
                  </a:lnTo>
                  <a:lnTo>
                    <a:pt x="1896" y="1435"/>
                  </a:lnTo>
                  <a:lnTo>
                    <a:pt x="1894" y="1432"/>
                  </a:lnTo>
                  <a:lnTo>
                    <a:pt x="1891" y="1424"/>
                  </a:lnTo>
                  <a:lnTo>
                    <a:pt x="1890" y="1416"/>
                  </a:lnTo>
                  <a:lnTo>
                    <a:pt x="1888" y="1404"/>
                  </a:lnTo>
                  <a:lnTo>
                    <a:pt x="1886" y="1393"/>
                  </a:lnTo>
                  <a:lnTo>
                    <a:pt x="1885" y="1391"/>
                  </a:lnTo>
                  <a:lnTo>
                    <a:pt x="1883" y="1388"/>
                  </a:lnTo>
                  <a:lnTo>
                    <a:pt x="1883" y="1386"/>
                  </a:lnTo>
                  <a:lnTo>
                    <a:pt x="1882" y="1383"/>
                  </a:lnTo>
                  <a:lnTo>
                    <a:pt x="1879" y="1382"/>
                  </a:lnTo>
                  <a:lnTo>
                    <a:pt x="1877" y="1380"/>
                  </a:lnTo>
                  <a:lnTo>
                    <a:pt x="1875" y="1378"/>
                  </a:lnTo>
                  <a:lnTo>
                    <a:pt x="1874" y="1375"/>
                  </a:lnTo>
                  <a:lnTo>
                    <a:pt x="1864" y="1371"/>
                  </a:lnTo>
                  <a:lnTo>
                    <a:pt x="1858" y="1364"/>
                  </a:lnTo>
                  <a:lnTo>
                    <a:pt x="1856" y="1363"/>
                  </a:lnTo>
                  <a:lnTo>
                    <a:pt x="1853" y="1360"/>
                  </a:lnTo>
                  <a:lnTo>
                    <a:pt x="1852" y="1356"/>
                  </a:lnTo>
                  <a:lnTo>
                    <a:pt x="1852" y="1355"/>
                  </a:lnTo>
                  <a:lnTo>
                    <a:pt x="1852" y="1352"/>
                  </a:lnTo>
                  <a:lnTo>
                    <a:pt x="1850" y="1350"/>
                  </a:lnTo>
                  <a:lnTo>
                    <a:pt x="1850" y="1348"/>
                  </a:lnTo>
                  <a:lnTo>
                    <a:pt x="1850" y="1347"/>
                  </a:lnTo>
                  <a:lnTo>
                    <a:pt x="1852" y="1342"/>
                  </a:lnTo>
                  <a:lnTo>
                    <a:pt x="1853" y="1337"/>
                  </a:lnTo>
                  <a:lnTo>
                    <a:pt x="1855" y="1331"/>
                  </a:lnTo>
                  <a:lnTo>
                    <a:pt x="1856" y="1325"/>
                  </a:lnTo>
                  <a:lnTo>
                    <a:pt x="1856" y="1323"/>
                  </a:lnTo>
                  <a:lnTo>
                    <a:pt x="1858" y="1319"/>
                  </a:lnTo>
                  <a:lnTo>
                    <a:pt x="1860" y="1312"/>
                  </a:lnTo>
                  <a:lnTo>
                    <a:pt x="1860" y="1309"/>
                  </a:lnTo>
                  <a:lnTo>
                    <a:pt x="1860" y="1306"/>
                  </a:lnTo>
                  <a:lnTo>
                    <a:pt x="1860" y="1304"/>
                  </a:lnTo>
                  <a:lnTo>
                    <a:pt x="1860" y="1301"/>
                  </a:lnTo>
                  <a:lnTo>
                    <a:pt x="1860" y="1300"/>
                  </a:lnTo>
                  <a:lnTo>
                    <a:pt x="1860" y="1295"/>
                  </a:lnTo>
                  <a:lnTo>
                    <a:pt x="1858" y="1289"/>
                  </a:lnTo>
                  <a:lnTo>
                    <a:pt x="1858" y="1284"/>
                  </a:lnTo>
                  <a:lnTo>
                    <a:pt x="1856" y="1276"/>
                  </a:lnTo>
                  <a:lnTo>
                    <a:pt x="1855" y="1270"/>
                  </a:lnTo>
                  <a:lnTo>
                    <a:pt x="1852" y="1262"/>
                  </a:lnTo>
                  <a:lnTo>
                    <a:pt x="1849" y="1248"/>
                  </a:lnTo>
                  <a:lnTo>
                    <a:pt x="1844" y="1235"/>
                  </a:lnTo>
                  <a:lnTo>
                    <a:pt x="1841" y="1221"/>
                  </a:lnTo>
                  <a:lnTo>
                    <a:pt x="1836" y="1207"/>
                  </a:lnTo>
                  <a:lnTo>
                    <a:pt x="1831" y="1194"/>
                  </a:lnTo>
                  <a:lnTo>
                    <a:pt x="1825" y="1181"/>
                  </a:lnTo>
                  <a:lnTo>
                    <a:pt x="1822" y="1170"/>
                  </a:lnTo>
                  <a:lnTo>
                    <a:pt x="1817" y="1161"/>
                  </a:lnTo>
                  <a:lnTo>
                    <a:pt x="1811" y="1145"/>
                  </a:lnTo>
                  <a:lnTo>
                    <a:pt x="1804" y="1131"/>
                  </a:lnTo>
                  <a:lnTo>
                    <a:pt x="1801" y="1118"/>
                  </a:lnTo>
                  <a:lnTo>
                    <a:pt x="1798" y="1107"/>
                  </a:lnTo>
                  <a:lnTo>
                    <a:pt x="1796" y="1096"/>
                  </a:lnTo>
                  <a:lnTo>
                    <a:pt x="1795" y="1085"/>
                  </a:lnTo>
                  <a:lnTo>
                    <a:pt x="1795" y="1077"/>
                  </a:lnTo>
                  <a:lnTo>
                    <a:pt x="1793" y="1068"/>
                  </a:lnTo>
                  <a:lnTo>
                    <a:pt x="1792" y="1050"/>
                  </a:lnTo>
                  <a:lnTo>
                    <a:pt x="1792" y="1035"/>
                  </a:lnTo>
                  <a:lnTo>
                    <a:pt x="1790" y="1025"/>
                  </a:lnTo>
                  <a:lnTo>
                    <a:pt x="1788" y="1017"/>
                  </a:lnTo>
                  <a:lnTo>
                    <a:pt x="1785" y="1008"/>
                  </a:lnTo>
                  <a:lnTo>
                    <a:pt x="1782" y="997"/>
                  </a:lnTo>
                  <a:lnTo>
                    <a:pt x="1779" y="995"/>
                  </a:lnTo>
                  <a:lnTo>
                    <a:pt x="1779" y="992"/>
                  </a:lnTo>
                  <a:lnTo>
                    <a:pt x="1777" y="990"/>
                  </a:lnTo>
                  <a:lnTo>
                    <a:pt x="1774" y="987"/>
                  </a:lnTo>
                  <a:lnTo>
                    <a:pt x="1768" y="983"/>
                  </a:lnTo>
                  <a:lnTo>
                    <a:pt x="1762" y="979"/>
                  </a:lnTo>
                  <a:lnTo>
                    <a:pt x="1754" y="975"/>
                  </a:lnTo>
                  <a:lnTo>
                    <a:pt x="1746" y="970"/>
                  </a:lnTo>
                  <a:lnTo>
                    <a:pt x="1738" y="964"/>
                  </a:lnTo>
                  <a:lnTo>
                    <a:pt x="1730" y="959"/>
                  </a:lnTo>
                  <a:lnTo>
                    <a:pt x="1727" y="956"/>
                  </a:lnTo>
                  <a:lnTo>
                    <a:pt x="1724" y="954"/>
                  </a:lnTo>
                  <a:lnTo>
                    <a:pt x="1721" y="949"/>
                  </a:lnTo>
                  <a:lnTo>
                    <a:pt x="1717" y="946"/>
                  </a:lnTo>
                  <a:lnTo>
                    <a:pt x="1716" y="942"/>
                  </a:lnTo>
                  <a:lnTo>
                    <a:pt x="1713" y="938"/>
                  </a:lnTo>
                  <a:lnTo>
                    <a:pt x="1711" y="934"/>
                  </a:lnTo>
                  <a:lnTo>
                    <a:pt x="1709" y="929"/>
                  </a:lnTo>
                  <a:lnTo>
                    <a:pt x="1708" y="924"/>
                  </a:lnTo>
                  <a:lnTo>
                    <a:pt x="1708" y="919"/>
                  </a:lnTo>
                  <a:lnTo>
                    <a:pt x="1708" y="918"/>
                  </a:lnTo>
                  <a:lnTo>
                    <a:pt x="1708" y="913"/>
                  </a:lnTo>
                  <a:lnTo>
                    <a:pt x="1709" y="908"/>
                  </a:lnTo>
                  <a:lnTo>
                    <a:pt x="1709" y="901"/>
                  </a:lnTo>
                  <a:lnTo>
                    <a:pt x="1713" y="896"/>
                  </a:lnTo>
                  <a:lnTo>
                    <a:pt x="1714" y="888"/>
                  </a:lnTo>
                  <a:lnTo>
                    <a:pt x="1717" y="880"/>
                  </a:lnTo>
                  <a:lnTo>
                    <a:pt x="1716" y="880"/>
                  </a:lnTo>
                  <a:lnTo>
                    <a:pt x="1713" y="880"/>
                  </a:lnTo>
                  <a:lnTo>
                    <a:pt x="1711" y="882"/>
                  </a:lnTo>
                  <a:lnTo>
                    <a:pt x="1709" y="882"/>
                  </a:lnTo>
                  <a:lnTo>
                    <a:pt x="1708" y="883"/>
                  </a:lnTo>
                  <a:lnTo>
                    <a:pt x="1705" y="883"/>
                  </a:lnTo>
                  <a:lnTo>
                    <a:pt x="1705" y="885"/>
                  </a:lnTo>
                  <a:lnTo>
                    <a:pt x="1703" y="885"/>
                  </a:lnTo>
                  <a:lnTo>
                    <a:pt x="1700" y="888"/>
                  </a:lnTo>
                  <a:lnTo>
                    <a:pt x="1697" y="891"/>
                  </a:lnTo>
                  <a:lnTo>
                    <a:pt x="1694" y="896"/>
                  </a:lnTo>
                  <a:lnTo>
                    <a:pt x="1689" y="901"/>
                  </a:lnTo>
                  <a:lnTo>
                    <a:pt x="1686" y="905"/>
                  </a:lnTo>
                  <a:lnTo>
                    <a:pt x="1684" y="908"/>
                  </a:lnTo>
                  <a:lnTo>
                    <a:pt x="1684" y="910"/>
                  </a:lnTo>
                  <a:lnTo>
                    <a:pt x="1681" y="916"/>
                  </a:lnTo>
                  <a:lnTo>
                    <a:pt x="1679" y="923"/>
                  </a:lnTo>
                  <a:lnTo>
                    <a:pt x="1676" y="927"/>
                  </a:lnTo>
                  <a:lnTo>
                    <a:pt x="1675" y="934"/>
                  </a:lnTo>
                  <a:lnTo>
                    <a:pt x="1675" y="937"/>
                  </a:lnTo>
                  <a:lnTo>
                    <a:pt x="1673" y="942"/>
                  </a:lnTo>
                  <a:lnTo>
                    <a:pt x="1673" y="943"/>
                  </a:lnTo>
                  <a:lnTo>
                    <a:pt x="1681" y="948"/>
                  </a:lnTo>
                  <a:lnTo>
                    <a:pt x="1697" y="959"/>
                  </a:lnTo>
                  <a:lnTo>
                    <a:pt x="1702" y="962"/>
                  </a:lnTo>
                  <a:lnTo>
                    <a:pt x="1706" y="965"/>
                  </a:lnTo>
                  <a:lnTo>
                    <a:pt x="1711" y="970"/>
                  </a:lnTo>
                  <a:lnTo>
                    <a:pt x="1716" y="973"/>
                  </a:lnTo>
                  <a:lnTo>
                    <a:pt x="1721" y="978"/>
                  </a:lnTo>
                  <a:lnTo>
                    <a:pt x="1724" y="983"/>
                  </a:lnTo>
                  <a:lnTo>
                    <a:pt x="1727" y="989"/>
                  </a:lnTo>
                  <a:lnTo>
                    <a:pt x="1730" y="995"/>
                  </a:lnTo>
                  <a:lnTo>
                    <a:pt x="1730" y="1001"/>
                  </a:lnTo>
                  <a:lnTo>
                    <a:pt x="1730" y="1009"/>
                  </a:lnTo>
                  <a:lnTo>
                    <a:pt x="1730" y="1014"/>
                  </a:lnTo>
                  <a:lnTo>
                    <a:pt x="1730" y="1017"/>
                  </a:lnTo>
                  <a:lnTo>
                    <a:pt x="1730" y="1022"/>
                  </a:lnTo>
                  <a:lnTo>
                    <a:pt x="1727" y="1027"/>
                  </a:lnTo>
                  <a:lnTo>
                    <a:pt x="1725" y="1030"/>
                  </a:lnTo>
                  <a:lnTo>
                    <a:pt x="1725" y="1033"/>
                  </a:lnTo>
                  <a:lnTo>
                    <a:pt x="1725" y="1036"/>
                  </a:lnTo>
                  <a:lnTo>
                    <a:pt x="1725" y="1041"/>
                  </a:lnTo>
                  <a:lnTo>
                    <a:pt x="1725" y="1044"/>
                  </a:lnTo>
                  <a:lnTo>
                    <a:pt x="1725" y="1049"/>
                  </a:lnTo>
                  <a:lnTo>
                    <a:pt x="1727" y="1052"/>
                  </a:lnTo>
                  <a:lnTo>
                    <a:pt x="1728" y="1057"/>
                  </a:lnTo>
                  <a:lnTo>
                    <a:pt x="1730" y="1065"/>
                  </a:lnTo>
                  <a:lnTo>
                    <a:pt x="1733" y="1071"/>
                  </a:lnTo>
                  <a:lnTo>
                    <a:pt x="1738" y="1079"/>
                  </a:lnTo>
                  <a:lnTo>
                    <a:pt x="1741" y="1087"/>
                  </a:lnTo>
                  <a:lnTo>
                    <a:pt x="1744" y="1093"/>
                  </a:lnTo>
                  <a:lnTo>
                    <a:pt x="1747" y="1099"/>
                  </a:lnTo>
                  <a:lnTo>
                    <a:pt x="1751" y="1104"/>
                  </a:lnTo>
                  <a:lnTo>
                    <a:pt x="1752" y="1110"/>
                  </a:lnTo>
                  <a:lnTo>
                    <a:pt x="1752" y="1113"/>
                  </a:lnTo>
                  <a:lnTo>
                    <a:pt x="1754" y="1115"/>
                  </a:lnTo>
                  <a:lnTo>
                    <a:pt x="1752" y="1118"/>
                  </a:lnTo>
                  <a:lnTo>
                    <a:pt x="1752" y="1120"/>
                  </a:lnTo>
                  <a:lnTo>
                    <a:pt x="1751" y="1123"/>
                  </a:lnTo>
                  <a:lnTo>
                    <a:pt x="1751" y="1125"/>
                  </a:lnTo>
                  <a:lnTo>
                    <a:pt x="1749" y="1126"/>
                  </a:lnTo>
                  <a:lnTo>
                    <a:pt x="1746" y="1128"/>
                  </a:lnTo>
                  <a:lnTo>
                    <a:pt x="1744" y="1128"/>
                  </a:lnTo>
                  <a:lnTo>
                    <a:pt x="1743" y="1128"/>
                  </a:lnTo>
                  <a:lnTo>
                    <a:pt x="1741" y="1128"/>
                  </a:lnTo>
                  <a:lnTo>
                    <a:pt x="1739" y="1126"/>
                  </a:lnTo>
                  <a:lnTo>
                    <a:pt x="1738" y="1125"/>
                  </a:lnTo>
                  <a:lnTo>
                    <a:pt x="1733" y="1120"/>
                  </a:lnTo>
                  <a:lnTo>
                    <a:pt x="1730" y="1113"/>
                  </a:lnTo>
                  <a:lnTo>
                    <a:pt x="1728" y="1112"/>
                  </a:lnTo>
                  <a:lnTo>
                    <a:pt x="1725" y="1110"/>
                  </a:lnTo>
                  <a:lnTo>
                    <a:pt x="1725" y="1109"/>
                  </a:lnTo>
                  <a:lnTo>
                    <a:pt x="1724" y="1109"/>
                  </a:lnTo>
                  <a:lnTo>
                    <a:pt x="1722" y="1109"/>
                  </a:lnTo>
                  <a:lnTo>
                    <a:pt x="1721" y="1109"/>
                  </a:lnTo>
                  <a:lnTo>
                    <a:pt x="1719" y="1110"/>
                  </a:lnTo>
                  <a:lnTo>
                    <a:pt x="1717" y="1110"/>
                  </a:lnTo>
                  <a:lnTo>
                    <a:pt x="1717" y="1112"/>
                  </a:lnTo>
                  <a:lnTo>
                    <a:pt x="1713" y="1115"/>
                  </a:lnTo>
                  <a:lnTo>
                    <a:pt x="1709" y="1121"/>
                  </a:lnTo>
                  <a:lnTo>
                    <a:pt x="1709" y="1123"/>
                  </a:lnTo>
                  <a:lnTo>
                    <a:pt x="1708" y="1123"/>
                  </a:lnTo>
                  <a:lnTo>
                    <a:pt x="1708" y="1125"/>
                  </a:lnTo>
                  <a:lnTo>
                    <a:pt x="1706" y="1125"/>
                  </a:lnTo>
                  <a:lnTo>
                    <a:pt x="1705" y="1125"/>
                  </a:lnTo>
                  <a:lnTo>
                    <a:pt x="1705" y="1123"/>
                  </a:lnTo>
                  <a:lnTo>
                    <a:pt x="1703" y="1123"/>
                  </a:lnTo>
                  <a:lnTo>
                    <a:pt x="1702" y="1121"/>
                  </a:lnTo>
                  <a:lnTo>
                    <a:pt x="1698" y="1118"/>
                  </a:lnTo>
                  <a:lnTo>
                    <a:pt x="1695" y="1115"/>
                  </a:lnTo>
                  <a:lnTo>
                    <a:pt x="1692" y="1110"/>
                  </a:lnTo>
                  <a:lnTo>
                    <a:pt x="1689" y="1104"/>
                  </a:lnTo>
                  <a:lnTo>
                    <a:pt x="1683" y="1093"/>
                  </a:lnTo>
                  <a:lnTo>
                    <a:pt x="1676" y="1082"/>
                  </a:lnTo>
                  <a:lnTo>
                    <a:pt x="1675" y="1077"/>
                  </a:lnTo>
                  <a:lnTo>
                    <a:pt x="1672" y="1072"/>
                  </a:lnTo>
                  <a:lnTo>
                    <a:pt x="1668" y="1069"/>
                  </a:lnTo>
                  <a:lnTo>
                    <a:pt x="1665" y="1068"/>
                  </a:lnTo>
                  <a:lnTo>
                    <a:pt x="1664" y="1066"/>
                  </a:lnTo>
                  <a:lnTo>
                    <a:pt x="1664" y="1068"/>
                  </a:lnTo>
                  <a:lnTo>
                    <a:pt x="1662" y="1069"/>
                  </a:lnTo>
                  <a:lnTo>
                    <a:pt x="1662" y="1072"/>
                  </a:lnTo>
                  <a:lnTo>
                    <a:pt x="1664" y="1079"/>
                  </a:lnTo>
                  <a:lnTo>
                    <a:pt x="1664" y="1087"/>
                  </a:lnTo>
                  <a:lnTo>
                    <a:pt x="1664" y="1091"/>
                  </a:lnTo>
                  <a:lnTo>
                    <a:pt x="1662" y="1095"/>
                  </a:lnTo>
                  <a:lnTo>
                    <a:pt x="1662" y="1098"/>
                  </a:lnTo>
                  <a:lnTo>
                    <a:pt x="1660" y="1099"/>
                  </a:lnTo>
                  <a:lnTo>
                    <a:pt x="1659" y="1101"/>
                  </a:lnTo>
                  <a:lnTo>
                    <a:pt x="1659" y="1102"/>
                  </a:lnTo>
                  <a:lnTo>
                    <a:pt x="1656" y="1102"/>
                  </a:lnTo>
                  <a:lnTo>
                    <a:pt x="1654" y="1104"/>
                  </a:lnTo>
                  <a:lnTo>
                    <a:pt x="1653" y="1104"/>
                  </a:lnTo>
                  <a:lnTo>
                    <a:pt x="1649" y="1104"/>
                  </a:lnTo>
                  <a:lnTo>
                    <a:pt x="1648" y="1104"/>
                  </a:lnTo>
                  <a:lnTo>
                    <a:pt x="1645" y="1104"/>
                  </a:lnTo>
                  <a:lnTo>
                    <a:pt x="1642" y="1102"/>
                  </a:lnTo>
                  <a:lnTo>
                    <a:pt x="1638" y="1110"/>
                  </a:lnTo>
                  <a:lnTo>
                    <a:pt x="1635" y="1117"/>
                  </a:lnTo>
                  <a:lnTo>
                    <a:pt x="1634" y="1123"/>
                  </a:lnTo>
                  <a:lnTo>
                    <a:pt x="1630" y="1131"/>
                  </a:lnTo>
                  <a:lnTo>
                    <a:pt x="1624" y="1145"/>
                  </a:lnTo>
                  <a:lnTo>
                    <a:pt x="1619" y="1158"/>
                  </a:lnTo>
                  <a:lnTo>
                    <a:pt x="1618" y="1166"/>
                  </a:lnTo>
                  <a:lnTo>
                    <a:pt x="1616" y="1172"/>
                  </a:lnTo>
                  <a:lnTo>
                    <a:pt x="1616" y="1175"/>
                  </a:lnTo>
                  <a:lnTo>
                    <a:pt x="1616" y="1178"/>
                  </a:lnTo>
                  <a:lnTo>
                    <a:pt x="1616" y="1181"/>
                  </a:lnTo>
                  <a:lnTo>
                    <a:pt x="1616" y="1184"/>
                  </a:lnTo>
                  <a:lnTo>
                    <a:pt x="1616" y="1188"/>
                  </a:lnTo>
                  <a:lnTo>
                    <a:pt x="1618" y="1191"/>
                  </a:lnTo>
                  <a:lnTo>
                    <a:pt x="1618" y="1194"/>
                  </a:lnTo>
                  <a:lnTo>
                    <a:pt x="1619" y="1197"/>
                  </a:lnTo>
                  <a:lnTo>
                    <a:pt x="1621" y="1199"/>
                  </a:lnTo>
                  <a:lnTo>
                    <a:pt x="1623" y="1202"/>
                  </a:lnTo>
                  <a:lnTo>
                    <a:pt x="1626" y="1205"/>
                  </a:lnTo>
                  <a:lnTo>
                    <a:pt x="1629" y="1207"/>
                  </a:lnTo>
                  <a:lnTo>
                    <a:pt x="1630" y="1210"/>
                  </a:lnTo>
                  <a:lnTo>
                    <a:pt x="1630" y="1211"/>
                  </a:lnTo>
                  <a:lnTo>
                    <a:pt x="1634" y="1214"/>
                  </a:lnTo>
                  <a:lnTo>
                    <a:pt x="1634" y="1218"/>
                  </a:lnTo>
                  <a:lnTo>
                    <a:pt x="1637" y="1225"/>
                  </a:lnTo>
                  <a:lnTo>
                    <a:pt x="1640" y="1235"/>
                  </a:lnTo>
                  <a:lnTo>
                    <a:pt x="1643" y="1257"/>
                  </a:lnTo>
                  <a:lnTo>
                    <a:pt x="1649" y="1281"/>
                  </a:lnTo>
                  <a:lnTo>
                    <a:pt x="1654" y="1306"/>
                  </a:lnTo>
                  <a:lnTo>
                    <a:pt x="1659" y="1328"/>
                  </a:lnTo>
                  <a:lnTo>
                    <a:pt x="1660" y="1339"/>
                  </a:lnTo>
                  <a:lnTo>
                    <a:pt x="1664" y="1347"/>
                  </a:lnTo>
                  <a:lnTo>
                    <a:pt x="1667" y="1355"/>
                  </a:lnTo>
                  <a:lnTo>
                    <a:pt x="1668" y="1363"/>
                  </a:lnTo>
                  <a:lnTo>
                    <a:pt x="1670" y="1363"/>
                  </a:lnTo>
                  <a:lnTo>
                    <a:pt x="1672" y="1364"/>
                  </a:lnTo>
                  <a:lnTo>
                    <a:pt x="1672" y="1366"/>
                  </a:lnTo>
                  <a:lnTo>
                    <a:pt x="1675" y="1366"/>
                  </a:lnTo>
                  <a:lnTo>
                    <a:pt x="1676" y="1364"/>
                  </a:lnTo>
                  <a:lnTo>
                    <a:pt x="1676" y="1363"/>
                  </a:lnTo>
                  <a:lnTo>
                    <a:pt x="1679" y="1363"/>
                  </a:lnTo>
                  <a:lnTo>
                    <a:pt x="1681" y="1361"/>
                  </a:lnTo>
                  <a:lnTo>
                    <a:pt x="1686" y="1358"/>
                  </a:lnTo>
                  <a:lnTo>
                    <a:pt x="1689" y="1355"/>
                  </a:lnTo>
                  <a:lnTo>
                    <a:pt x="1694" y="1352"/>
                  </a:lnTo>
                  <a:lnTo>
                    <a:pt x="1698" y="1347"/>
                  </a:lnTo>
                  <a:lnTo>
                    <a:pt x="1706" y="1339"/>
                  </a:lnTo>
                  <a:lnTo>
                    <a:pt x="1713" y="1333"/>
                  </a:lnTo>
                  <a:lnTo>
                    <a:pt x="1716" y="1333"/>
                  </a:lnTo>
                  <a:lnTo>
                    <a:pt x="1716" y="1331"/>
                  </a:lnTo>
                  <a:lnTo>
                    <a:pt x="1717" y="1331"/>
                  </a:lnTo>
                  <a:lnTo>
                    <a:pt x="1719" y="1331"/>
                  </a:lnTo>
                  <a:lnTo>
                    <a:pt x="1719" y="1333"/>
                  </a:lnTo>
                  <a:lnTo>
                    <a:pt x="1721" y="1333"/>
                  </a:lnTo>
                  <a:lnTo>
                    <a:pt x="1721" y="1334"/>
                  </a:lnTo>
                  <a:lnTo>
                    <a:pt x="1719" y="1339"/>
                  </a:lnTo>
                  <a:lnTo>
                    <a:pt x="1717" y="1344"/>
                  </a:lnTo>
                  <a:lnTo>
                    <a:pt x="1717" y="1348"/>
                  </a:lnTo>
                  <a:lnTo>
                    <a:pt x="1716" y="1352"/>
                  </a:lnTo>
                  <a:lnTo>
                    <a:pt x="1714" y="1356"/>
                  </a:lnTo>
                  <a:lnTo>
                    <a:pt x="1713" y="1360"/>
                  </a:lnTo>
                  <a:lnTo>
                    <a:pt x="1709" y="1364"/>
                  </a:lnTo>
                  <a:lnTo>
                    <a:pt x="1708" y="1367"/>
                  </a:lnTo>
                  <a:lnTo>
                    <a:pt x="1697" y="1380"/>
                  </a:lnTo>
                  <a:lnTo>
                    <a:pt x="1686" y="1396"/>
                  </a:lnTo>
                  <a:lnTo>
                    <a:pt x="1687" y="1404"/>
                  </a:lnTo>
                  <a:lnTo>
                    <a:pt x="1687" y="1412"/>
                  </a:lnTo>
                  <a:lnTo>
                    <a:pt x="1687" y="1416"/>
                  </a:lnTo>
                  <a:lnTo>
                    <a:pt x="1687" y="1423"/>
                  </a:lnTo>
                  <a:lnTo>
                    <a:pt x="1684" y="1429"/>
                  </a:lnTo>
                  <a:lnTo>
                    <a:pt x="1683" y="1432"/>
                  </a:lnTo>
                  <a:lnTo>
                    <a:pt x="1681" y="1437"/>
                  </a:lnTo>
                  <a:lnTo>
                    <a:pt x="1678" y="1442"/>
                  </a:lnTo>
                  <a:lnTo>
                    <a:pt x="1672" y="1451"/>
                  </a:lnTo>
                  <a:lnTo>
                    <a:pt x="1664" y="1460"/>
                  </a:lnTo>
                  <a:lnTo>
                    <a:pt x="1662" y="1465"/>
                  </a:lnTo>
                  <a:lnTo>
                    <a:pt x="1659" y="1472"/>
                  </a:lnTo>
                  <a:lnTo>
                    <a:pt x="1656" y="1478"/>
                  </a:lnTo>
                  <a:lnTo>
                    <a:pt x="1653" y="1484"/>
                  </a:lnTo>
                  <a:lnTo>
                    <a:pt x="1649" y="1486"/>
                  </a:lnTo>
                  <a:lnTo>
                    <a:pt x="1646" y="1486"/>
                  </a:lnTo>
                  <a:lnTo>
                    <a:pt x="1645" y="1486"/>
                  </a:lnTo>
                  <a:lnTo>
                    <a:pt x="1643" y="1486"/>
                  </a:lnTo>
                  <a:lnTo>
                    <a:pt x="1642" y="1484"/>
                  </a:lnTo>
                  <a:lnTo>
                    <a:pt x="1642" y="1483"/>
                  </a:lnTo>
                  <a:lnTo>
                    <a:pt x="1642" y="1479"/>
                  </a:lnTo>
                  <a:lnTo>
                    <a:pt x="1642" y="1475"/>
                  </a:lnTo>
                  <a:lnTo>
                    <a:pt x="1643" y="1470"/>
                  </a:lnTo>
                  <a:lnTo>
                    <a:pt x="1643" y="1467"/>
                  </a:lnTo>
                  <a:lnTo>
                    <a:pt x="1646" y="1457"/>
                  </a:lnTo>
                  <a:lnTo>
                    <a:pt x="1648" y="1446"/>
                  </a:lnTo>
                  <a:lnTo>
                    <a:pt x="1648" y="1443"/>
                  </a:lnTo>
                  <a:lnTo>
                    <a:pt x="1648" y="1440"/>
                  </a:lnTo>
                  <a:lnTo>
                    <a:pt x="1646" y="1440"/>
                  </a:lnTo>
                  <a:lnTo>
                    <a:pt x="1646" y="1438"/>
                  </a:lnTo>
                  <a:lnTo>
                    <a:pt x="1645" y="1437"/>
                  </a:lnTo>
                  <a:lnTo>
                    <a:pt x="1643" y="1437"/>
                  </a:lnTo>
                  <a:lnTo>
                    <a:pt x="1638" y="1442"/>
                  </a:lnTo>
                  <a:lnTo>
                    <a:pt x="1630" y="1446"/>
                  </a:lnTo>
                  <a:lnTo>
                    <a:pt x="1626" y="1451"/>
                  </a:lnTo>
                  <a:lnTo>
                    <a:pt x="1619" y="1454"/>
                  </a:lnTo>
                  <a:lnTo>
                    <a:pt x="1605" y="1462"/>
                  </a:lnTo>
                  <a:lnTo>
                    <a:pt x="1593" y="1470"/>
                  </a:lnTo>
                  <a:lnTo>
                    <a:pt x="1580" y="1476"/>
                  </a:lnTo>
                  <a:lnTo>
                    <a:pt x="1569" y="1483"/>
                  </a:lnTo>
                  <a:lnTo>
                    <a:pt x="1564" y="1486"/>
                  </a:lnTo>
                  <a:lnTo>
                    <a:pt x="1559" y="1490"/>
                  </a:lnTo>
                  <a:lnTo>
                    <a:pt x="1556" y="1494"/>
                  </a:lnTo>
                  <a:lnTo>
                    <a:pt x="1553" y="1497"/>
                  </a:lnTo>
                  <a:lnTo>
                    <a:pt x="1551" y="1500"/>
                  </a:lnTo>
                  <a:lnTo>
                    <a:pt x="1551" y="1503"/>
                  </a:lnTo>
                  <a:lnTo>
                    <a:pt x="1551" y="1508"/>
                  </a:lnTo>
                  <a:lnTo>
                    <a:pt x="1553" y="1511"/>
                  </a:lnTo>
                  <a:lnTo>
                    <a:pt x="1555" y="1514"/>
                  </a:lnTo>
                  <a:lnTo>
                    <a:pt x="1555" y="1519"/>
                  </a:lnTo>
                  <a:lnTo>
                    <a:pt x="1556" y="1520"/>
                  </a:lnTo>
                  <a:lnTo>
                    <a:pt x="1559" y="1525"/>
                  </a:lnTo>
                  <a:lnTo>
                    <a:pt x="1564" y="1531"/>
                  </a:lnTo>
                  <a:lnTo>
                    <a:pt x="1567" y="1536"/>
                  </a:lnTo>
                  <a:lnTo>
                    <a:pt x="1570" y="1539"/>
                  </a:lnTo>
                  <a:lnTo>
                    <a:pt x="1572" y="1539"/>
                  </a:lnTo>
                  <a:lnTo>
                    <a:pt x="1564" y="1549"/>
                  </a:lnTo>
                  <a:lnTo>
                    <a:pt x="1556" y="1557"/>
                  </a:lnTo>
                  <a:lnTo>
                    <a:pt x="1548" y="1563"/>
                  </a:lnTo>
                  <a:lnTo>
                    <a:pt x="1540" y="1569"/>
                  </a:lnTo>
                  <a:lnTo>
                    <a:pt x="1526" y="1580"/>
                  </a:lnTo>
                  <a:lnTo>
                    <a:pt x="1514" y="1590"/>
                  </a:lnTo>
                  <a:lnTo>
                    <a:pt x="1514" y="1588"/>
                  </a:lnTo>
                  <a:lnTo>
                    <a:pt x="1510" y="1587"/>
                  </a:lnTo>
                  <a:lnTo>
                    <a:pt x="1512" y="1588"/>
                  </a:lnTo>
                  <a:lnTo>
                    <a:pt x="1507" y="1593"/>
                  </a:lnTo>
                  <a:lnTo>
                    <a:pt x="1504" y="1596"/>
                  </a:lnTo>
                  <a:lnTo>
                    <a:pt x="1503" y="1598"/>
                  </a:lnTo>
                  <a:lnTo>
                    <a:pt x="1501" y="1601"/>
                  </a:lnTo>
                  <a:lnTo>
                    <a:pt x="1499" y="1602"/>
                  </a:lnTo>
                  <a:lnTo>
                    <a:pt x="1499" y="1604"/>
                  </a:lnTo>
                  <a:lnTo>
                    <a:pt x="1498" y="1607"/>
                  </a:lnTo>
                  <a:lnTo>
                    <a:pt x="1498" y="1609"/>
                  </a:lnTo>
                  <a:lnTo>
                    <a:pt x="1498" y="1612"/>
                  </a:lnTo>
                  <a:lnTo>
                    <a:pt x="1499" y="1613"/>
                  </a:lnTo>
                  <a:lnTo>
                    <a:pt x="1501" y="1617"/>
                  </a:lnTo>
                  <a:lnTo>
                    <a:pt x="1501" y="1620"/>
                  </a:lnTo>
                  <a:lnTo>
                    <a:pt x="1503" y="1623"/>
                  </a:lnTo>
                  <a:lnTo>
                    <a:pt x="1506" y="1626"/>
                  </a:lnTo>
                  <a:lnTo>
                    <a:pt x="1501" y="1626"/>
                  </a:lnTo>
                  <a:lnTo>
                    <a:pt x="1498" y="1626"/>
                  </a:lnTo>
                  <a:lnTo>
                    <a:pt x="1495" y="1626"/>
                  </a:lnTo>
                  <a:lnTo>
                    <a:pt x="1493" y="1626"/>
                  </a:lnTo>
                  <a:lnTo>
                    <a:pt x="1487" y="1626"/>
                  </a:lnTo>
                  <a:lnTo>
                    <a:pt x="1480" y="1629"/>
                  </a:lnTo>
                  <a:lnTo>
                    <a:pt x="1476" y="1631"/>
                  </a:lnTo>
                  <a:lnTo>
                    <a:pt x="1471" y="1634"/>
                  </a:lnTo>
                  <a:lnTo>
                    <a:pt x="1466" y="1639"/>
                  </a:lnTo>
                  <a:lnTo>
                    <a:pt x="1461" y="1640"/>
                  </a:lnTo>
                  <a:lnTo>
                    <a:pt x="1454" y="1647"/>
                  </a:lnTo>
                  <a:lnTo>
                    <a:pt x="1449" y="1654"/>
                  </a:lnTo>
                  <a:lnTo>
                    <a:pt x="1446" y="1658"/>
                  </a:lnTo>
                  <a:lnTo>
                    <a:pt x="1444" y="1659"/>
                  </a:lnTo>
                  <a:lnTo>
                    <a:pt x="1442" y="1662"/>
                  </a:lnTo>
                  <a:lnTo>
                    <a:pt x="1441" y="1667"/>
                  </a:lnTo>
                  <a:lnTo>
                    <a:pt x="1439" y="1669"/>
                  </a:lnTo>
                  <a:lnTo>
                    <a:pt x="1438" y="1672"/>
                  </a:lnTo>
                  <a:lnTo>
                    <a:pt x="1435" y="1677"/>
                  </a:lnTo>
                  <a:lnTo>
                    <a:pt x="1430" y="1681"/>
                  </a:lnTo>
                  <a:lnTo>
                    <a:pt x="1427" y="1684"/>
                  </a:lnTo>
                  <a:lnTo>
                    <a:pt x="1422" y="1688"/>
                  </a:lnTo>
                  <a:lnTo>
                    <a:pt x="1419" y="1689"/>
                  </a:lnTo>
                  <a:lnTo>
                    <a:pt x="1414" y="1692"/>
                  </a:lnTo>
                  <a:lnTo>
                    <a:pt x="1411" y="1694"/>
                  </a:lnTo>
                  <a:lnTo>
                    <a:pt x="1408" y="1697"/>
                  </a:lnTo>
                  <a:lnTo>
                    <a:pt x="1405" y="1700"/>
                  </a:lnTo>
                  <a:lnTo>
                    <a:pt x="1401" y="1705"/>
                  </a:lnTo>
                  <a:lnTo>
                    <a:pt x="1400" y="1708"/>
                  </a:lnTo>
                  <a:lnTo>
                    <a:pt x="1398" y="1710"/>
                  </a:lnTo>
                  <a:lnTo>
                    <a:pt x="1398" y="1713"/>
                  </a:lnTo>
                  <a:lnTo>
                    <a:pt x="1397" y="1716"/>
                  </a:lnTo>
                  <a:lnTo>
                    <a:pt x="1397" y="1721"/>
                  </a:lnTo>
                  <a:lnTo>
                    <a:pt x="1395" y="1722"/>
                  </a:lnTo>
                  <a:lnTo>
                    <a:pt x="1395" y="1727"/>
                  </a:lnTo>
                  <a:lnTo>
                    <a:pt x="1395" y="1732"/>
                  </a:lnTo>
                  <a:lnTo>
                    <a:pt x="1395" y="1746"/>
                  </a:lnTo>
                  <a:lnTo>
                    <a:pt x="1397" y="1759"/>
                  </a:lnTo>
                  <a:lnTo>
                    <a:pt x="1398" y="1771"/>
                  </a:lnTo>
                  <a:lnTo>
                    <a:pt x="1398" y="1782"/>
                  </a:lnTo>
                  <a:lnTo>
                    <a:pt x="1401" y="1807"/>
                  </a:lnTo>
                  <a:lnTo>
                    <a:pt x="1403" y="1830"/>
                  </a:lnTo>
                  <a:lnTo>
                    <a:pt x="1405" y="1841"/>
                  </a:lnTo>
                  <a:lnTo>
                    <a:pt x="1405" y="1852"/>
                  </a:lnTo>
                  <a:lnTo>
                    <a:pt x="1406" y="1861"/>
                  </a:lnTo>
                  <a:lnTo>
                    <a:pt x="1405" y="1872"/>
                  </a:lnTo>
                  <a:lnTo>
                    <a:pt x="1403" y="1882"/>
                  </a:lnTo>
                  <a:lnTo>
                    <a:pt x="1401" y="1891"/>
                  </a:lnTo>
                  <a:lnTo>
                    <a:pt x="1400" y="1896"/>
                  </a:lnTo>
                  <a:lnTo>
                    <a:pt x="1400" y="1901"/>
                  </a:lnTo>
                  <a:lnTo>
                    <a:pt x="1398" y="1905"/>
                  </a:lnTo>
                  <a:lnTo>
                    <a:pt x="1395" y="1910"/>
                  </a:lnTo>
                  <a:lnTo>
                    <a:pt x="1395" y="1912"/>
                  </a:lnTo>
                  <a:lnTo>
                    <a:pt x="1395" y="1913"/>
                  </a:lnTo>
                  <a:lnTo>
                    <a:pt x="1395" y="1916"/>
                  </a:lnTo>
                  <a:lnTo>
                    <a:pt x="1395" y="1921"/>
                  </a:lnTo>
                  <a:lnTo>
                    <a:pt x="1397" y="1932"/>
                  </a:lnTo>
                  <a:lnTo>
                    <a:pt x="1400" y="1948"/>
                  </a:lnTo>
                  <a:lnTo>
                    <a:pt x="1400" y="1965"/>
                  </a:lnTo>
                  <a:lnTo>
                    <a:pt x="1401" y="1987"/>
                  </a:lnTo>
                  <a:lnTo>
                    <a:pt x="1403" y="1998"/>
                  </a:lnTo>
                  <a:lnTo>
                    <a:pt x="1403" y="2011"/>
                  </a:lnTo>
                  <a:lnTo>
                    <a:pt x="1401" y="2024"/>
                  </a:lnTo>
                  <a:lnTo>
                    <a:pt x="1401" y="2036"/>
                  </a:lnTo>
                  <a:lnTo>
                    <a:pt x="1400" y="2049"/>
                  </a:lnTo>
                  <a:lnTo>
                    <a:pt x="1398" y="2060"/>
                  </a:lnTo>
                  <a:lnTo>
                    <a:pt x="1395" y="2072"/>
                  </a:lnTo>
                  <a:lnTo>
                    <a:pt x="1392" y="2085"/>
                  </a:lnTo>
                  <a:lnTo>
                    <a:pt x="1386" y="2110"/>
                  </a:lnTo>
                  <a:lnTo>
                    <a:pt x="1379" y="2134"/>
                  </a:lnTo>
                  <a:lnTo>
                    <a:pt x="1378" y="2143"/>
                  </a:lnTo>
                  <a:lnTo>
                    <a:pt x="1378" y="2154"/>
                  </a:lnTo>
                  <a:lnTo>
                    <a:pt x="1376" y="2158"/>
                  </a:lnTo>
                  <a:lnTo>
                    <a:pt x="1376" y="2162"/>
                  </a:lnTo>
                  <a:lnTo>
                    <a:pt x="1376" y="2166"/>
                  </a:lnTo>
                  <a:lnTo>
                    <a:pt x="1378" y="2169"/>
                  </a:lnTo>
                  <a:lnTo>
                    <a:pt x="1378" y="2172"/>
                  </a:lnTo>
                  <a:lnTo>
                    <a:pt x="1379" y="2175"/>
                  </a:lnTo>
                  <a:lnTo>
                    <a:pt x="1381" y="2177"/>
                  </a:lnTo>
                  <a:lnTo>
                    <a:pt x="1382" y="2178"/>
                  </a:lnTo>
                  <a:lnTo>
                    <a:pt x="1386" y="2180"/>
                  </a:lnTo>
                  <a:lnTo>
                    <a:pt x="1387" y="2180"/>
                  </a:lnTo>
                  <a:lnTo>
                    <a:pt x="1392" y="2181"/>
                  </a:lnTo>
                  <a:lnTo>
                    <a:pt x="1395" y="2180"/>
                  </a:lnTo>
                  <a:lnTo>
                    <a:pt x="1403" y="2173"/>
                  </a:lnTo>
                  <a:lnTo>
                    <a:pt x="1411" y="2167"/>
                  </a:lnTo>
                  <a:lnTo>
                    <a:pt x="1416" y="2162"/>
                  </a:lnTo>
                  <a:lnTo>
                    <a:pt x="1422" y="2159"/>
                  </a:lnTo>
                  <a:lnTo>
                    <a:pt x="1428" y="2154"/>
                  </a:lnTo>
                  <a:lnTo>
                    <a:pt x="1433" y="2151"/>
                  </a:lnTo>
                  <a:lnTo>
                    <a:pt x="1436" y="2150"/>
                  </a:lnTo>
                  <a:lnTo>
                    <a:pt x="1441" y="2148"/>
                  </a:lnTo>
                  <a:lnTo>
                    <a:pt x="1444" y="2147"/>
                  </a:lnTo>
                  <a:lnTo>
                    <a:pt x="1447" y="2147"/>
                  </a:lnTo>
                  <a:lnTo>
                    <a:pt x="1450" y="2147"/>
                  </a:lnTo>
                  <a:lnTo>
                    <a:pt x="1452" y="2148"/>
                  </a:lnTo>
                  <a:lnTo>
                    <a:pt x="1455" y="2150"/>
                  </a:lnTo>
                  <a:lnTo>
                    <a:pt x="1457" y="2151"/>
                  </a:lnTo>
                  <a:lnTo>
                    <a:pt x="1460" y="2153"/>
                  </a:lnTo>
                  <a:lnTo>
                    <a:pt x="1460" y="2154"/>
                  </a:lnTo>
                  <a:lnTo>
                    <a:pt x="1463" y="2161"/>
                  </a:lnTo>
                  <a:lnTo>
                    <a:pt x="1465" y="2167"/>
                  </a:lnTo>
                  <a:lnTo>
                    <a:pt x="1466" y="2172"/>
                  </a:lnTo>
                  <a:lnTo>
                    <a:pt x="1469" y="2180"/>
                  </a:lnTo>
                  <a:lnTo>
                    <a:pt x="1471" y="2186"/>
                  </a:lnTo>
                  <a:lnTo>
                    <a:pt x="1474" y="2192"/>
                  </a:lnTo>
                  <a:lnTo>
                    <a:pt x="1474" y="2196"/>
                  </a:lnTo>
                  <a:lnTo>
                    <a:pt x="1477" y="2197"/>
                  </a:lnTo>
                  <a:lnTo>
                    <a:pt x="1477" y="2200"/>
                  </a:lnTo>
                  <a:lnTo>
                    <a:pt x="1480" y="2203"/>
                  </a:lnTo>
                  <a:lnTo>
                    <a:pt x="1482" y="2200"/>
                  </a:lnTo>
                  <a:lnTo>
                    <a:pt x="1482" y="2199"/>
                  </a:lnTo>
                  <a:lnTo>
                    <a:pt x="1484" y="2196"/>
                  </a:lnTo>
                  <a:lnTo>
                    <a:pt x="1485" y="2194"/>
                  </a:lnTo>
                  <a:lnTo>
                    <a:pt x="1485" y="2188"/>
                  </a:lnTo>
                  <a:lnTo>
                    <a:pt x="1484" y="2181"/>
                  </a:lnTo>
                  <a:lnTo>
                    <a:pt x="1482" y="2175"/>
                  </a:lnTo>
                  <a:lnTo>
                    <a:pt x="1482" y="2169"/>
                  </a:lnTo>
                  <a:lnTo>
                    <a:pt x="1482" y="2166"/>
                  </a:lnTo>
                  <a:lnTo>
                    <a:pt x="1482" y="2162"/>
                  </a:lnTo>
                  <a:lnTo>
                    <a:pt x="1482" y="2159"/>
                  </a:lnTo>
                  <a:lnTo>
                    <a:pt x="1484" y="2158"/>
                  </a:lnTo>
                  <a:lnTo>
                    <a:pt x="1484" y="2154"/>
                  </a:lnTo>
                  <a:lnTo>
                    <a:pt x="1485" y="2154"/>
                  </a:lnTo>
                  <a:lnTo>
                    <a:pt x="1485" y="2153"/>
                  </a:lnTo>
                  <a:lnTo>
                    <a:pt x="1485" y="2151"/>
                  </a:lnTo>
                  <a:lnTo>
                    <a:pt x="1485" y="2153"/>
                  </a:lnTo>
                  <a:lnTo>
                    <a:pt x="1487" y="2153"/>
                  </a:lnTo>
                  <a:lnTo>
                    <a:pt x="1487" y="2154"/>
                  </a:lnTo>
                  <a:lnTo>
                    <a:pt x="1491" y="2164"/>
                  </a:lnTo>
                  <a:lnTo>
                    <a:pt x="1498" y="2175"/>
                  </a:lnTo>
                  <a:lnTo>
                    <a:pt x="1501" y="2181"/>
                  </a:lnTo>
                  <a:lnTo>
                    <a:pt x="1504" y="2186"/>
                  </a:lnTo>
                  <a:lnTo>
                    <a:pt x="1506" y="2188"/>
                  </a:lnTo>
                  <a:lnTo>
                    <a:pt x="1507" y="2189"/>
                  </a:lnTo>
                  <a:lnTo>
                    <a:pt x="1510" y="2191"/>
                  </a:lnTo>
                  <a:lnTo>
                    <a:pt x="1514" y="2191"/>
                  </a:lnTo>
                  <a:lnTo>
                    <a:pt x="1515" y="2192"/>
                  </a:lnTo>
                  <a:lnTo>
                    <a:pt x="1518" y="2192"/>
                  </a:lnTo>
                  <a:lnTo>
                    <a:pt x="1520" y="2191"/>
                  </a:lnTo>
                  <a:lnTo>
                    <a:pt x="1523" y="2189"/>
                  </a:lnTo>
                  <a:lnTo>
                    <a:pt x="1526" y="2188"/>
                  </a:lnTo>
                  <a:lnTo>
                    <a:pt x="1528" y="2184"/>
                  </a:lnTo>
                  <a:lnTo>
                    <a:pt x="1531" y="2181"/>
                  </a:lnTo>
                  <a:lnTo>
                    <a:pt x="1534" y="2177"/>
                  </a:lnTo>
                  <a:lnTo>
                    <a:pt x="1537" y="2175"/>
                  </a:lnTo>
                  <a:lnTo>
                    <a:pt x="1540" y="2172"/>
                  </a:lnTo>
                  <a:lnTo>
                    <a:pt x="1540" y="2170"/>
                  </a:lnTo>
                  <a:lnTo>
                    <a:pt x="1542" y="2167"/>
                  </a:lnTo>
                  <a:lnTo>
                    <a:pt x="1542" y="2164"/>
                  </a:lnTo>
                  <a:lnTo>
                    <a:pt x="1540" y="2161"/>
                  </a:lnTo>
                  <a:lnTo>
                    <a:pt x="1540" y="2158"/>
                  </a:lnTo>
                  <a:lnTo>
                    <a:pt x="1539" y="2154"/>
                  </a:lnTo>
                  <a:lnTo>
                    <a:pt x="1536" y="2143"/>
                  </a:lnTo>
                  <a:lnTo>
                    <a:pt x="1533" y="2134"/>
                  </a:lnTo>
                  <a:lnTo>
                    <a:pt x="1531" y="2128"/>
                  </a:lnTo>
                  <a:lnTo>
                    <a:pt x="1529" y="2121"/>
                  </a:lnTo>
                  <a:lnTo>
                    <a:pt x="1528" y="2115"/>
                  </a:lnTo>
                  <a:lnTo>
                    <a:pt x="1528" y="2107"/>
                  </a:lnTo>
                  <a:lnTo>
                    <a:pt x="1534" y="2102"/>
                  </a:lnTo>
                  <a:lnTo>
                    <a:pt x="1539" y="2098"/>
                  </a:lnTo>
                  <a:lnTo>
                    <a:pt x="1542" y="2095"/>
                  </a:lnTo>
                  <a:lnTo>
                    <a:pt x="1547" y="2090"/>
                  </a:lnTo>
                  <a:lnTo>
                    <a:pt x="1551" y="2088"/>
                  </a:lnTo>
                  <a:lnTo>
                    <a:pt x="1555" y="2085"/>
                  </a:lnTo>
                  <a:lnTo>
                    <a:pt x="1559" y="2084"/>
                  </a:lnTo>
                  <a:lnTo>
                    <a:pt x="1563" y="2082"/>
                  </a:lnTo>
                  <a:lnTo>
                    <a:pt x="1567" y="2080"/>
                  </a:lnTo>
                  <a:lnTo>
                    <a:pt x="1569" y="2079"/>
                  </a:lnTo>
                  <a:lnTo>
                    <a:pt x="1574" y="2079"/>
                  </a:lnTo>
                  <a:lnTo>
                    <a:pt x="1577" y="2077"/>
                  </a:lnTo>
                  <a:lnTo>
                    <a:pt x="1580" y="2077"/>
                  </a:lnTo>
                  <a:lnTo>
                    <a:pt x="1583" y="2079"/>
                  </a:lnTo>
                  <a:lnTo>
                    <a:pt x="1586" y="2079"/>
                  </a:lnTo>
                  <a:lnTo>
                    <a:pt x="1589" y="2080"/>
                  </a:lnTo>
                  <a:lnTo>
                    <a:pt x="1594" y="2082"/>
                  </a:lnTo>
                  <a:lnTo>
                    <a:pt x="1600" y="2084"/>
                  </a:lnTo>
                  <a:lnTo>
                    <a:pt x="1605" y="2085"/>
                  </a:lnTo>
                  <a:lnTo>
                    <a:pt x="1610" y="2088"/>
                  </a:lnTo>
                  <a:lnTo>
                    <a:pt x="1615" y="2090"/>
                  </a:lnTo>
                  <a:lnTo>
                    <a:pt x="1618" y="2093"/>
                  </a:lnTo>
                  <a:lnTo>
                    <a:pt x="1623" y="2093"/>
                  </a:lnTo>
                  <a:lnTo>
                    <a:pt x="1626" y="2095"/>
                  </a:lnTo>
                  <a:lnTo>
                    <a:pt x="1635" y="2093"/>
                  </a:lnTo>
                  <a:lnTo>
                    <a:pt x="1643" y="2093"/>
                  </a:lnTo>
                  <a:lnTo>
                    <a:pt x="1649" y="2091"/>
                  </a:lnTo>
                  <a:lnTo>
                    <a:pt x="1654" y="2091"/>
                  </a:lnTo>
                  <a:lnTo>
                    <a:pt x="1659" y="2091"/>
                  </a:lnTo>
                  <a:lnTo>
                    <a:pt x="1664" y="2093"/>
                  </a:lnTo>
                  <a:lnTo>
                    <a:pt x="1667" y="2093"/>
                  </a:lnTo>
                  <a:lnTo>
                    <a:pt x="1668" y="2093"/>
                  </a:lnTo>
                  <a:lnTo>
                    <a:pt x="1672" y="2095"/>
                  </a:lnTo>
                  <a:lnTo>
                    <a:pt x="1672" y="2096"/>
                  </a:lnTo>
                  <a:lnTo>
                    <a:pt x="1673" y="2098"/>
                  </a:lnTo>
                  <a:lnTo>
                    <a:pt x="1673" y="2101"/>
                  </a:lnTo>
                  <a:lnTo>
                    <a:pt x="1672" y="2102"/>
                  </a:lnTo>
                  <a:lnTo>
                    <a:pt x="1672" y="2104"/>
                  </a:lnTo>
                  <a:lnTo>
                    <a:pt x="1672" y="2106"/>
                  </a:lnTo>
                  <a:lnTo>
                    <a:pt x="1665" y="2113"/>
                  </a:lnTo>
                  <a:lnTo>
                    <a:pt x="1660" y="2120"/>
                  </a:lnTo>
                  <a:lnTo>
                    <a:pt x="1659" y="2121"/>
                  </a:lnTo>
                  <a:lnTo>
                    <a:pt x="1659" y="2123"/>
                  </a:lnTo>
                  <a:lnTo>
                    <a:pt x="1659" y="2125"/>
                  </a:lnTo>
                  <a:lnTo>
                    <a:pt x="1659" y="2126"/>
                  </a:lnTo>
                  <a:lnTo>
                    <a:pt x="1660" y="2126"/>
                  </a:lnTo>
                  <a:lnTo>
                    <a:pt x="1662" y="2128"/>
                  </a:lnTo>
                  <a:lnTo>
                    <a:pt x="1664" y="2128"/>
                  </a:lnTo>
                  <a:lnTo>
                    <a:pt x="1667" y="2128"/>
                  </a:lnTo>
                  <a:lnTo>
                    <a:pt x="1672" y="2129"/>
                  </a:lnTo>
                  <a:lnTo>
                    <a:pt x="1676" y="2131"/>
                  </a:lnTo>
                  <a:lnTo>
                    <a:pt x="1683" y="2131"/>
                  </a:lnTo>
                  <a:lnTo>
                    <a:pt x="1686" y="2134"/>
                  </a:lnTo>
                  <a:lnTo>
                    <a:pt x="1691" y="2137"/>
                  </a:lnTo>
                  <a:lnTo>
                    <a:pt x="1695" y="2139"/>
                  </a:lnTo>
                  <a:lnTo>
                    <a:pt x="1698" y="2142"/>
                  </a:lnTo>
                  <a:lnTo>
                    <a:pt x="1702" y="2143"/>
                  </a:lnTo>
                  <a:lnTo>
                    <a:pt x="1705" y="2147"/>
                  </a:lnTo>
                  <a:lnTo>
                    <a:pt x="1708" y="2151"/>
                  </a:lnTo>
                  <a:lnTo>
                    <a:pt x="1711" y="2154"/>
                  </a:lnTo>
                  <a:lnTo>
                    <a:pt x="1714" y="2158"/>
                  </a:lnTo>
                  <a:lnTo>
                    <a:pt x="1719" y="2167"/>
                  </a:lnTo>
                  <a:lnTo>
                    <a:pt x="1724" y="2175"/>
                  </a:lnTo>
                  <a:lnTo>
                    <a:pt x="1728" y="2183"/>
                  </a:lnTo>
                  <a:lnTo>
                    <a:pt x="1732" y="2192"/>
                  </a:lnTo>
                  <a:lnTo>
                    <a:pt x="1736" y="2202"/>
                  </a:lnTo>
                  <a:lnTo>
                    <a:pt x="1739" y="2211"/>
                  </a:lnTo>
                  <a:lnTo>
                    <a:pt x="1746" y="2230"/>
                  </a:lnTo>
                  <a:lnTo>
                    <a:pt x="1754" y="2248"/>
                  </a:lnTo>
                  <a:lnTo>
                    <a:pt x="1758" y="2259"/>
                  </a:lnTo>
                  <a:lnTo>
                    <a:pt x="1765" y="2268"/>
                  </a:lnTo>
                  <a:lnTo>
                    <a:pt x="1771" y="2278"/>
                  </a:lnTo>
                  <a:lnTo>
                    <a:pt x="1779" y="2287"/>
                  </a:lnTo>
                  <a:lnTo>
                    <a:pt x="1793" y="2306"/>
                  </a:lnTo>
                  <a:lnTo>
                    <a:pt x="1807" y="2323"/>
                  </a:lnTo>
                  <a:lnTo>
                    <a:pt x="1815" y="2333"/>
                  </a:lnTo>
                  <a:lnTo>
                    <a:pt x="1823" y="2341"/>
                  </a:lnTo>
                  <a:lnTo>
                    <a:pt x="1830" y="2352"/>
                  </a:lnTo>
                  <a:lnTo>
                    <a:pt x="1837" y="2361"/>
                  </a:lnTo>
                  <a:lnTo>
                    <a:pt x="1844" y="2371"/>
                  </a:lnTo>
                  <a:lnTo>
                    <a:pt x="1850" y="2382"/>
                  </a:lnTo>
                  <a:lnTo>
                    <a:pt x="1855" y="2391"/>
                  </a:lnTo>
                  <a:lnTo>
                    <a:pt x="1861" y="2402"/>
                  </a:lnTo>
                  <a:lnTo>
                    <a:pt x="1864" y="2410"/>
                  </a:lnTo>
                  <a:lnTo>
                    <a:pt x="1866" y="2416"/>
                  </a:lnTo>
                  <a:lnTo>
                    <a:pt x="1866" y="2423"/>
                  </a:lnTo>
                  <a:lnTo>
                    <a:pt x="1866" y="2427"/>
                  </a:lnTo>
                  <a:lnTo>
                    <a:pt x="1866" y="2434"/>
                  </a:lnTo>
                  <a:lnTo>
                    <a:pt x="1866" y="2440"/>
                  </a:lnTo>
                  <a:lnTo>
                    <a:pt x="1866" y="2446"/>
                  </a:lnTo>
                  <a:lnTo>
                    <a:pt x="1866" y="2453"/>
                  </a:lnTo>
                  <a:lnTo>
                    <a:pt x="1864" y="2467"/>
                  </a:lnTo>
                  <a:lnTo>
                    <a:pt x="1863" y="2481"/>
                  </a:lnTo>
                  <a:lnTo>
                    <a:pt x="1863" y="2489"/>
                  </a:lnTo>
                  <a:lnTo>
                    <a:pt x="1864" y="2500"/>
                  </a:lnTo>
                  <a:lnTo>
                    <a:pt x="1864" y="2509"/>
                  </a:lnTo>
                  <a:lnTo>
                    <a:pt x="1866" y="2517"/>
                  </a:lnTo>
                  <a:lnTo>
                    <a:pt x="1867" y="2525"/>
                  </a:lnTo>
                  <a:lnTo>
                    <a:pt x="1869" y="2535"/>
                  </a:lnTo>
                  <a:lnTo>
                    <a:pt x="1871" y="2544"/>
                  </a:lnTo>
                  <a:lnTo>
                    <a:pt x="1874" y="2554"/>
                  </a:lnTo>
                  <a:lnTo>
                    <a:pt x="1877" y="2565"/>
                  </a:lnTo>
                  <a:lnTo>
                    <a:pt x="1882" y="2576"/>
                  </a:lnTo>
                  <a:lnTo>
                    <a:pt x="1885" y="2588"/>
                  </a:lnTo>
                  <a:lnTo>
                    <a:pt x="1891" y="2601"/>
                  </a:lnTo>
                  <a:lnTo>
                    <a:pt x="1891" y="2621"/>
                  </a:lnTo>
                  <a:lnTo>
                    <a:pt x="1891" y="2643"/>
                  </a:lnTo>
                  <a:lnTo>
                    <a:pt x="1891" y="2666"/>
                  </a:lnTo>
                  <a:lnTo>
                    <a:pt x="1891" y="2688"/>
                  </a:lnTo>
                  <a:lnTo>
                    <a:pt x="1893" y="2710"/>
                  </a:lnTo>
                  <a:lnTo>
                    <a:pt x="1893" y="2732"/>
                  </a:lnTo>
                  <a:lnTo>
                    <a:pt x="1894" y="2752"/>
                  </a:lnTo>
                  <a:lnTo>
                    <a:pt x="1894" y="2773"/>
                  </a:lnTo>
                  <a:lnTo>
                    <a:pt x="1896" y="2793"/>
                  </a:lnTo>
                  <a:lnTo>
                    <a:pt x="1896" y="2812"/>
                  </a:lnTo>
                  <a:lnTo>
                    <a:pt x="1896" y="2831"/>
                  </a:lnTo>
                  <a:lnTo>
                    <a:pt x="1896" y="2847"/>
                  </a:lnTo>
                  <a:lnTo>
                    <a:pt x="1894" y="2863"/>
                  </a:lnTo>
                  <a:lnTo>
                    <a:pt x="1894" y="2877"/>
                  </a:lnTo>
                  <a:lnTo>
                    <a:pt x="1893" y="2890"/>
                  </a:lnTo>
                  <a:lnTo>
                    <a:pt x="1891" y="2901"/>
                  </a:lnTo>
                  <a:lnTo>
                    <a:pt x="1886" y="2913"/>
                  </a:lnTo>
                  <a:lnTo>
                    <a:pt x="1882" y="2931"/>
                  </a:lnTo>
                  <a:lnTo>
                    <a:pt x="1879" y="2940"/>
                  </a:lnTo>
                  <a:lnTo>
                    <a:pt x="1874" y="2949"/>
                  </a:lnTo>
                  <a:lnTo>
                    <a:pt x="1871" y="2959"/>
                  </a:lnTo>
                  <a:lnTo>
                    <a:pt x="1866" y="2970"/>
                  </a:lnTo>
                  <a:lnTo>
                    <a:pt x="1860" y="2978"/>
                  </a:lnTo>
                  <a:lnTo>
                    <a:pt x="1853" y="2987"/>
                  </a:lnTo>
                  <a:lnTo>
                    <a:pt x="1850" y="2990"/>
                  </a:lnTo>
                  <a:lnTo>
                    <a:pt x="1847" y="2995"/>
                  </a:lnTo>
                  <a:lnTo>
                    <a:pt x="1844" y="2998"/>
                  </a:lnTo>
                  <a:lnTo>
                    <a:pt x="1841" y="3003"/>
                  </a:lnTo>
                  <a:lnTo>
                    <a:pt x="1836" y="3005"/>
                  </a:lnTo>
                  <a:lnTo>
                    <a:pt x="1833" y="3008"/>
                  </a:lnTo>
                  <a:lnTo>
                    <a:pt x="1828" y="3009"/>
                  </a:lnTo>
                  <a:lnTo>
                    <a:pt x="1823" y="3013"/>
                  </a:lnTo>
                  <a:lnTo>
                    <a:pt x="1818" y="3014"/>
                  </a:lnTo>
                  <a:lnTo>
                    <a:pt x="1814" y="3016"/>
                  </a:lnTo>
                  <a:lnTo>
                    <a:pt x="1811" y="3016"/>
                  </a:lnTo>
                  <a:lnTo>
                    <a:pt x="1804" y="3016"/>
                  </a:lnTo>
                  <a:lnTo>
                    <a:pt x="1800" y="3016"/>
                  </a:lnTo>
                  <a:lnTo>
                    <a:pt x="1798" y="3016"/>
                  </a:lnTo>
                  <a:lnTo>
                    <a:pt x="1795" y="3013"/>
                  </a:lnTo>
                  <a:lnTo>
                    <a:pt x="1792" y="3011"/>
                  </a:lnTo>
                  <a:lnTo>
                    <a:pt x="1790" y="3006"/>
                  </a:lnTo>
                  <a:lnTo>
                    <a:pt x="1787" y="3002"/>
                  </a:lnTo>
                  <a:lnTo>
                    <a:pt x="1784" y="3000"/>
                  </a:lnTo>
                  <a:lnTo>
                    <a:pt x="1784" y="2998"/>
                  </a:lnTo>
                  <a:lnTo>
                    <a:pt x="1782" y="2997"/>
                  </a:lnTo>
                  <a:lnTo>
                    <a:pt x="1779" y="2995"/>
                  </a:lnTo>
                  <a:lnTo>
                    <a:pt x="1777" y="2995"/>
                  </a:lnTo>
                  <a:lnTo>
                    <a:pt x="1774" y="2997"/>
                  </a:lnTo>
                  <a:lnTo>
                    <a:pt x="1771" y="2998"/>
                  </a:lnTo>
                  <a:lnTo>
                    <a:pt x="1766" y="3002"/>
                  </a:lnTo>
                  <a:lnTo>
                    <a:pt x="1763" y="3003"/>
                  </a:lnTo>
                  <a:lnTo>
                    <a:pt x="1762" y="3006"/>
                  </a:lnTo>
                  <a:lnTo>
                    <a:pt x="1762" y="3008"/>
                  </a:lnTo>
                  <a:lnTo>
                    <a:pt x="1758" y="3009"/>
                  </a:lnTo>
                  <a:lnTo>
                    <a:pt x="1758" y="3013"/>
                  </a:lnTo>
                  <a:lnTo>
                    <a:pt x="1757" y="3016"/>
                  </a:lnTo>
                  <a:lnTo>
                    <a:pt x="1757" y="3020"/>
                  </a:lnTo>
                  <a:lnTo>
                    <a:pt x="1757" y="3024"/>
                  </a:lnTo>
                  <a:lnTo>
                    <a:pt x="1757" y="3031"/>
                  </a:lnTo>
                  <a:lnTo>
                    <a:pt x="1757" y="3043"/>
                  </a:lnTo>
                  <a:lnTo>
                    <a:pt x="1757" y="3055"/>
                  </a:lnTo>
                  <a:lnTo>
                    <a:pt x="1755" y="3071"/>
                  </a:lnTo>
                  <a:lnTo>
                    <a:pt x="1746" y="3074"/>
                  </a:lnTo>
                  <a:lnTo>
                    <a:pt x="1738" y="3079"/>
                  </a:lnTo>
                  <a:lnTo>
                    <a:pt x="1735" y="3080"/>
                  </a:lnTo>
                  <a:lnTo>
                    <a:pt x="1733" y="3082"/>
                  </a:lnTo>
                  <a:lnTo>
                    <a:pt x="1730" y="3084"/>
                  </a:lnTo>
                  <a:lnTo>
                    <a:pt x="1730" y="3085"/>
                  </a:lnTo>
                  <a:lnTo>
                    <a:pt x="1730" y="3087"/>
                  </a:lnTo>
                  <a:lnTo>
                    <a:pt x="1730" y="3090"/>
                  </a:lnTo>
                  <a:lnTo>
                    <a:pt x="1732" y="3091"/>
                  </a:lnTo>
                  <a:lnTo>
                    <a:pt x="1733" y="3095"/>
                  </a:lnTo>
                  <a:lnTo>
                    <a:pt x="1738" y="3101"/>
                  </a:lnTo>
                  <a:lnTo>
                    <a:pt x="1744" y="3110"/>
                  </a:lnTo>
                  <a:lnTo>
                    <a:pt x="1739" y="3107"/>
                  </a:lnTo>
                  <a:lnTo>
                    <a:pt x="1736" y="3104"/>
                  </a:lnTo>
                  <a:lnTo>
                    <a:pt x="1732" y="3099"/>
                  </a:lnTo>
                  <a:lnTo>
                    <a:pt x="1728" y="3096"/>
                  </a:lnTo>
                  <a:lnTo>
                    <a:pt x="1725" y="3095"/>
                  </a:lnTo>
                  <a:lnTo>
                    <a:pt x="1722" y="3090"/>
                  </a:lnTo>
                  <a:lnTo>
                    <a:pt x="1721" y="3087"/>
                  </a:lnTo>
                  <a:lnTo>
                    <a:pt x="1717" y="3084"/>
                  </a:lnTo>
                  <a:lnTo>
                    <a:pt x="1717" y="3080"/>
                  </a:lnTo>
                  <a:lnTo>
                    <a:pt x="1717" y="3077"/>
                  </a:lnTo>
                  <a:lnTo>
                    <a:pt x="1717" y="3072"/>
                  </a:lnTo>
                  <a:lnTo>
                    <a:pt x="1721" y="3069"/>
                  </a:lnTo>
                  <a:lnTo>
                    <a:pt x="1724" y="3066"/>
                  </a:lnTo>
                  <a:lnTo>
                    <a:pt x="1727" y="3063"/>
                  </a:lnTo>
                  <a:lnTo>
                    <a:pt x="1730" y="3058"/>
                  </a:lnTo>
                  <a:lnTo>
                    <a:pt x="1736" y="3055"/>
                  </a:lnTo>
                  <a:lnTo>
                    <a:pt x="1736" y="3050"/>
                  </a:lnTo>
                  <a:lnTo>
                    <a:pt x="1736" y="3044"/>
                  </a:lnTo>
                  <a:lnTo>
                    <a:pt x="1733" y="3038"/>
                  </a:lnTo>
                  <a:lnTo>
                    <a:pt x="1730" y="3030"/>
                  </a:lnTo>
                  <a:lnTo>
                    <a:pt x="1727" y="3019"/>
                  </a:lnTo>
                  <a:lnTo>
                    <a:pt x="1724" y="3013"/>
                  </a:lnTo>
                  <a:lnTo>
                    <a:pt x="1717" y="3002"/>
                  </a:lnTo>
                  <a:lnTo>
                    <a:pt x="1713" y="2992"/>
                  </a:lnTo>
                  <a:lnTo>
                    <a:pt x="1706" y="2984"/>
                  </a:lnTo>
                  <a:lnTo>
                    <a:pt x="1702" y="2976"/>
                  </a:lnTo>
                  <a:lnTo>
                    <a:pt x="1697" y="2972"/>
                  </a:lnTo>
                  <a:lnTo>
                    <a:pt x="1692" y="2965"/>
                  </a:lnTo>
                  <a:lnTo>
                    <a:pt x="1689" y="2961"/>
                  </a:lnTo>
                  <a:lnTo>
                    <a:pt x="1684" y="2956"/>
                  </a:lnTo>
                  <a:lnTo>
                    <a:pt x="1676" y="2949"/>
                  </a:lnTo>
                  <a:lnTo>
                    <a:pt x="1668" y="2943"/>
                  </a:lnTo>
                  <a:lnTo>
                    <a:pt x="1662" y="2938"/>
                  </a:lnTo>
                  <a:lnTo>
                    <a:pt x="1654" y="2931"/>
                  </a:lnTo>
                  <a:lnTo>
                    <a:pt x="1654" y="2929"/>
                  </a:lnTo>
                  <a:lnTo>
                    <a:pt x="1654" y="2923"/>
                  </a:lnTo>
                  <a:lnTo>
                    <a:pt x="1657" y="2918"/>
                  </a:lnTo>
                  <a:lnTo>
                    <a:pt x="1659" y="2908"/>
                  </a:lnTo>
                  <a:lnTo>
                    <a:pt x="1662" y="2899"/>
                  </a:lnTo>
                  <a:lnTo>
                    <a:pt x="1664" y="2890"/>
                  </a:lnTo>
                  <a:lnTo>
                    <a:pt x="1664" y="2885"/>
                  </a:lnTo>
                  <a:lnTo>
                    <a:pt x="1665" y="2880"/>
                  </a:lnTo>
                  <a:lnTo>
                    <a:pt x="1665" y="2874"/>
                  </a:lnTo>
                  <a:lnTo>
                    <a:pt x="1665" y="2869"/>
                  </a:lnTo>
                  <a:lnTo>
                    <a:pt x="1672" y="2867"/>
                  </a:lnTo>
                  <a:lnTo>
                    <a:pt x="1681" y="2866"/>
                  </a:lnTo>
                  <a:lnTo>
                    <a:pt x="1689" y="2864"/>
                  </a:lnTo>
                  <a:lnTo>
                    <a:pt x="1700" y="2863"/>
                  </a:lnTo>
                  <a:lnTo>
                    <a:pt x="1708" y="2863"/>
                  </a:lnTo>
                  <a:lnTo>
                    <a:pt x="1717" y="2861"/>
                  </a:lnTo>
                  <a:lnTo>
                    <a:pt x="1725" y="2860"/>
                  </a:lnTo>
                  <a:lnTo>
                    <a:pt x="1733" y="2858"/>
                  </a:lnTo>
                  <a:lnTo>
                    <a:pt x="1732" y="2847"/>
                  </a:lnTo>
                  <a:lnTo>
                    <a:pt x="1730" y="2836"/>
                  </a:lnTo>
                  <a:lnTo>
                    <a:pt x="1730" y="2826"/>
                  </a:lnTo>
                  <a:lnTo>
                    <a:pt x="1728" y="2815"/>
                  </a:lnTo>
                  <a:lnTo>
                    <a:pt x="1725" y="2806"/>
                  </a:lnTo>
                  <a:lnTo>
                    <a:pt x="1724" y="2796"/>
                  </a:lnTo>
                  <a:lnTo>
                    <a:pt x="1721" y="2789"/>
                  </a:lnTo>
                  <a:lnTo>
                    <a:pt x="1717" y="2779"/>
                  </a:lnTo>
                  <a:lnTo>
                    <a:pt x="1713" y="2763"/>
                  </a:lnTo>
                  <a:lnTo>
                    <a:pt x="1708" y="2748"/>
                  </a:lnTo>
                  <a:lnTo>
                    <a:pt x="1703" y="2733"/>
                  </a:lnTo>
                  <a:lnTo>
                    <a:pt x="1698" y="2722"/>
                  </a:lnTo>
                  <a:lnTo>
                    <a:pt x="1697" y="2722"/>
                  </a:lnTo>
                  <a:lnTo>
                    <a:pt x="1697" y="2721"/>
                  </a:lnTo>
                  <a:lnTo>
                    <a:pt x="1695" y="2710"/>
                  </a:lnTo>
                  <a:lnTo>
                    <a:pt x="1691" y="2699"/>
                  </a:lnTo>
                  <a:lnTo>
                    <a:pt x="1689" y="2688"/>
                  </a:lnTo>
                  <a:lnTo>
                    <a:pt x="1687" y="2678"/>
                  </a:lnTo>
                  <a:lnTo>
                    <a:pt x="1687" y="2672"/>
                  </a:lnTo>
                  <a:lnTo>
                    <a:pt x="1687" y="2666"/>
                  </a:lnTo>
                  <a:lnTo>
                    <a:pt x="1687" y="2661"/>
                  </a:lnTo>
                  <a:lnTo>
                    <a:pt x="1687" y="2655"/>
                  </a:lnTo>
                  <a:lnTo>
                    <a:pt x="1687" y="2648"/>
                  </a:lnTo>
                  <a:lnTo>
                    <a:pt x="1687" y="2642"/>
                  </a:lnTo>
                  <a:lnTo>
                    <a:pt x="1689" y="2634"/>
                  </a:lnTo>
                  <a:lnTo>
                    <a:pt x="1689" y="2629"/>
                  </a:lnTo>
                  <a:lnTo>
                    <a:pt x="1686" y="2628"/>
                  </a:lnTo>
                  <a:lnTo>
                    <a:pt x="1683" y="2628"/>
                  </a:lnTo>
                  <a:lnTo>
                    <a:pt x="1679" y="2626"/>
                  </a:lnTo>
                  <a:lnTo>
                    <a:pt x="1676" y="2625"/>
                  </a:lnTo>
                  <a:lnTo>
                    <a:pt x="1675" y="2623"/>
                  </a:lnTo>
                  <a:lnTo>
                    <a:pt x="1672" y="2621"/>
                  </a:lnTo>
                  <a:lnTo>
                    <a:pt x="1670" y="2620"/>
                  </a:lnTo>
                  <a:lnTo>
                    <a:pt x="1668" y="2617"/>
                  </a:lnTo>
                  <a:lnTo>
                    <a:pt x="1662" y="2609"/>
                  </a:lnTo>
                  <a:lnTo>
                    <a:pt x="1656" y="2601"/>
                  </a:lnTo>
                  <a:lnTo>
                    <a:pt x="1654" y="2598"/>
                  </a:lnTo>
                  <a:lnTo>
                    <a:pt x="1651" y="2596"/>
                  </a:lnTo>
                  <a:lnTo>
                    <a:pt x="1651" y="2595"/>
                  </a:lnTo>
                  <a:lnTo>
                    <a:pt x="1649" y="2593"/>
                  </a:lnTo>
                  <a:lnTo>
                    <a:pt x="1646" y="2593"/>
                  </a:lnTo>
                  <a:lnTo>
                    <a:pt x="1645" y="2593"/>
                  </a:lnTo>
                  <a:lnTo>
                    <a:pt x="1642" y="2596"/>
                  </a:lnTo>
                  <a:lnTo>
                    <a:pt x="1638" y="2601"/>
                  </a:lnTo>
                  <a:close/>
                  <a:moveTo>
                    <a:pt x="618" y="867"/>
                  </a:moveTo>
                  <a:lnTo>
                    <a:pt x="616" y="867"/>
                  </a:lnTo>
                  <a:lnTo>
                    <a:pt x="615" y="869"/>
                  </a:lnTo>
                  <a:lnTo>
                    <a:pt x="615" y="871"/>
                  </a:lnTo>
                  <a:lnTo>
                    <a:pt x="611" y="874"/>
                  </a:lnTo>
                  <a:lnTo>
                    <a:pt x="608" y="877"/>
                  </a:lnTo>
                  <a:lnTo>
                    <a:pt x="607" y="883"/>
                  </a:lnTo>
                  <a:lnTo>
                    <a:pt x="604" y="886"/>
                  </a:lnTo>
                  <a:lnTo>
                    <a:pt x="604" y="889"/>
                  </a:lnTo>
                  <a:lnTo>
                    <a:pt x="604" y="893"/>
                  </a:lnTo>
                  <a:lnTo>
                    <a:pt x="604" y="896"/>
                  </a:lnTo>
                  <a:lnTo>
                    <a:pt x="604" y="899"/>
                  </a:lnTo>
                  <a:lnTo>
                    <a:pt x="607" y="902"/>
                  </a:lnTo>
                  <a:lnTo>
                    <a:pt x="607" y="904"/>
                  </a:lnTo>
                  <a:lnTo>
                    <a:pt x="608" y="907"/>
                  </a:lnTo>
                  <a:lnTo>
                    <a:pt x="611" y="908"/>
                  </a:lnTo>
                  <a:lnTo>
                    <a:pt x="611" y="912"/>
                  </a:lnTo>
                  <a:lnTo>
                    <a:pt x="611" y="915"/>
                  </a:lnTo>
                  <a:lnTo>
                    <a:pt x="611" y="918"/>
                  </a:lnTo>
                  <a:lnTo>
                    <a:pt x="611" y="921"/>
                  </a:lnTo>
                  <a:lnTo>
                    <a:pt x="610" y="923"/>
                  </a:lnTo>
                  <a:lnTo>
                    <a:pt x="608" y="923"/>
                  </a:lnTo>
                  <a:lnTo>
                    <a:pt x="607" y="924"/>
                  </a:lnTo>
                  <a:lnTo>
                    <a:pt x="607" y="926"/>
                  </a:lnTo>
                  <a:lnTo>
                    <a:pt x="605" y="927"/>
                  </a:lnTo>
                  <a:lnTo>
                    <a:pt x="604" y="929"/>
                  </a:lnTo>
                  <a:lnTo>
                    <a:pt x="607" y="931"/>
                  </a:lnTo>
                  <a:lnTo>
                    <a:pt x="608" y="932"/>
                  </a:lnTo>
                  <a:lnTo>
                    <a:pt x="608" y="931"/>
                  </a:lnTo>
                  <a:lnTo>
                    <a:pt x="610" y="931"/>
                  </a:lnTo>
                  <a:lnTo>
                    <a:pt x="611" y="929"/>
                  </a:lnTo>
                  <a:lnTo>
                    <a:pt x="613" y="926"/>
                  </a:lnTo>
                  <a:lnTo>
                    <a:pt x="615" y="923"/>
                  </a:lnTo>
                  <a:lnTo>
                    <a:pt x="616" y="921"/>
                  </a:lnTo>
                  <a:lnTo>
                    <a:pt x="616" y="919"/>
                  </a:lnTo>
                  <a:lnTo>
                    <a:pt x="616" y="918"/>
                  </a:lnTo>
                  <a:lnTo>
                    <a:pt x="619" y="918"/>
                  </a:lnTo>
                  <a:lnTo>
                    <a:pt x="619" y="916"/>
                  </a:lnTo>
                  <a:lnTo>
                    <a:pt x="624" y="915"/>
                  </a:lnTo>
                  <a:lnTo>
                    <a:pt x="627" y="913"/>
                  </a:lnTo>
                  <a:lnTo>
                    <a:pt x="635" y="913"/>
                  </a:lnTo>
                  <a:lnTo>
                    <a:pt x="640" y="912"/>
                  </a:lnTo>
                  <a:lnTo>
                    <a:pt x="646" y="908"/>
                  </a:lnTo>
                  <a:lnTo>
                    <a:pt x="652" y="908"/>
                  </a:lnTo>
                  <a:lnTo>
                    <a:pt x="657" y="905"/>
                  </a:lnTo>
                  <a:lnTo>
                    <a:pt x="662" y="902"/>
                  </a:lnTo>
                  <a:lnTo>
                    <a:pt x="665" y="901"/>
                  </a:lnTo>
                  <a:lnTo>
                    <a:pt x="665" y="899"/>
                  </a:lnTo>
                  <a:lnTo>
                    <a:pt x="668" y="897"/>
                  </a:lnTo>
                  <a:lnTo>
                    <a:pt x="670" y="896"/>
                  </a:lnTo>
                  <a:lnTo>
                    <a:pt x="670" y="894"/>
                  </a:lnTo>
                  <a:lnTo>
                    <a:pt x="671" y="891"/>
                  </a:lnTo>
                  <a:lnTo>
                    <a:pt x="673" y="888"/>
                  </a:lnTo>
                  <a:lnTo>
                    <a:pt x="673" y="885"/>
                  </a:lnTo>
                  <a:lnTo>
                    <a:pt x="673" y="883"/>
                  </a:lnTo>
                  <a:lnTo>
                    <a:pt x="671" y="882"/>
                  </a:lnTo>
                  <a:lnTo>
                    <a:pt x="671" y="880"/>
                  </a:lnTo>
                  <a:lnTo>
                    <a:pt x="670" y="878"/>
                  </a:lnTo>
                  <a:lnTo>
                    <a:pt x="668" y="875"/>
                  </a:lnTo>
                  <a:lnTo>
                    <a:pt x="667" y="874"/>
                  </a:lnTo>
                  <a:lnTo>
                    <a:pt x="664" y="871"/>
                  </a:lnTo>
                  <a:lnTo>
                    <a:pt x="660" y="869"/>
                  </a:lnTo>
                  <a:lnTo>
                    <a:pt x="656" y="869"/>
                  </a:lnTo>
                  <a:lnTo>
                    <a:pt x="652" y="867"/>
                  </a:lnTo>
                  <a:lnTo>
                    <a:pt x="643" y="867"/>
                  </a:lnTo>
                  <a:lnTo>
                    <a:pt x="635" y="867"/>
                  </a:lnTo>
                  <a:lnTo>
                    <a:pt x="626" y="867"/>
                  </a:lnTo>
                  <a:lnTo>
                    <a:pt x="618" y="867"/>
                  </a:lnTo>
                  <a:close/>
                  <a:moveTo>
                    <a:pt x="665" y="711"/>
                  </a:moveTo>
                  <a:lnTo>
                    <a:pt x="668" y="711"/>
                  </a:lnTo>
                  <a:lnTo>
                    <a:pt x="670" y="711"/>
                  </a:lnTo>
                  <a:lnTo>
                    <a:pt x="673" y="710"/>
                  </a:lnTo>
                  <a:lnTo>
                    <a:pt x="675" y="707"/>
                  </a:lnTo>
                  <a:lnTo>
                    <a:pt x="678" y="705"/>
                  </a:lnTo>
                  <a:lnTo>
                    <a:pt x="679" y="702"/>
                  </a:lnTo>
                  <a:lnTo>
                    <a:pt x="681" y="699"/>
                  </a:lnTo>
                  <a:lnTo>
                    <a:pt x="683" y="695"/>
                  </a:lnTo>
                  <a:lnTo>
                    <a:pt x="687" y="689"/>
                  </a:lnTo>
                  <a:lnTo>
                    <a:pt x="689" y="683"/>
                  </a:lnTo>
                  <a:lnTo>
                    <a:pt x="690" y="677"/>
                  </a:lnTo>
                  <a:lnTo>
                    <a:pt x="690" y="672"/>
                  </a:lnTo>
                  <a:lnTo>
                    <a:pt x="690" y="669"/>
                  </a:lnTo>
                  <a:lnTo>
                    <a:pt x="690" y="664"/>
                  </a:lnTo>
                  <a:lnTo>
                    <a:pt x="686" y="662"/>
                  </a:lnTo>
                  <a:lnTo>
                    <a:pt x="681" y="661"/>
                  </a:lnTo>
                  <a:lnTo>
                    <a:pt x="675" y="662"/>
                  </a:lnTo>
                  <a:lnTo>
                    <a:pt x="665" y="664"/>
                  </a:lnTo>
                  <a:lnTo>
                    <a:pt x="659" y="666"/>
                  </a:lnTo>
                  <a:lnTo>
                    <a:pt x="654" y="669"/>
                  </a:lnTo>
                  <a:lnTo>
                    <a:pt x="652" y="669"/>
                  </a:lnTo>
                  <a:lnTo>
                    <a:pt x="651" y="670"/>
                  </a:lnTo>
                  <a:lnTo>
                    <a:pt x="649" y="670"/>
                  </a:lnTo>
                  <a:lnTo>
                    <a:pt x="648" y="672"/>
                  </a:lnTo>
                  <a:lnTo>
                    <a:pt x="645" y="677"/>
                  </a:lnTo>
                  <a:lnTo>
                    <a:pt x="643" y="681"/>
                  </a:lnTo>
                  <a:lnTo>
                    <a:pt x="643" y="683"/>
                  </a:lnTo>
                  <a:lnTo>
                    <a:pt x="641" y="684"/>
                  </a:lnTo>
                  <a:lnTo>
                    <a:pt x="640" y="686"/>
                  </a:lnTo>
                  <a:lnTo>
                    <a:pt x="638" y="686"/>
                  </a:lnTo>
                  <a:lnTo>
                    <a:pt x="634" y="686"/>
                  </a:lnTo>
                  <a:lnTo>
                    <a:pt x="634" y="684"/>
                  </a:lnTo>
                  <a:lnTo>
                    <a:pt x="632" y="683"/>
                  </a:lnTo>
                  <a:lnTo>
                    <a:pt x="630" y="681"/>
                  </a:lnTo>
                  <a:lnTo>
                    <a:pt x="629" y="681"/>
                  </a:lnTo>
                  <a:lnTo>
                    <a:pt x="627" y="680"/>
                  </a:lnTo>
                  <a:lnTo>
                    <a:pt x="624" y="680"/>
                  </a:lnTo>
                  <a:lnTo>
                    <a:pt x="624" y="678"/>
                  </a:lnTo>
                  <a:lnTo>
                    <a:pt x="622" y="680"/>
                  </a:lnTo>
                  <a:lnTo>
                    <a:pt x="619" y="681"/>
                  </a:lnTo>
                  <a:lnTo>
                    <a:pt x="616" y="683"/>
                  </a:lnTo>
                  <a:lnTo>
                    <a:pt x="615" y="686"/>
                  </a:lnTo>
                  <a:lnTo>
                    <a:pt x="613" y="691"/>
                  </a:lnTo>
                  <a:lnTo>
                    <a:pt x="611" y="700"/>
                  </a:lnTo>
                  <a:lnTo>
                    <a:pt x="608" y="707"/>
                  </a:lnTo>
                  <a:lnTo>
                    <a:pt x="607" y="707"/>
                  </a:lnTo>
                  <a:lnTo>
                    <a:pt x="604" y="705"/>
                  </a:lnTo>
                  <a:lnTo>
                    <a:pt x="602" y="703"/>
                  </a:lnTo>
                  <a:lnTo>
                    <a:pt x="600" y="702"/>
                  </a:lnTo>
                  <a:lnTo>
                    <a:pt x="599" y="699"/>
                  </a:lnTo>
                  <a:lnTo>
                    <a:pt x="596" y="695"/>
                  </a:lnTo>
                  <a:lnTo>
                    <a:pt x="591" y="695"/>
                  </a:lnTo>
                  <a:lnTo>
                    <a:pt x="591" y="702"/>
                  </a:lnTo>
                  <a:lnTo>
                    <a:pt x="591" y="705"/>
                  </a:lnTo>
                  <a:lnTo>
                    <a:pt x="592" y="710"/>
                  </a:lnTo>
                  <a:lnTo>
                    <a:pt x="594" y="714"/>
                  </a:lnTo>
                  <a:lnTo>
                    <a:pt x="594" y="718"/>
                  </a:lnTo>
                  <a:lnTo>
                    <a:pt x="597" y="722"/>
                  </a:lnTo>
                  <a:lnTo>
                    <a:pt x="599" y="724"/>
                  </a:lnTo>
                  <a:lnTo>
                    <a:pt x="600" y="724"/>
                  </a:lnTo>
                  <a:lnTo>
                    <a:pt x="602" y="725"/>
                  </a:lnTo>
                  <a:lnTo>
                    <a:pt x="604" y="727"/>
                  </a:lnTo>
                  <a:lnTo>
                    <a:pt x="605" y="727"/>
                  </a:lnTo>
                  <a:lnTo>
                    <a:pt x="607" y="729"/>
                  </a:lnTo>
                  <a:lnTo>
                    <a:pt x="610" y="729"/>
                  </a:lnTo>
                  <a:lnTo>
                    <a:pt x="611" y="729"/>
                  </a:lnTo>
                  <a:lnTo>
                    <a:pt x="618" y="729"/>
                  </a:lnTo>
                  <a:lnTo>
                    <a:pt x="622" y="727"/>
                  </a:lnTo>
                  <a:lnTo>
                    <a:pt x="624" y="727"/>
                  </a:lnTo>
                  <a:lnTo>
                    <a:pt x="627" y="727"/>
                  </a:lnTo>
                  <a:lnTo>
                    <a:pt x="632" y="725"/>
                  </a:lnTo>
                  <a:lnTo>
                    <a:pt x="635" y="724"/>
                  </a:lnTo>
                  <a:lnTo>
                    <a:pt x="638" y="724"/>
                  </a:lnTo>
                  <a:lnTo>
                    <a:pt x="643" y="724"/>
                  </a:lnTo>
                  <a:lnTo>
                    <a:pt x="648" y="724"/>
                  </a:lnTo>
                  <a:lnTo>
                    <a:pt x="649" y="724"/>
                  </a:lnTo>
                  <a:lnTo>
                    <a:pt x="651" y="722"/>
                  </a:lnTo>
                  <a:lnTo>
                    <a:pt x="652" y="721"/>
                  </a:lnTo>
                  <a:lnTo>
                    <a:pt x="652" y="718"/>
                  </a:lnTo>
                  <a:lnTo>
                    <a:pt x="656" y="716"/>
                  </a:lnTo>
                  <a:lnTo>
                    <a:pt x="657" y="714"/>
                  </a:lnTo>
                  <a:lnTo>
                    <a:pt x="660" y="714"/>
                  </a:lnTo>
                  <a:lnTo>
                    <a:pt x="664" y="713"/>
                  </a:lnTo>
                  <a:lnTo>
                    <a:pt x="665" y="711"/>
                  </a:lnTo>
                  <a:close/>
                  <a:moveTo>
                    <a:pt x="586" y="762"/>
                  </a:moveTo>
                  <a:lnTo>
                    <a:pt x="586" y="762"/>
                  </a:lnTo>
                  <a:lnTo>
                    <a:pt x="586" y="760"/>
                  </a:lnTo>
                  <a:lnTo>
                    <a:pt x="586" y="755"/>
                  </a:lnTo>
                  <a:lnTo>
                    <a:pt x="585" y="752"/>
                  </a:lnTo>
                  <a:lnTo>
                    <a:pt x="583" y="744"/>
                  </a:lnTo>
                  <a:lnTo>
                    <a:pt x="583" y="740"/>
                  </a:lnTo>
                  <a:lnTo>
                    <a:pt x="581" y="740"/>
                  </a:lnTo>
                  <a:lnTo>
                    <a:pt x="580" y="740"/>
                  </a:lnTo>
                  <a:lnTo>
                    <a:pt x="578" y="738"/>
                  </a:lnTo>
                  <a:lnTo>
                    <a:pt x="577" y="736"/>
                  </a:lnTo>
                  <a:lnTo>
                    <a:pt x="575" y="735"/>
                  </a:lnTo>
                  <a:lnTo>
                    <a:pt x="573" y="730"/>
                  </a:lnTo>
                  <a:lnTo>
                    <a:pt x="572" y="727"/>
                  </a:lnTo>
                  <a:lnTo>
                    <a:pt x="570" y="724"/>
                  </a:lnTo>
                  <a:lnTo>
                    <a:pt x="570" y="722"/>
                  </a:lnTo>
                  <a:lnTo>
                    <a:pt x="569" y="721"/>
                  </a:lnTo>
                  <a:lnTo>
                    <a:pt x="567" y="719"/>
                  </a:lnTo>
                  <a:lnTo>
                    <a:pt x="566" y="719"/>
                  </a:lnTo>
                  <a:lnTo>
                    <a:pt x="558" y="719"/>
                  </a:lnTo>
                  <a:lnTo>
                    <a:pt x="550" y="719"/>
                  </a:lnTo>
                  <a:lnTo>
                    <a:pt x="542" y="721"/>
                  </a:lnTo>
                  <a:lnTo>
                    <a:pt x="536" y="722"/>
                  </a:lnTo>
                  <a:lnTo>
                    <a:pt x="532" y="724"/>
                  </a:lnTo>
                  <a:lnTo>
                    <a:pt x="529" y="725"/>
                  </a:lnTo>
                  <a:lnTo>
                    <a:pt x="526" y="729"/>
                  </a:lnTo>
                  <a:lnTo>
                    <a:pt x="523" y="732"/>
                  </a:lnTo>
                  <a:lnTo>
                    <a:pt x="520" y="735"/>
                  </a:lnTo>
                  <a:lnTo>
                    <a:pt x="517" y="736"/>
                  </a:lnTo>
                  <a:lnTo>
                    <a:pt x="515" y="736"/>
                  </a:lnTo>
                  <a:lnTo>
                    <a:pt x="512" y="738"/>
                  </a:lnTo>
                  <a:lnTo>
                    <a:pt x="510" y="738"/>
                  </a:lnTo>
                  <a:lnTo>
                    <a:pt x="507" y="738"/>
                  </a:lnTo>
                  <a:lnTo>
                    <a:pt x="504" y="738"/>
                  </a:lnTo>
                  <a:lnTo>
                    <a:pt x="502" y="738"/>
                  </a:lnTo>
                  <a:lnTo>
                    <a:pt x="501" y="736"/>
                  </a:lnTo>
                  <a:lnTo>
                    <a:pt x="499" y="736"/>
                  </a:lnTo>
                  <a:lnTo>
                    <a:pt x="496" y="735"/>
                  </a:lnTo>
                  <a:lnTo>
                    <a:pt x="494" y="735"/>
                  </a:lnTo>
                  <a:lnTo>
                    <a:pt x="491" y="735"/>
                  </a:lnTo>
                  <a:lnTo>
                    <a:pt x="490" y="736"/>
                  </a:lnTo>
                  <a:lnTo>
                    <a:pt x="488" y="738"/>
                  </a:lnTo>
                  <a:lnTo>
                    <a:pt x="488" y="740"/>
                  </a:lnTo>
                  <a:lnTo>
                    <a:pt x="487" y="741"/>
                  </a:lnTo>
                  <a:lnTo>
                    <a:pt x="487" y="743"/>
                  </a:lnTo>
                  <a:lnTo>
                    <a:pt x="487" y="744"/>
                  </a:lnTo>
                  <a:lnTo>
                    <a:pt x="487" y="749"/>
                  </a:lnTo>
                  <a:lnTo>
                    <a:pt x="488" y="755"/>
                  </a:lnTo>
                  <a:lnTo>
                    <a:pt x="490" y="759"/>
                  </a:lnTo>
                  <a:lnTo>
                    <a:pt x="491" y="762"/>
                  </a:lnTo>
                  <a:lnTo>
                    <a:pt x="494" y="765"/>
                  </a:lnTo>
                  <a:lnTo>
                    <a:pt x="496" y="768"/>
                  </a:lnTo>
                  <a:lnTo>
                    <a:pt x="499" y="770"/>
                  </a:lnTo>
                  <a:lnTo>
                    <a:pt x="501" y="773"/>
                  </a:lnTo>
                  <a:lnTo>
                    <a:pt x="501" y="778"/>
                  </a:lnTo>
                  <a:lnTo>
                    <a:pt x="499" y="778"/>
                  </a:lnTo>
                  <a:lnTo>
                    <a:pt x="496" y="778"/>
                  </a:lnTo>
                  <a:lnTo>
                    <a:pt x="494" y="778"/>
                  </a:lnTo>
                  <a:lnTo>
                    <a:pt x="493" y="776"/>
                  </a:lnTo>
                  <a:lnTo>
                    <a:pt x="491" y="776"/>
                  </a:lnTo>
                  <a:lnTo>
                    <a:pt x="488" y="776"/>
                  </a:lnTo>
                  <a:lnTo>
                    <a:pt x="487" y="774"/>
                  </a:lnTo>
                  <a:lnTo>
                    <a:pt x="485" y="774"/>
                  </a:lnTo>
                  <a:lnTo>
                    <a:pt x="482" y="774"/>
                  </a:lnTo>
                  <a:lnTo>
                    <a:pt x="479" y="774"/>
                  </a:lnTo>
                  <a:lnTo>
                    <a:pt x="476" y="774"/>
                  </a:lnTo>
                  <a:lnTo>
                    <a:pt x="471" y="773"/>
                  </a:lnTo>
                  <a:lnTo>
                    <a:pt x="466" y="771"/>
                  </a:lnTo>
                  <a:lnTo>
                    <a:pt x="463" y="770"/>
                  </a:lnTo>
                  <a:lnTo>
                    <a:pt x="458" y="770"/>
                  </a:lnTo>
                  <a:lnTo>
                    <a:pt x="453" y="768"/>
                  </a:lnTo>
                  <a:lnTo>
                    <a:pt x="450" y="766"/>
                  </a:lnTo>
                  <a:lnTo>
                    <a:pt x="446" y="766"/>
                  </a:lnTo>
                  <a:lnTo>
                    <a:pt x="442" y="768"/>
                  </a:lnTo>
                  <a:lnTo>
                    <a:pt x="441" y="770"/>
                  </a:lnTo>
                  <a:lnTo>
                    <a:pt x="441" y="774"/>
                  </a:lnTo>
                  <a:lnTo>
                    <a:pt x="438" y="779"/>
                  </a:lnTo>
                  <a:lnTo>
                    <a:pt x="436" y="782"/>
                  </a:lnTo>
                  <a:lnTo>
                    <a:pt x="434" y="789"/>
                  </a:lnTo>
                  <a:lnTo>
                    <a:pt x="434" y="792"/>
                  </a:lnTo>
                  <a:lnTo>
                    <a:pt x="434" y="795"/>
                  </a:lnTo>
                  <a:lnTo>
                    <a:pt x="434" y="796"/>
                  </a:lnTo>
                  <a:lnTo>
                    <a:pt x="434" y="800"/>
                  </a:lnTo>
                  <a:lnTo>
                    <a:pt x="436" y="801"/>
                  </a:lnTo>
                  <a:lnTo>
                    <a:pt x="438" y="803"/>
                  </a:lnTo>
                  <a:lnTo>
                    <a:pt x="441" y="804"/>
                  </a:lnTo>
                  <a:lnTo>
                    <a:pt x="441" y="806"/>
                  </a:lnTo>
                  <a:lnTo>
                    <a:pt x="441" y="809"/>
                  </a:lnTo>
                  <a:lnTo>
                    <a:pt x="441" y="811"/>
                  </a:lnTo>
                  <a:lnTo>
                    <a:pt x="441" y="815"/>
                  </a:lnTo>
                  <a:lnTo>
                    <a:pt x="438" y="822"/>
                  </a:lnTo>
                  <a:lnTo>
                    <a:pt x="438" y="823"/>
                  </a:lnTo>
                  <a:lnTo>
                    <a:pt x="439" y="825"/>
                  </a:lnTo>
                  <a:lnTo>
                    <a:pt x="439" y="826"/>
                  </a:lnTo>
                  <a:lnTo>
                    <a:pt x="441" y="828"/>
                  </a:lnTo>
                  <a:lnTo>
                    <a:pt x="441" y="830"/>
                  </a:lnTo>
                  <a:lnTo>
                    <a:pt x="442" y="830"/>
                  </a:lnTo>
                  <a:lnTo>
                    <a:pt x="442" y="831"/>
                  </a:lnTo>
                  <a:lnTo>
                    <a:pt x="446" y="831"/>
                  </a:lnTo>
                  <a:lnTo>
                    <a:pt x="447" y="831"/>
                  </a:lnTo>
                  <a:lnTo>
                    <a:pt x="450" y="833"/>
                  </a:lnTo>
                  <a:lnTo>
                    <a:pt x="453" y="834"/>
                  </a:lnTo>
                  <a:lnTo>
                    <a:pt x="457" y="836"/>
                  </a:lnTo>
                  <a:lnTo>
                    <a:pt x="458" y="837"/>
                  </a:lnTo>
                  <a:lnTo>
                    <a:pt x="458" y="839"/>
                  </a:lnTo>
                  <a:lnTo>
                    <a:pt x="458" y="842"/>
                  </a:lnTo>
                  <a:lnTo>
                    <a:pt x="460" y="844"/>
                  </a:lnTo>
                  <a:lnTo>
                    <a:pt x="460" y="847"/>
                  </a:lnTo>
                  <a:lnTo>
                    <a:pt x="460" y="850"/>
                  </a:lnTo>
                  <a:lnTo>
                    <a:pt x="463" y="855"/>
                  </a:lnTo>
                  <a:lnTo>
                    <a:pt x="464" y="855"/>
                  </a:lnTo>
                  <a:lnTo>
                    <a:pt x="466" y="858"/>
                  </a:lnTo>
                  <a:lnTo>
                    <a:pt x="468" y="860"/>
                  </a:lnTo>
                  <a:lnTo>
                    <a:pt x="471" y="861"/>
                  </a:lnTo>
                  <a:lnTo>
                    <a:pt x="474" y="863"/>
                  </a:lnTo>
                  <a:lnTo>
                    <a:pt x="476" y="864"/>
                  </a:lnTo>
                  <a:lnTo>
                    <a:pt x="479" y="864"/>
                  </a:lnTo>
                  <a:lnTo>
                    <a:pt x="485" y="866"/>
                  </a:lnTo>
                  <a:lnTo>
                    <a:pt x="491" y="867"/>
                  </a:lnTo>
                  <a:lnTo>
                    <a:pt x="498" y="867"/>
                  </a:lnTo>
                  <a:lnTo>
                    <a:pt x="504" y="867"/>
                  </a:lnTo>
                  <a:lnTo>
                    <a:pt x="504" y="869"/>
                  </a:lnTo>
                  <a:lnTo>
                    <a:pt x="506" y="871"/>
                  </a:lnTo>
                  <a:lnTo>
                    <a:pt x="507" y="872"/>
                  </a:lnTo>
                  <a:lnTo>
                    <a:pt x="509" y="872"/>
                  </a:lnTo>
                  <a:lnTo>
                    <a:pt x="515" y="872"/>
                  </a:lnTo>
                  <a:lnTo>
                    <a:pt x="520" y="872"/>
                  </a:lnTo>
                  <a:lnTo>
                    <a:pt x="521" y="872"/>
                  </a:lnTo>
                  <a:lnTo>
                    <a:pt x="525" y="872"/>
                  </a:lnTo>
                  <a:lnTo>
                    <a:pt x="526" y="871"/>
                  </a:lnTo>
                  <a:lnTo>
                    <a:pt x="528" y="869"/>
                  </a:lnTo>
                  <a:lnTo>
                    <a:pt x="528" y="867"/>
                  </a:lnTo>
                  <a:lnTo>
                    <a:pt x="528" y="864"/>
                  </a:lnTo>
                  <a:lnTo>
                    <a:pt x="528" y="863"/>
                  </a:lnTo>
                  <a:lnTo>
                    <a:pt x="528" y="860"/>
                  </a:lnTo>
                  <a:lnTo>
                    <a:pt x="528" y="855"/>
                  </a:lnTo>
                  <a:lnTo>
                    <a:pt x="528" y="852"/>
                  </a:lnTo>
                  <a:lnTo>
                    <a:pt x="526" y="848"/>
                  </a:lnTo>
                  <a:lnTo>
                    <a:pt x="526" y="845"/>
                  </a:lnTo>
                  <a:lnTo>
                    <a:pt x="526" y="839"/>
                  </a:lnTo>
                  <a:lnTo>
                    <a:pt x="529" y="839"/>
                  </a:lnTo>
                  <a:lnTo>
                    <a:pt x="531" y="839"/>
                  </a:lnTo>
                  <a:lnTo>
                    <a:pt x="534" y="837"/>
                  </a:lnTo>
                  <a:lnTo>
                    <a:pt x="536" y="836"/>
                  </a:lnTo>
                  <a:lnTo>
                    <a:pt x="537" y="836"/>
                  </a:lnTo>
                  <a:lnTo>
                    <a:pt x="539" y="834"/>
                  </a:lnTo>
                  <a:lnTo>
                    <a:pt x="540" y="831"/>
                  </a:lnTo>
                  <a:lnTo>
                    <a:pt x="542" y="830"/>
                  </a:lnTo>
                  <a:lnTo>
                    <a:pt x="545" y="822"/>
                  </a:lnTo>
                  <a:lnTo>
                    <a:pt x="548" y="814"/>
                  </a:lnTo>
                  <a:lnTo>
                    <a:pt x="550" y="811"/>
                  </a:lnTo>
                  <a:lnTo>
                    <a:pt x="553" y="809"/>
                  </a:lnTo>
                  <a:lnTo>
                    <a:pt x="555" y="807"/>
                  </a:lnTo>
                  <a:lnTo>
                    <a:pt x="558" y="806"/>
                  </a:lnTo>
                  <a:lnTo>
                    <a:pt x="562" y="804"/>
                  </a:lnTo>
                  <a:lnTo>
                    <a:pt x="567" y="803"/>
                  </a:lnTo>
                  <a:lnTo>
                    <a:pt x="572" y="801"/>
                  </a:lnTo>
                  <a:lnTo>
                    <a:pt x="577" y="801"/>
                  </a:lnTo>
                  <a:lnTo>
                    <a:pt x="578" y="798"/>
                  </a:lnTo>
                  <a:lnTo>
                    <a:pt x="580" y="796"/>
                  </a:lnTo>
                  <a:lnTo>
                    <a:pt x="581" y="795"/>
                  </a:lnTo>
                  <a:lnTo>
                    <a:pt x="581" y="793"/>
                  </a:lnTo>
                  <a:lnTo>
                    <a:pt x="581" y="789"/>
                  </a:lnTo>
                  <a:lnTo>
                    <a:pt x="580" y="787"/>
                  </a:lnTo>
                  <a:lnTo>
                    <a:pt x="580" y="785"/>
                  </a:lnTo>
                  <a:lnTo>
                    <a:pt x="580" y="784"/>
                  </a:lnTo>
                  <a:lnTo>
                    <a:pt x="580" y="782"/>
                  </a:lnTo>
                  <a:lnTo>
                    <a:pt x="581" y="781"/>
                  </a:lnTo>
                  <a:lnTo>
                    <a:pt x="577" y="781"/>
                  </a:lnTo>
                  <a:lnTo>
                    <a:pt x="575" y="781"/>
                  </a:lnTo>
                  <a:lnTo>
                    <a:pt x="573" y="781"/>
                  </a:lnTo>
                  <a:lnTo>
                    <a:pt x="570" y="781"/>
                  </a:lnTo>
                  <a:lnTo>
                    <a:pt x="566" y="782"/>
                  </a:lnTo>
                  <a:lnTo>
                    <a:pt x="561" y="785"/>
                  </a:lnTo>
                  <a:lnTo>
                    <a:pt x="558" y="785"/>
                  </a:lnTo>
                  <a:lnTo>
                    <a:pt x="555" y="784"/>
                  </a:lnTo>
                  <a:lnTo>
                    <a:pt x="551" y="784"/>
                  </a:lnTo>
                  <a:lnTo>
                    <a:pt x="548" y="782"/>
                  </a:lnTo>
                  <a:lnTo>
                    <a:pt x="545" y="781"/>
                  </a:lnTo>
                  <a:lnTo>
                    <a:pt x="542" y="779"/>
                  </a:lnTo>
                  <a:lnTo>
                    <a:pt x="540" y="778"/>
                  </a:lnTo>
                  <a:lnTo>
                    <a:pt x="537" y="776"/>
                  </a:lnTo>
                  <a:lnTo>
                    <a:pt x="534" y="773"/>
                  </a:lnTo>
                  <a:lnTo>
                    <a:pt x="532" y="771"/>
                  </a:lnTo>
                  <a:lnTo>
                    <a:pt x="531" y="768"/>
                  </a:lnTo>
                  <a:lnTo>
                    <a:pt x="529" y="766"/>
                  </a:lnTo>
                  <a:lnTo>
                    <a:pt x="528" y="765"/>
                  </a:lnTo>
                  <a:lnTo>
                    <a:pt x="528" y="762"/>
                  </a:lnTo>
                  <a:lnTo>
                    <a:pt x="526" y="760"/>
                  </a:lnTo>
                  <a:lnTo>
                    <a:pt x="526" y="757"/>
                  </a:lnTo>
                  <a:lnTo>
                    <a:pt x="526" y="752"/>
                  </a:lnTo>
                  <a:lnTo>
                    <a:pt x="526" y="749"/>
                  </a:lnTo>
                  <a:lnTo>
                    <a:pt x="526" y="748"/>
                  </a:lnTo>
                  <a:lnTo>
                    <a:pt x="526" y="744"/>
                  </a:lnTo>
                  <a:lnTo>
                    <a:pt x="532" y="744"/>
                  </a:lnTo>
                  <a:lnTo>
                    <a:pt x="536" y="744"/>
                  </a:lnTo>
                  <a:lnTo>
                    <a:pt x="537" y="749"/>
                  </a:lnTo>
                  <a:lnTo>
                    <a:pt x="537" y="755"/>
                  </a:lnTo>
                  <a:lnTo>
                    <a:pt x="540" y="760"/>
                  </a:lnTo>
                  <a:lnTo>
                    <a:pt x="542" y="765"/>
                  </a:lnTo>
                  <a:lnTo>
                    <a:pt x="545" y="768"/>
                  </a:lnTo>
                  <a:lnTo>
                    <a:pt x="547" y="770"/>
                  </a:lnTo>
                  <a:lnTo>
                    <a:pt x="548" y="771"/>
                  </a:lnTo>
                  <a:lnTo>
                    <a:pt x="550" y="773"/>
                  </a:lnTo>
                  <a:lnTo>
                    <a:pt x="553" y="774"/>
                  </a:lnTo>
                  <a:lnTo>
                    <a:pt x="555" y="776"/>
                  </a:lnTo>
                  <a:lnTo>
                    <a:pt x="558" y="776"/>
                  </a:lnTo>
                  <a:lnTo>
                    <a:pt x="561" y="776"/>
                  </a:lnTo>
                  <a:lnTo>
                    <a:pt x="566" y="776"/>
                  </a:lnTo>
                  <a:lnTo>
                    <a:pt x="569" y="776"/>
                  </a:lnTo>
                  <a:lnTo>
                    <a:pt x="573" y="774"/>
                  </a:lnTo>
                  <a:lnTo>
                    <a:pt x="577" y="773"/>
                  </a:lnTo>
                  <a:lnTo>
                    <a:pt x="580" y="770"/>
                  </a:lnTo>
                  <a:lnTo>
                    <a:pt x="581" y="768"/>
                  </a:lnTo>
                  <a:lnTo>
                    <a:pt x="583" y="765"/>
                  </a:lnTo>
                  <a:lnTo>
                    <a:pt x="586" y="762"/>
                  </a:lnTo>
                  <a:close/>
                  <a:moveTo>
                    <a:pt x="1202" y="692"/>
                  </a:moveTo>
                  <a:lnTo>
                    <a:pt x="1201" y="691"/>
                  </a:lnTo>
                  <a:lnTo>
                    <a:pt x="1202" y="691"/>
                  </a:lnTo>
                  <a:lnTo>
                    <a:pt x="1204" y="692"/>
                  </a:lnTo>
                  <a:lnTo>
                    <a:pt x="1202" y="692"/>
                  </a:lnTo>
                  <a:close/>
                  <a:moveTo>
                    <a:pt x="433" y="848"/>
                  </a:moveTo>
                  <a:lnTo>
                    <a:pt x="433" y="847"/>
                  </a:lnTo>
                  <a:lnTo>
                    <a:pt x="431" y="842"/>
                  </a:lnTo>
                  <a:lnTo>
                    <a:pt x="430" y="842"/>
                  </a:lnTo>
                  <a:lnTo>
                    <a:pt x="430" y="839"/>
                  </a:lnTo>
                  <a:lnTo>
                    <a:pt x="427" y="839"/>
                  </a:lnTo>
                  <a:lnTo>
                    <a:pt x="425" y="837"/>
                  </a:lnTo>
                  <a:lnTo>
                    <a:pt x="420" y="834"/>
                  </a:lnTo>
                  <a:lnTo>
                    <a:pt x="414" y="834"/>
                  </a:lnTo>
                  <a:lnTo>
                    <a:pt x="414" y="836"/>
                  </a:lnTo>
                  <a:lnTo>
                    <a:pt x="414" y="839"/>
                  </a:lnTo>
                  <a:lnTo>
                    <a:pt x="416" y="842"/>
                  </a:lnTo>
                  <a:lnTo>
                    <a:pt x="417" y="847"/>
                  </a:lnTo>
                  <a:lnTo>
                    <a:pt x="420" y="850"/>
                  </a:lnTo>
                  <a:lnTo>
                    <a:pt x="422" y="855"/>
                  </a:lnTo>
                  <a:lnTo>
                    <a:pt x="425" y="860"/>
                  </a:lnTo>
                  <a:lnTo>
                    <a:pt x="427" y="864"/>
                  </a:lnTo>
                  <a:lnTo>
                    <a:pt x="430" y="866"/>
                  </a:lnTo>
                  <a:lnTo>
                    <a:pt x="430" y="867"/>
                  </a:lnTo>
                  <a:lnTo>
                    <a:pt x="431" y="867"/>
                  </a:lnTo>
                  <a:lnTo>
                    <a:pt x="433" y="867"/>
                  </a:lnTo>
                  <a:lnTo>
                    <a:pt x="434" y="867"/>
                  </a:lnTo>
                  <a:lnTo>
                    <a:pt x="436" y="866"/>
                  </a:lnTo>
                  <a:lnTo>
                    <a:pt x="436" y="864"/>
                  </a:lnTo>
                  <a:lnTo>
                    <a:pt x="438" y="863"/>
                  </a:lnTo>
                  <a:lnTo>
                    <a:pt x="438" y="860"/>
                  </a:lnTo>
                  <a:lnTo>
                    <a:pt x="438" y="858"/>
                  </a:lnTo>
                  <a:lnTo>
                    <a:pt x="436" y="853"/>
                  </a:lnTo>
                  <a:lnTo>
                    <a:pt x="434" y="852"/>
                  </a:lnTo>
                  <a:lnTo>
                    <a:pt x="434" y="850"/>
                  </a:lnTo>
                  <a:lnTo>
                    <a:pt x="434" y="848"/>
                  </a:lnTo>
                  <a:lnTo>
                    <a:pt x="433" y="848"/>
                  </a:lnTo>
                  <a:close/>
                  <a:moveTo>
                    <a:pt x="585" y="867"/>
                  </a:moveTo>
                  <a:lnTo>
                    <a:pt x="580" y="867"/>
                  </a:lnTo>
                  <a:lnTo>
                    <a:pt x="575" y="867"/>
                  </a:lnTo>
                  <a:lnTo>
                    <a:pt x="573" y="869"/>
                  </a:lnTo>
                  <a:lnTo>
                    <a:pt x="572" y="869"/>
                  </a:lnTo>
                  <a:lnTo>
                    <a:pt x="570" y="871"/>
                  </a:lnTo>
                  <a:lnTo>
                    <a:pt x="570" y="872"/>
                  </a:lnTo>
                  <a:lnTo>
                    <a:pt x="570" y="875"/>
                  </a:lnTo>
                  <a:lnTo>
                    <a:pt x="572" y="878"/>
                  </a:lnTo>
                  <a:lnTo>
                    <a:pt x="573" y="883"/>
                  </a:lnTo>
                  <a:lnTo>
                    <a:pt x="573" y="885"/>
                  </a:lnTo>
                  <a:lnTo>
                    <a:pt x="575" y="888"/>
                  </a:lnTo>
                  <a:lnTo>
                    <a:pt x="578" y="891"/>
                  </a:lnTo>
                  <a:lnTo>
                    <a:pt x="580" y="893"/>
                  </a:lnTo>
                  <a:lnTo>
                    <a:pt x="581" y="893"/>
                  </a:lnTo>
                  <a:lnTo>
                    <a:pt x="583" y="893"/>
                  </a:lnTo>
                  <a:lnTo>
                    <a:pt x="585" y="893"/>
                  </a:lnTo>
                  <a:lnTo>
                    <a:pt x="586" y="893"/>
                  </a:lnTo>
                  <a:lnTo>
                    <a:pt x="586" y="891"/>
                  </a:lnTo>
                  <a:lnTo>
                    <a:pt x="588" y="889"/>
                  </a:lnTo>
                  <a:lnTo>
                    <a:pt x="589" y="886"/>
                  </a:lnTo>
                  <a:lnTo>
                    <a:pt x="589" y="885"/>
                  </a:lnTo>
                  <a:lnTo>
                    <a:pt x="589" y="880"/>
                  </a:lnTo>
                  <a:lnTo>
                    <a:pt x="588" y="877"/>
                  </a:lnTo>
                  <a:lnTo>
                    <a:pt x="586" y="875"/>
                  </a:lnTo>
                  <a:lnTo>
                    <a:pt x="585" y="872"/>
                  </a:lnTo>
                  <a:lnTo>
                    <a:pt x="585" y="867"/>
                  </a:lnTo>
                  <a:close/>
                  <a:moveTo>
                    <a:pt x="1743" y="2169"/>
                  </a:moveTo>
                  <a:lnTo>
                    <a:pt x="1738" y="2164"/>
                  </a:lnTo>
                  <a:lnTo>
                    <a:pt x="1736" y="2159"/>
                  </a:lnTo>
                  <a:lnTo>
                    <a:pt x="1733" y="2154"/>
                  </a:lnTo>
                  <a:lnTo>
                    <a:pt x="1730" y="2150"/>
                  </a:lnTo>
                  <a:lnTo>
                    <a:pt x="1728" y="2147"/>
                  </a:lnTo>
                  <a:lnTo>
                    <a:pt x="1727" y="2142"/>
                  </a:lnTo>
                  <a:lnTo>
                    <a:pt x="1724" y="2137"/>
                  </a:lnTo>
                  <a:lnTo>
                    <a:pt x="1721" y="2131"/>
                  </a:lnTo>
                  <a:lnTo>
                    <a:pt x="1719" y="2128"/>
                  </a:lnTo>
                  <a:lnTo>
                    <a:pt x="1717" y="2125"/>
                  </a:lnTo>
                  <a:lnTo>
                    <a:pt x="1717" y="2121"/>
                  </a:lnTo>
                  <a:lnTo>
                    <a:pt x="1714" y="2118"/>
                  </a:lnTo>
                  <a:lnTo>
                    <a:pt x="1709" y="2110"/>
                  </a:lnTo>
                  <a:lnTo>
                    <a:pt x="1705" y="2106"/>
                  </a:lnTo>
                  <a:lnTo>
                    <a:pt x="1700" y="2098"/>
                  </a:lnTo>
                  <a:lnTo>
                    <a:pt x="1695" y="2093"/>
                  </a:lnTo>
                  <a:lnTo>
                    <a:pt x="1689" y="2087"/>
                  </a:lnTo>
                  <a:lnTo>
                    <a:pt x="1684" y="2082"/>
                  </a:lnTo>
                  <a:lnTo>
                    <a:pt x="1678" y="2077"/>
                  </a:lnTo>
                  <a:lnTo>
                    <a:pt x="1675" y="2072"/>
                  </a:lnTo>
                  <a:lnTo>
                    <a:pt x="1670" y="2069"/>
                  </a:lnTo>
                  <a:lnTo>
                    <a:pt x="1668" y="2066"/>
                  </a:lnTo>
                  <a:lnTo>
                    <a:pt x="1667" y="2065"/>
                  </a:lnTo>
                  <a:lnTo>
                    <a:pt x="1667" y="2063"/>
                  </a:lnTo>
                  <a:lnTo>
                    <a:pt x="1668" y="2061"/>
                  </a:lnTo>
                  <a:lnTo>
                    <a:pt x="1672" y="2060"/>
                  </a:lnTo>
                  <a:lnTo>
                    <a:pt x="1673" y="2060"/>
                  </a:lnTo>
                  <a:lnTo>
                    <a:pt x="1679" y="2060"/>
                  </a:lnTo>
                  <a:lnTo>
                    <a:pt x="1686" y="2060"/>
                  </a:lnTo>
                  <a:lnTo>
                    <a:pt x="1687" y="2060"/>
                  </a:lnTo>
                  <a:lnTo>
                    <a:pt x="1689" y="2060"/>
                  </a:lnTo>
                  <a:lnTo>
                    <a:pt x="1691" y="2058"/>
                  </a:lnTo>
                  <a:lnTo>
                    <a:pt x="1692" y="2057"/>
                  </a:lnTo>
                  <a:lnTo>
                    <a:pt x="1694" y="2057"/>
                  </a:lnTo>
                  <a:lnTo>
                    <a:pt x="1694" y="2055"/>
                  </a:lnTo>
                  <a:lnTo>
                    <a:pt x="1695" y="2055"/>
                  </a:lnTo>
                  <a:lnTo>
                    <a:pt x="1695" y="2052"/>
                  </a:lnTo>
                  <a:lnTo>
                    <a:pt x="1695" y="2050"/>
                  </a:lnTo>
                  <a:lnTo>
                    <a:pt x="1694" y="2047"/>
                  </a:lnTo>
                  <a:lnTo>
                    <a:pt x="1692" y="2041"/>
                  </a:lnTo>
                  <a:lnTo>
                    <a:pt x="1689" y="2033"/>
                  </a:lnTo>
                  <a:lnTo>
                    <a:pt x="1687" y="2030"/>
                  </a:lnTo>
                  <a:lnTo>
                    <a:pt x="1687" y="2025"/>
                  </a:lnTo>
                  <a:lnTo>
                    <a:pt x="1686" y="2022"/>
                  </a:lnTo>
                  <a:lnTo>
                    <a:pt x="1687" y="2017"/>
                  </a:lnTo>
                  <a:lnTo>
                    <a:pt x="1698" y="2022"/>
                  </a:lnTo>
                  <a:lnTo>
                    <a:pt x="1708" y="2027"/>
                  </a:lnTo>
                  <a:lnTo>
                    <a:pt x="1717" y="2033"/>
                  </a:lnTo>
                  <a:lnTo>
                    <a:pt x="1725" y="2038"/>
                  </a:lnTo>
                  <a:lnTo>
                    <a:pt x="1733" y="2043"/>
                  </a:lnTo>
                  <a:lnTo>
                    <a:pt x="1741" y="2047"/>
                  </a:lnTo>
                  <a:lnTo>
                    <a:pt x="1746" y="2054"/>
                  </a:lnTo>
                  <a:lnTo>
                    <a:pt x="1752" y="2060"/>
                  </a:lnTo>
                  <a:lnTo>
                    <a:pt x="1763" y="2072"/>
                  </a:lnTo>
                  <a:lnTo>
                    <a:pt x="1774" y="2087"/>
                  </a:lnTo>
                  <a:lnTo>
                    <a:pt x="1787" y="2104"/>
                  </a:lnTo>
                  <a:lnTo>
                    <a:pt x="1804" y="2121"/>
                  </a:lnTo>
                  <a:lnTo>
                    <a:pt x="1811" y="2129"/>
                  </a:lnTo>
                  <a:lnTo>
                    <a:pt x="1817" y="2134"/>
                  </a:lnTo>
                  <a:lnTo>
                    <a:pt x="1825" y="2142"/>
                  </a:lnTo>
                  <a:lnTo>
                    <a:pt x="1833" y="2147"/>
                  </a:lnTo>
                  <a:lnTo>
                    <a:pt x="1841" y="2153"/>
                  </a:lnTo>
                  <a:lnTo>
                    <a:pt x="1850" y="2159"/>
                  </a:lnTo>
                  <a:lnTo>
                    <a:pt x="1858" y="2164"/>
                  </a:lnTo>
                  <a:lnTo>
                    <a:pt x="1867" y="2170"/>
                  </a:lnTo>
                  <a:lnTo>
                    <a:pt x="1877" y="2175"/>
                  </a:lnTo>
                  <a:lnTo>
                    <a:pt x="1886" y="2180"/>
                  </a:lnTo>
                  <a:lnTo>
                    <a:pt x="1896" y="2184"/>
                  </a:lnTo>
                  <a:lnTo>
                    <a:pt x="1905" y="2189"/>
                  </a:lnTo>
                  <a:lnTo>
                    <a:pt x="1926" y="2197"/>
                  </a:lnTo>
                  <a:lnTo>
                    <a:pt x="1943" y="2205"/>
                  </a:lnTo>
                  <a:lnTo>
                    <a:pt x="1950" y="2208"/>
                  </a:lnTo>
                  <a:lnTo>
                    <a:pt x="1954" y="2211"/>
                  </a:lnTo>
                  <a:lnTo>
                    <a:pt x="1959" y="2213"/>
                  </a:lnTo>
                  <a:lnTo>
                    <a:pt x="1964" y="2216"/>
                  </a:lnTo>
                  <a:lnTo>
                    <a:pt x="1970" y="2221"/>
                  </a:lnTo>
                  <a:lnTo>
                    <a:pt x="1978" y="2227"/>
                  </a:lnTo>
                  <a:lnTo>
                    <a:pt x="1986" y="2233"/>
                  </a:lnTo>
                  <a:lnTo>
                    <a:pt x="1995" y="2238"/>
                  </a:lnTo>
                  <a:lnTo>
                    <a:pt x="2000" y="2241"/>
                  </a:lnTo>
                  <a:lnTo>
                    <a:pt x="2007" y="2246"/>
                  </a:lnTo>
                  <a:lnTo>
                    <a:pt x="2014" y="2249"/>
                  </a:lnTo>
                  <a:lnTo>
                    <a:pt x="2022" y="2252"/>
                  </a:lnTo>
                  <a:lnTo>
                    <a:pt x="2019" y="2254"/>
                  </a:lnTo>
                  <a:lnTo>
                    <a:pt x="2016" y="2254"/>
                  </a:lnTo>
                  <a:lnTo>
                    <a:pt x="2013" y="2254"/>
                  </a:lnTo>
                  <a:lnTo>
                    <a:pt x="2010" y="2254"/>
                  </a:lnTo>
                  <a:lnTo>
                    <a:pt x="2003" y="2254"/>
                  </a:lnTo>
                  <a:lnTo>
                    <a:pt x="1997" y="2252"/>
                  </a:lnTo>
                  <a:lnTo>
                    <a:pt x="1984" y="2249"/>
                  </a:lnTo>
                  <a:lnTo>
                    <a:pt x="1970" y="2244"/>
                  </a:lnTo>
                  <a:lnTo>
                    <a:pt x="1964" y="2241"/>
                  </a:lnTo>
                  <a:lnTo>
                    <a:pt x="1959" y="2241"/>
                  </a:lnTo>
                  <a:lnTo>
                    <a:pt x="1954" y="2240"/>
                  </a:lnTo>
                  <a:lnTo>
                    <a:pt x="1950" y="2240"/>
                  </a:lnTo>
                  <a:lnTo>
                    <a:pt x="1948" y="2240"/>
                  </a:lnTo>
                  <a:lnTo>
                    <a:pt x="1946" y="2241"/>
                  </a:lnTo>
                  <a:lnTo>
                    <a:pt x="1943" y="2241"/>
                  </a:lnTo>
                  <a:lnTo>
                    <a:pt x="1942" y="2243"/>
                  </a:lnTo>
                  <a:lnTo>
                    <a:pt x="1940" y="2244"/>
                  </a:lnTo>
                  <a:lnTo>
                    <a:pt x="1939" y="2246"/>
                  </a:lnTo>
                  <a:lnTo>
                    <a:pt x="1939" y="2248"/>
                  </a:lnTo>
                  <a:lnTo>
                    <a:pt x="1937" y="2251"/>
                  </a:lnTo>
                  <a:lnTo>
                    <a:pt x="1935" y="2292"/>
                  </a:lnTo>
                  <a:lnTo>
                    <a:pt x="1939" y="2295"/>
                  </a:lnTo>
                  <a:lnTo>
                    <a:pt x="1940" y="2298"/>
                  </a:lnTo>
                  <a:lnTo>
                    <a:pt x="1943" y="2303"/>
                  </a:lnTo>
                  <a:lnTo>
                    <a:pt x="1946" y="2306"/>
                  </a:lnTo>
                  <a:lnTo>
                    <a:pt x="1948" y="2314"/>
                  </a:lnTo>
                  <a:lnTo>
                    <a:pt x="1951" y="2322"/>
                  </a:lnTo>
                  <a:lnTo>
                    <a:pt x="1954" y="2330"/>
                  </a:lnTo>
                  <a:lnTo>
                    <a:pt x="1958" y="2337"/>
                  </a:lnTo>
                  <a:lnTo>
                    <a:pt x="1959" y="2341"/>
                  </a:lnTo>
                  <a:lnTo>
                    <a:pt x="1961" y="2344"/>
                  </a:lnTo>
                  <a:lnTo>
                    <a:pt x="1964" y="2347"/>
                  </a:lnTo>
                  <a:lnTo>
                    <a:pt x="1967" y="2350"/>
                  </a:lnTo>
                  <a:lnTo>
                    <a:pt x="1970" y="2356"/>
                  </a:lnTo>
                  <a:lnTo>
                    <a:pt x="1973" y="2361"/>
                  </a:lnTo>
                  <a:lnTo>
                    <a:pt x="1976" y="2364"/>
                  </a:lnTo>
                  <a:lnTo>
                    <a:pt x="1981" y="2369"/>
                  </a:lnTo>
                  <a:lnTo>
                    <a:pt x="1984" y="2374"/>
                  </a:lnTo>
                  <a:lnTo>
                    <a:pt x="1989" y="2375"/>
                  </a:lnTo>
                  <a:lnTo>
                    <a:pt x="1994" y="2378"/>
                  </a:lnTo>
                  <a:lnTo>
                    <a:pt x="1999" y="2382"/>
                  </a:lnTo>
                  <a:lnTo>
                    <a:pt x="2005" y="2383"/>
                  </a:lnTo>
                  <a:lnTo>
                    <a:pt x="2010" y="2385"/>
                  </a:lnTo>
                  <a:lnTo>
                    <a:pt x="2014" y="2386"/>
                  </a:lnTo>
                  <a:lnTo>
                    <a:pt x="2021" y="2388"/>
                  </a:lnTo>
                  <a:lnTo>
                    <a:pt x="2030" y="2391"/>
                  </a:lnTo>
                  <a:lnTo>
                    <a:pt x="2043" y="2393"/>
                  </a:lnTo>
                  <a:lnTo>
                    <a:pt x="2054" y="2394"/>
                  </a:lnTo>
                  <a:lnTo>
                    <a:pt x="2063" y="2397"/>
                  </a:lnTo>
                  <a:lnTo>
                    <a:pt x="2068" y="2397"/>
                  </a:lnTo>
                  <a:lnTo>
                    <a:pt x="2074" y="2399"/>
                  </a:lnTo>
                  <a:lnTo>
                    <a:pt x="2079" y="2402"/>
                  </a:lnTo>
                  <a:lnTo>
                    <a:pt x="2084" y="2404"/>
                  </a:lnTo>
                  <a:lnTo>
                    <a:pt x="2089" y="2405"/>
                  </a:lnTo>
                  <a:lnTo>
                    <a:pt x="2092" y="2408"/>
                  </a:lnTo>
                  <a:lnTo>
                    <a:pt x="2097" y="2412"/>
                  </a:lnTo>
                  <a:lnTo>
                    <a:pt x="2100" y="2415"/>
                  </a:lnTo>
                  <a:lnTo>
                    <a:pt x="2103" y="2419"/>
                  </a:lnTo>
                  <a:lnTo>
                    <a:pt x="2106" y="2423"/>
                  </a:lnTo>
                  <a:lnTo>
                    <a:pt x="2109" y="2427"/>
                  </a:lnTo>
                  <a:lnTo>
                    <a:pt x="2109" y="2434"/>
                  </a:lnTo>
                  <a:lnTo>
                    <a:pt x="2103" y="2432"/>
                  </a:lnTo>
                  <a:lnTo>
                    <a:pt x="2097" y="2429"/>
                  </a:lnTo>
                  <a:lnTo>
                    <a:pt x="2092" y="2427"/>
                  </a:lnTo>
                  <a:lnTo>
                    <a:pt x="2089" y="2424"/>
                  </a:lnTo>
                  <a:lnTo>
                    <a:pt x="2084" y="2423"/>
                  </a:lnTo>
                  <a:lnTo>
                    <a:pt x="2081" y="2419"/>
                  </a:lnTo>
                  <a:lnTo>
                    <a:pt x="2076" y="2419"/>
                  </a:lnTo>
                  <a:lnTo>
                    <a:pt x="2071" y="2419"/>
                  </a:lnTo>
                  <a:lnTo>
                    <a:pt x="2067" y="2419"/>
                  </a:lnTo>
                  <a:lnTo>
                    <a:pt x="2062" y="2419"/>
                  </a:lnTo>
                  <a:lnTo>
                    <a:pt x="2059" y="2423"/>
                  </a:lnTo>
                  <a:lnTo>
                    <a:pt x="2055" y="2424"/>
                  </a:lnTo>
                  <a:lnTo>
                    <a:pt x="2051" y="2426"/>
                  </a:lnTo>
                  <a:lnTo>
                    <a:pt x="2048" y="2429"/>
                  </a:lnTo>
                  <a:lnTo>
                    <a:pt x="2046" y="2432"/>
                  </a:lnTo>
                  <a:lnTo>
                    <a:pt x="2041" y="2435"/>
                  </a:lnTo>
                  <a:lnTo>
                    <a:pt x="2040" y="2437"/>
                  </a:lnTo>
                  <a:lnTo>
                    <a:pt x="2040" y="2438"/>
                  </a:lnTo>
                  <a:lnTo>
                    <a:pt x="2040" y="2440"/>
                  </a:lnTo>
                  <a:lnTo>
                    <a:pt x="2040" y="2443"/>
                  </a:lnTo>
                  <a:lnTo>
                    <a:pt x="2041" y="2446"/>
                  </a:lnTo>
                  <a:lnTo>
                    <a:pt x="2044" y="2454"/>
                  </a:lnTo>
                  <a:lnTo>
                    <a:pt x="2049" y="2464"/>
                  </a:lnTo>
                  <a:lnTo>
                    <a:pt x="2054" y="2473"/>
                  </a:lnTo>
                  <a:lnTo>
                    <a:pt x="2059" y="2481"/>
                  </a:lnTo>
                  <a:lnTo>
                    <a:pt x="2060" y="2486"/>
                  </a:lnTo>
                  <a:lnTo>
                    <a:pt x="2062" y="2492"/>
                  </a:lnTo>
                  <a:lnTo>
                    <a:pt x="2063" y="2495"/>
                  </a:lnTo>
                  <a:lnTo>
                    <a:pt x="2063" y="2500"/>
                  </a:lnTo>
                  <a:lnTo>
                    <a:pt x="2057" y="2495"/>
                  </a:lnTo>
                  <a:lnTo>
                    <a:pt x="2051" y="2492"/>
                  </a:lnTo>
                  <a:lnTo>
                    <a:pt x="2044" y="2486"/>
                  </a:lnTo>
                  <a:lnTo>
                    <a:pt x="2038" y="2483"/>
                  </a:lnTo>
                  <a:lnTo>
                    <a:pt x="2033" y="2478"/>
                  </a:lnTo>
                  <a:lnTo>
                    <a:pt x="2029" y="2473"/>
                  </a:lnTo>
                  <a:lnTo>
                    <a:pt x="2022" y="2468"/>
                  </a:lnTo>
                  <a:lnTo>
                    <a:pt x="2019" y="2462"/>
                  </a:lnTo>
                  <a:lnTo>
                    <a:pt x="2010" y="2451"/>
                  </a:lnTo>
                  <a:lnTo>
                    <a:pt x="2002" y="2440"/>
                  </a:lnTo>
                  <a:lnTo>
                    <a:pt x="1994" y="2429"/>
                  </a:lnTo>
                  <a:lnTo>
                    <a:pt x="1986" y="2418"/>
                  </a:lnTo>
                  <a:lnTo>
                    <a:pt x="1980" y="2405"/>
                  </a:lnTo>
                  <a:lnTo>
                    <a:pt x="1972" y="2394"/>
                  </a:lnTo>
                  <a:lnTo>
                    <a:pt x="1969" y="2390"/>
                  </a:lnTo>
                  <a:lnTo>
                    <a:pt x="1964" y="2385"/>
                  </a:lnTo>
                  <a:lnTo>
                    <a:pt x="1959" y="2378"/>
                  </a:lnTo>
                  <a:lnTo>
                    <a:pt x="1954" y="2374"/>
                  </a:lnTo>
                  <a:lnTo>
                    <a:pt x="1950" y="2369"/>
                  </a:lnTo>
                  <a:lnTo>
                    <a:pt x="1945" y="2364"/>
                  </a:lnTo>
                  <a:lnTo>
                    <a:pt x="1940" y="2360"/>
                  </a:lnTo>
                  <a:lnTo>
                    <a:pt x="1934" y="2356"/>
                  </a:lnTo>
                  <a:lnTo>
                    <a:pt x="1928" y="2352"/>
                  </a:lnTo>
                  <a:lnTo>
                    <a:pt x="1923" y="2349"/>
                  </a:lnTo>
                  <a:lnTo>
                    <a:pt x="1915" y="2345"/>
                  </a:lnTo>
                  <a:lnTo>
                    <a:pt x="1909" y="2342"/>
                  </a:lnTo>
                  <a:lnTo>
                    <a:pt x="1904" y="2328"/>
                  </a:lnTo>
                  <a:lnTo>
                    <a:pt x="1896" y="2315"/>
                  </a:lnTo>
                  <a:lnTo>
                    <a:pt x="1890" y="2301"/>
                  </a:lnTo>
                  <a:lnTo>
                    <a:pt x="1880" y="2287"/>
                  </a:lnTo>
                  <a:lnTo>
                    <a:pt x="1872" y="2273"/>
                  </a:lnTo>
                  <a:lnTo>
                    <a:pt x="1861" y="2259"/>
                  </a:lnTo>
                  <a:lnTo>
                    <a:pt x="1852" y="2244"/>
                  </a:lnTo>
                  <a:lnTo>
                    <a:pt x="1841" y="2232"/>
                  </a:lnTo>
                  <a:lnTo>
                    <a:pt x="1830" y="2219"/>
                  </a:lnTo>
                  <a:lnTo>
                    <a:pt x="1817" y="2208"/>
                  </a:lnTo>
                  <a:lnTo>
                    <a:pt x="1812" y="2203"/>
                  </a:lnTo>
                  <a:lnTo>
                    <a:pt x="1806" y="2197"/>
                  </a:lnTo>
                  <a:lnTo>
                    <a:pt x="1801" y="2192"/>
                  </a:lnTo>
                  <a:lnTo>
                    <a:pt x="1795" y="2188"/>
                  </a:lnTo>
                  <a:lnTo>
                    <a:pt x="1790" y="2184"/>
                  </a:lnTo>
                  <a:lnTo>
                    <a:pt x="1784" y="2180"/>
                  </a:lnTo>
                  <a:lnTo>
                    <a:pt x="1779" y="2178"/>
                  </a:lnTo>
                  <a:lnTo>
                    <a:pt x="1773" y="2175"/>
                  </a:lnTo>
                  <a:lnTo>
                    <a:pt x="1768" y="2172"/>
                  </a:lnTo>
                  <a:lnTo>
                    <a:pt x="1762" y="2170"/>
                  </a:lnTo>
                  <a:lnTo>
                    <a:pt x="1757" y="2170"/>
                  </a:lnTo>
                  <a:lnTo>
                    <a:pt x="1752" y="2169"/>
                  </a:lnTo>
                  <a:lnTo>
                    <a:pt x="1743" y="2169"/>
                  </a:lnTo>
                  <a:close/>
                  <a:moveTo>
                    <a:pt x="1923" y="1074"/>
                  </a:moveTo>
                  <a:lnTo>
                    <a:pt x="1918" y="1052"/>
                  </a:lnTo>
                  <a:lnTo>
                    <a:pt x="1918" y="1050"/>
                  </a:lnTo>
                  <a:lnTo>
                    <a:pt x="1916" y="1050"/>
                  </a:lnTo>
                  <a:lnTo>
                    <a:pt x="1916" y="1049"/>
                  </a:lnTo>
                  <a:lnTo>
                    <a:pt x="1916" y="1046"/>
                  </a:lnTo>
                  <a:lnTo>
                    <a:pt x="1916" y="1044"/>
                  </a:lnTo>
                  <a:lnTo>
                    <a:pt x="1918" y="1041"/>
                  </a:lnTo>
                  <a:lnTo>
                    <a:pt x="1920" y="1041"/>
                  </a:lnTo>
                  <a:lnTo>
                    <a:pt x="1920" y="1038"/>
                  </a:lnTo>
                  <a:lnTo>
                    <a:pt x="1923" y="1038"/>
                  </a:lnTo>
                  <a:lnTo>
                    <a:pt x="1937" y="1046"/>
                  </a:lnTo>
                  <a:lnTo>
                    <a:pt x="1937" y="1050"/>
                  </a:lnTo>
                  <a:lnTo>
                    <a:pt x="1937" y="1055"/>
                  </a:lnTo>
                  <a:lnTo>
                    <a:pt x="1937" y="1060"/>
                  </a:lnTo>
                  <a:lnTo>
                    <a:pt x="1937" y="1065"/>
                  </a:lnTo>
                  <a:lnTo>
                    <a:pt x="1939" y="1068"/>
                  </a:lnTo>
                  <a:lnTo>
                    <a:pt x="1939" y="1074"/>
                  </a:lnTo>
                  <a:lnTo>
                    <a:pt x="1940" y="1079"/>
                  </a:lnTo>
                  <a:lnTo>
                    <a:pt x="1940" y="1084"/>
                  </a:lnTo>
                  <a:lnTo>
                    <a:pt x="1942" y="1090"/>
                  </a:lnTo>
                  <a:lnTo>
                    <a:pt x="1943" y="1095"/>
                  </a:lnTo>
                  <a:lnTo>
                    <a:pt x="1943" y="1099"/>
                  </a:lnTo>
                  <a:lnTo>
                    <a:pt x="1943" y="1102"/>
                  </a:lnTo>
                  <a:lnTo>
                    <a:pt x="1940" y="1102"/>
                  </a:lnTo>
                  <a:lnTo>
                    <a:pt x="1940" y="1099"/>
                  </a:lnTo>
                  <a:lnTo>
                    <a:pt x="1939" y="1098"/>
                  </a:lnTo>
                  <a:lnTo>
                    <a:pt x="1937" y="1095"/>
                  </a:lnTo>
                  <a:lnTo>
                    <a:pt x="1937" y="1093"/>
                  </a:lnTo>
                  <a:lnTo>
                    <a:pt x="1935" y="1091"/>
                  </a:lnTo>
                  <a:lnTo>
                    <a:pt x="1934" y="1090"/>
                  </a:lnTo>
                  <a:lnTo>
                    <a:pt x="1932" y="1087"/>
                  </a:lnTo>
                  <a:lnTo>
                    <a:pt x="1929" y="1084"/>
                  </a:lnTo>
                  <a:lnTo>
                    <a:pt x="1926" y="1082"/>
                  </a:lnTo>
                  <a:lnTo>
                    <a:pt x="1924" y="1080"/>
                  </a:lnTo>
                  <a:lnTo>
                    <a:pt x="1923" y="1079"/>
                  </a:lnTo>
                  <a:lnTo>
                    <a:pt x="1923" y="1077"/>
                  </a:lnTo>
                  <a:lnTo>
                    <a:pt x="1923" y="1074"/>
                  </a:lnTo>
                  <a:close/>
                  <a:moveTo>
                    <a:pt x="1660" y="1989"/>
                  </a:moveTo>
                  <a:lnTo>
                    <a:pt x="1654" y="1990"/>
                  </a:lnTo>
                  <a:lnTo>
                    <a:pt x="1651" y="1990"/>
                  </a:lnTo>
                  <a:lnTo>
                    <a:pt x="1648" y="1994"/>
                  </a:lnTo>
                  <a:lnTo>
                    <a:pt x="1646" y="1995"/>
                  </a:lnTo>
                  <a:lnTo>
                    <a:pt x="1645" y="1997"/>
                  </a:lnTo>
                  <a:lnTo>
                    <a:pt x="1645" y="1998"/>
                  </a:lnTo>
                  <a:lnTo>
                    <a:pt x="1643" y="1998"/>
                  </a:lnTo>
                  <a:lnTo>
                    <a:pt x="1643" y="2001"/>
                  </a:lnTo>
                  <a:lnTo>
                    <a:pt x="1643" y="2005"/>
                  </a:lnTo>
                  <a:lnTo>
                    <a:pt x="1643" y="2011"/>
                  </a:lnTo>
                  <a:lnTo>
                    <a:pt x="1656" y="2014"/>
                  </a:lnTo>
                  <a:lnTo>
                    <a:pt x="1667" y="2016"/>
                  </a:lnTo>
                  <a:lnTo>
                    <a:pt x="1668" y="2016"/>
                  </a:lnTo>
                  <a:lnTo>
                    <a:pt x="1670" y="2016"/>
                  </a:lnTo>
                  <a:lnTo>
                    <a:pt x="1672" y="2016"/>
                  </a:lnTo>
                  <a:lnTo>
                    <a:pt x="1675" y="2014"/>
                  </a:lnTo>
                  <a:lnTo>
                    <a:pt x="1676" y="2013"/>
                  </a:lnTo>
                  <a:lnTo>
                    <a:pt x="1678" y="2011"/>
                  </a:lnTo>
                  <a:lnTo>
                    <a:pt x="1679" y="2009"/>
                  </a:lnTo>
                  <a:lnTo>
                    <a:pt x="1683" y="2008"/>
                  </a:lnTo>
                  <a:lnTo>
                    <a:pt x="1676" y="2001"/>
                  </a:lnTo>
                  <a:lnTo>
                    <a:pt x="1672" y="1998"/>
                  </a:lnTo>
                  <a:lnTo>
                    <a:pt x="1667" y="1997"/>
                  </a:lnTo>
                  <a:lnTo>
                    <a:pt x="1665" y="1994"/>
                  </a:lnTo>
                  <a:lnTo>
                    <a:pt x="1662" y="1990"/>
                  </a:lnTo>
                  <a:lnTo>
                    <a:pt x="1660" y="1989"/>
                  </a:lnTo>
                  <a:close/>
                  <a:moveTo>
                    <a:pt x="1281" y="126"/>
                  </a:moveTo>
                  <a:lnTo>
                    <a:pt x="1277" y="128"/>
                  </a:lnTo>
                  <a:lnTo>
                    <a:pt x="1272" y="131"/>
                  </a:lnTo>
                  <a:lnTo>
                    <a:pt x="1267" y="134"/>
                  </a:lnTo>
                  <a:lnTo>
                    <a:pt x="1262" y="137"/>
                  </a:lnTo>
                  <a:lnTo>
                    <a:pt x="1259" y="142"/>
                  </a:lnTo>
                  <a:lnTo>
                    <a:pt x="1254" y="145"/>
                  </a:lnTo>
                  <a:lnTo>
                    <a:pt x="1251" y="150"/>
                  </a:lnTo>
                  <a:lnTo>
                    <a:pt x="1248" y="154"/>
                  </a:lnTo>
                  <a:lnTo>
                    <a:pt x="1247" y="159"/>
                  </a:lnTo>
                  <a:lnTo>
                    <a:pt x="1243" y="164"/>
                  </a:lnTo>
                  <a:lnTo>
                    <a:pt x="1242" y="169"/>
                  </a:lnTo>
                  <a:lnTo>
                    <a:pt x="1240" y="175"/>
                  </a:lnTo>
                  <a:lnTo>
                    <a:pt x="1239" y="180"/>
                  </a:lnTo>
                  <a:lnTo>
                    <a:pt x="1237" y="188"/>
                  </a:lnTo>
                  <a:lnTo>
                    <a:pt x="1237" y="192"/>
                  </a:lnTo>
                  <a:lnTo>
                    <a:pt x="1237" y="200"/>
                  </a:lnTo>
                  <a:lnTo>
                    <a:pt x="1237" y="207"/>
                  </a:lnTo>
                  <a:lnTo>
                    <a:pt x="1237" y="211"/>
                  </a:lnTo>
                  <a:lnTo>
                    <a:pt x="1239" y="216"/>
                  </a:lnTo>
                  <a:lnTo>
                    <a:pt x="1240" y="221"/>
                  </a:lnTo>
                  <a:lnTo>
                    <a:pt x="1242" y="224"/>
                  </a:lnTo>
                  <a:lnTo>
                    <a:pt x="1243" y="225"/>
                  </a:lnTo>
                  <a:lnTo>
                    <a:pt x="1247" y="229"/>
                  </a:lnTo>
                  <a:lnTo>
                    <a:pt x="1250" y="230"/>
                  </a:lnTo>
                  <a:lnTo>
                    <a:pt x="1253" y="232"/>
                  </a:lnTo>
                  <a:lnTo>
                    <a:pt x="1258" y="233"/>
                  </a:lnTo>
                  <a:lnTo>
                    <a:pt x="1261" y="233"/>
                  </a:lnTo>
                  <a:lnTo>
                    <a:pt x="1264" y="235"/>
                  </a:lnTo>
                  <a:lnTo>
                    <a:pt x="1272" y="236"/>
                  </a:lnTo>
                  <a:lnTo>
                    <a:pt x="1281" y="236"/>
                  </a:lnTo>
                  <a:lnTo>
                    <a:pt x="1281" y="126"/>
                  </a:lnTo>
                  <a:close/>
                  <a:moveTo>
                    <a:pt x="2278" y="1091"/>
                  </a:moveTo>
                  <a:lnTo>
                    <a:pt x="2269" y="1093"/>
                  </a:lnTo>
                  <a:lnTo>
                    <a:pt x="2266" y="1090"/>
                  </a:lnTo>
                  <a:lnTo>
                    <a:pt x="2266" y="1088"/>
                  </a:lnTo>
                  <a:lnTo>
                    <a:pt x="2266" y="1085"/>
                  </a:lnTo>
                  <a:lnTo>
                    <a:pt x="2266" y="1082"/>
                  </a:lnTo>
                  <a:lnTo>
                    <a:pt x="2269" y="1080"/>
                  </a:lnTo>
                  <a:lnTo>
                    <a:pt x="2270" y="1079"/>
                  </a:lnTo>
                  <a:lnTo>
                    <a:pt x="2274" y="1077"/>
                  </a:lnTo>
                  <a:lnTo>
                    <a:pt x="2277" y="1077"/>
                  </a:lnTo>
                  <a:lnTo>
                    <a:pt x="2281" y="1076"/>
                  </a:lnTo>
                  <a:lnTo>
                    <a:pt x="2286" y="1076"/>
                  </a:lnTo>
                  <a:lnTo>
                    <a:pt x="2289" y="1076"/>
                  </a:lnTo>
                  <a:lnTo>
                    <a:pt x="2294" y="1076"/>
                  </a:lnTo>
                  <a:lnTo>
                    <a:pt x="2296" y="1077"/>
                  </a:lnTo>
                  <a:lnTo>
                    <a:pt x="2297" y="1077"/>
                  </a:lnTo>
                  <a:lnTo>
                    <a:pt x="2297" y="1079"/>
                  </a:lnTo>
                  <a:lnTo>
                    <a:pt x="2299" y="1080"/>
                  </a:lnTo>
                  <a:lnTo>
                    <a:pt x="2294" y="1082"/>
                  </a:lnTo>
                  <a:lnTo>
                    <a:pt x="2291" y="1084"/>
                  </a:lnTo>
                  <a:lnTo>
                    <a:pt x="2289" y="1085"/>
                  </a:lnTo>
                  <a:lnTo>
                    <a:pt x="2289" y="1087"/>
                  </a:lnTo>
                  <a:lnTo>
                    <a:pt x="2289" y="1088"/>
                  </a:lnTo>
                  <a:lnTo>
                    <a:pt x="2278" y="1091"/>
                  </a:lnTo>
                  <a:close/>
                  <a:moveTo>
                    <a:pt x="2237" y="1121"/>
                  </a:moveTo>
                  <a:lnTo>
                    <a:pt x="2229" y="1121"/>
                  </a:lnTo>
                  <a:lnTo>
                    <a:pt x="2223" y="1121"/>
                  </a:lnTo>
                  <a:lnTo>
                    <a:pt x="2218" y="1120"/>
                  </a:lnTo>
                  <a:lnTo>
                    <a:pt x="2215" y="1120"/>
                  </a:lnTo>
                  <a:lnTo>
                    <a:pt x="2212" y="1118"/>
                  </a:lnTo>
                  <a:lnTo>
                    <a:pt x="2210" y="1115"/>
                  </a:lnTo>
                  <a:lnTo>
                    <a:pt x="2209" y="1117"/>
                  </a:lnTo>
                  <a:lnTo>
                    <a:pt x="2207" y="1118"/>
                  </a:lnTo>
                  <a:lnTo>
                    <a:pt x="2206" y="1118"/>
                  </a:lnTo>
                  <a:lnTo>
                    <a:pt x="2204" y="1121"/>
                  </a:lnTo>
                  <a:lnTo>
                    <a:pt x="2202" y="1123"/>
                  </a:lnTo>
                  <a:lnTo>
                    <a:pt x="2202" y="1136"/>
                  </a:lnTo>
                  <a:lnTo>
                    <a:pt x="2207" y="1136"/>
                  </a:lnTo>
                  <a:lnTo>
                    <a:pt x="2209" y="1136"/>
                  </a:lnTo>
                  <a:lnTo>
                    <a:pt x="2212" y="1136"/>
                  </a:lnTo>
                  <a:lnTo>
                    <a:pt x="2217" y="1136"/>
                  </a:lnTo>
                  <a:lnTo>
                    <a:pt x="2225" y="1136"/>
                  </a:lnTo>
                  <a:lnTo>
                    <a:pt x="2236" y="1136"/>
                  </a:lnTo>
                  <a:lnTo>
                    <a:pt x="2239" y="1136"/>
                  </a:lnTo>
                  <a:lnTo>
                    <a:pt x="2240" y="1134"/>
                  </a:lnTo>
                  <a:lnTo>
                    <a:pt x="2243" y="1132"/>
                  </a:lnTo>
                  <a:lnTo>
                    <a:pt x="2245" y="1131"/>
                  </a:lnTo>
                  <a:lnTo>
                    <a:pt x="2247" y="1128"/>
                  </a:lnTo>
                  <a:lnTo>
                    <a:pt x="2248" y="1121"/>
                  </a:lnTo>
                  <a:lnTo>
                    <a:pt x="2243" y="1121"/>
                  </a:lnTo>
                  <a:lnTo>
                    <a:pt x="2237" y="1121"/>
                  </a:lnTo>
                  <a:close/>
                  <a:moveTo>
                    <a:pt x="2243" y="1719"/>
                  </a:moveTo>
                  <a:lnTo>
                    <a:pt x="2239" y="1718"/>
                  </a:lnTo>
                  <a:lnTo>
                    <a:pt x="2236" y="1718"/>
                  </a:lnTo>
                  <a:lnTo>
                    <a:pt x="2232" y="1718"/>
                  </a:lnTo>
                  <a:lnTo>
                    <a:pt x="2229" y="1721"/>
                  </a:lnTo>
                  <a:lnTo>
                    <a:pt x="2228" y="1722"/>
                  </a:lnTo>
                  <a:lnTo>
                    <a:pt x="2228" y="1725"/>
                  </a:lnTo>
                  <a:lnTo>
                    <a:pt x="2228" y="1727"/>
                  </a:lnTo>
                  <a:lnTo>
                    <a:pt x="2228" y="1729"/>
                  </a:lnTo>
                  <a:lnTo>
                    <a:pt x="2229" y="1729"/>
                  </a:lnTo>
                  <a:lnTo>
                    <a:pt x="2232" y="1730"/>
                  </a:lnTo>
                  <a:lnTo>
                    <a:pt x="2236" y="1732"/>
                  </a:lnTo>
                  <a:lnTo>
                    <a:pt x="2239" y="1733"/>
                  </a:lnTo>
                  <a:lnTo>
                    <a:pt x="2240" y="1733"/>
                  </a:lnTo>
                  <a:lnTo>
                    <a:pt x="2243" y="1733"/>
                  </a:lnTo>
                  <a:lnTo>
                    <a:pt x="2243" y="1729"/>
                  </a:lnTo>
                  <a:lnTo>
                    <a:pt x="2243" y="1725"/>
                  </a:lnTo>
                  <a:lnTo>
                    <a:pt x="2243" y="1722"/>
                  </a:lnTo>
                  <a:lnTo>
                    <a:pt x="2243" y="1719"/>
                  </a:lnTo>
                  <a:close/>
                  <a:moveTo>
                    <a:pt x="2266" y="1689"/>
                  </a:moveTo>
                  <a:lnTo>
                    <a:pt x="2262" y="1689"/>
                  </a:lnTo>
                  <a:lnTo>
                    <a:pt x="2261" y="1688"/>
                  </a:lnTo>
                  <a:lnTo>
                    <a:pt x="2259" y="1688"/>
                  </a:lnTo>
                  <a:lnTo>
                    <a:pt x="2258" y="1686"/>
                  </a:lnTo>
                  <a:lnTo>
                    <a:pt x="2258" y="1692"/>
                  </a:lnTo>
                  <a:lnTo>
                    <a:pt x="2258" y="1697"/>
                  </a:lnTo>
                  <a:lnTo>
                    <a:pt x="2258" y="1699"/>
                  </a:lnTo>
                  <a:lnTo>
                    <a:pt x="2259" y="1700"/>
                  </a:lnTo>
                  <a:lnTo>
                    <a:pt x="2261" y="1702"/>
                  </a:lnTo>
                  <a:lnTo>
                    <a:pt x="2262" y="1702"/>
                  </a:lnTo>
                  <a:lnTo>
                    <a:pt x="2266" y="1703"/>
                  </a:lnTo>
                  <a:lnTo>
                    <a:pt x="2269" y="1703"/>
                  </a:lnTo>
                  <a:lnTo>
                    <a:pt x="2270" y="1703"/>
                  </a:lnTo>
                  <a:lnTo>
                    <a:pt x="2272" y="1702"/>
                  </a:lnTo>
                  <a:lnTo>
                    <a:pt x="2274" y="1702"/>
                  </a:lnTo>
                  <a:lnTo>
                    <a:pt x="2275" y="1702"/>
                  </a:lnTo>
                  <a:lnTo>
                    <a:pt x="2277" y="1700"/>
                  </a:lnTo>
                  <a:lnTo>
                    <a:pt x="2277" y="1699"/>
                  </a:lnTo>
                  <a:lnTo>
                    <a:pt x="2277" y="1697"/>
                  </a:lnTo>
                  <a:lnTo>
                    <a:pt x="2266" y="1689"/>
                  </a:lnTo>
                  <a:close/>
                  <a:moveTo>
                    <a:pt x="2258" y="1710"/>
                  </a:moveTo>
                  <a:lnTo>
                    <a:pt x="2266" y="1711"/>
                  </a:lnTo>
                  <a:lnTo>
                    <a:pt x="2270" y="1713"/>
                  </a:lnTo>
                  <a:lnTo>
                    <a:pt x="2272" y="1713"/>
                  </a:lnTo>
                  <a:lnTo>
                    <a:pt x="2274" y="1713"/>
                  </a:lnTo>
                  <a:lnTo>
                    <a:pt x="2275" y="1714"/>
                  </a:lnTo>
                  <a:lnTo>
                    <a:pt x="2277" y="1716"/>
                  </a:lnTo>
                  <a:lnTo>
                    <a:pt x="2277" y="1718"/>
                  </a:lnTo>
                  <a:lnTo>
                    <a:pt x="2277" y="1722"/>
                  </a:lnTo>
                  <a:lnTo>
                    <a:pt x="2277" y="1725"/>
                  </a:lnTo>
                  <a:lnTo>
                    <a:pt x="2278" y="1730"/>
                  </a:lnTo>
                  <a:lnTo>
                    <a:pt x="2278" y="1733"/>
                  </a:lnTo>
                  <a:lnTo>
                    <a:pt x="2278" y="1735"/>
                  </a:lnTo>
                  <a:lnTo>
                    <a:pt x="2280" y="1738"/>
                  </a:lnTo>
                  <a:lnTo>
                    <a:pt x="2281" y="1740"/>
                  </a:lnTo>
                  <a:lnTo>
                    <a:pt x="2281" y="1748"/>
                  </a:lnTo>
                  <a:lnTo>
                    <a:pt x="2281" y="1755"/>
                  </a:lnTo>
                  <a:lnTo>
                    <a:pt x="2281" y="1763"/>
                  </a:lnTo>
                  <a:lnTo>
                    <a:pt x="2281" y="1770"/>
                  </a:lnTo>
                  <a:lnTo>
                    <a:pt x="2281" y="1771"/>
                  </a:lnTo>
                  <a:lnTo>
                    <a:pt x="2280" y="1774"/>
                  </a:lnTo>
                  <a:lnTo>
                    <a:pt x="2278" y="1774"/>
                  </a:lnTo>
                  <a:lnTo>
                    <a:pt x="2277" y="1776"/>
                  </a:lnTo>
                  <a:lnTo>
                    <a:pt x="2274" y="1776"/>
                  </a:lnTo>
                  <a:lnTo>
                    <a:pt x="2272" y="1776"/>
                  </a:lnTo>
                  <a:lnTo>
                    <a:pt x="2270" y="1774"/>
                  </a:lnTo>
                  <a:lnTo>
                    <a:pt x="2267" y="1774"/>
                  </a:lnTo>
                  <a:lnTo>
                    <a:pt x="2266" y="1771"/>
                  </a:lnTo>
                  <a:lnTo>
                    <a:pt x="2262" y="1768"/>
                  </a:lnTo>
                  <a:lnTo>
                    <a:pt x="2261" y="1765"/>
                  </a:lnTo>
                  <a:lnTo>
                    <a:pt x="2259" y="1762"/>
                  </a:lnTo>
                  <a:lnTo>
                    <a:pt x="2258" y="1760"/>
                  </a:lnTo>
                  <a:lnTo>
                    <a:pt x="2259" y="1757"/>
                  </a:lnTo>
                  <a:lnTo>
                    <a:pt x="2261" y="1754"/>
                  </a:lnTo>
                  <a:lnTo>
                    <a:pt x="2261" y="1752"/>
                  </a:lnTo>
                  <a:lnTo>
                    <a:pt x="2261" y="1751"/>
                  </a:lnTo>
                  <a:lnTo>
                    <a:pt x="2262" y="1748"/>
                  </a:lnTo>
                  <a:lnTo>
                    <a:pt x="2264" y="1746"/>
                  </a:lnTo>
                  <a:lnTo>
                    <a:pt x="2264" y="1743"/>
                  </a:lnTo>
                  <a:lnTo>
                    <a:pt x="2264" y="1741"/>
                  </a:lnTo>
                  <a:lnTo>
                    <a:pt x="2264" y="1738"/>
                  </a:lnTo>
                  <a:lnTo>
                    <a:pt x="2264" y="1735"/>
                  </a:lnTo>
                  <a:lnTo>
                    <a:pt x="2262" y="1733"/>
                  </a:lnTo>
                  <a:lnTo>
                    <a:pt x="2261" y="1730"/>
                  </a:lnTo>
                  <a:lnTo>
                    <a:pt x="2261" y="1729"/>
                  </a:lnTo>
                  <a:lnTo>
                    <a:pt x="2259" y="1725"/>
                  </a:lnTo>
                  <a:lnTo>
                    <a:pt x="2258" y="1722"/>
                  </a:lnTo>
                  <a:lnTo>
                    <a:pt x="2258" y="1721"/>
                  </a:lnTo>
                  <a:lnTo>
                    <a:pt x="2258" y="1716"/>
                  </a:lnTo>
                  <a:lnTo>
                    <a:pt x="2258" y="1713"/>
                  </a:lnTo>
                  <a:lnTo>
                    <a:pt x="2258" y="1710"/>
                  </a:lnTo>
                  <a:close/>
                  <a:moveTo>
                    <a:pt x="2315" y="1850"/>
                  </a:moveTo>
                  <a:lnTo>
                    <a:pt x="2310" y="1844"/>
                  </a:lnTo>
                  <a:lnTo>
                    <a:pt x="2307" y="1844"/>
                  </a:lnTo>
                  <a:lnTo>
                    <a:pt x="2307" y="1845"/>
                  </a:lnTo>
                  <a:lnTo>
                    <a:pt x="2305" y="1845"/>
                  </a:lnTo>
                  <a:lnTo>
                    <a:pt x="2304" y="1847"/>
                  </a:lnTo>
                  <a:lnTo>
                    <a:pt x="2304" y="1848"/>
                  </a:lnTo>
                  <a:lnTo>
                    <a:pt x="2304" y="1850"/>
                  </a:lnTo>
                  <a:lnTo>
                    <a:pt x="2305" y="1852"/>
                  </a:lnTo>
                  <a:lnTo>
                    <a:pt x="2307" y="1853"/>
                  </a:lnTo>
                  <a:lnTo>
                    <a:pt x="2311" y="1853"/>
                  </a:lnTo>
                  <a:lnTo>
                    <a:pt x="2313" y="1853"/>
                  </a:lnTo>
                  <a:lnTo>
                    <a:pt x="2315" y="1853"/>
                  </a:lnTo>
                  <a:lnTo>
                    <a:pt x="2315" y="1852"/>
                  </a:lnTo>
                  <a:lnTo>
                    <a:pt x="2315" y="1850"/>
                  </a:lnTo>
                  <a:close/>
                  <a:moveTo>
                    <a:pt x="2318" y="1872"/>
                  </a:moveTo>
                  <a:lnTo>
                    <a:pt x="2315" y="1872"/>
                  </a:lnTo>
                  <a:lnTo>
                    <a:pt x="2313" y="1874"/>
                  </a:lnTo>
                  <a:lnTo>
                    <a:pt x="2311" y="1875"/>
                  </a:lnTo>
                  <a:lnTo>
                    <a:pt x="2310" y="1880"/>
                  </a:lnTo>
                  <a:lnTo>
                    <a:pt x="2310" y="1883"/>
                  </a:lnTo>
                  <a:lnTo>
                    <a:pt x="2310" y="1886"/>
                  </a:lnTo>
                  <a:lnTo>
                    <a:pt x="2310" y="1888"/>
                  </a:lnTo>
                  <a:lnTo>
                    <a:pt x="2311" y="1890"/>
                  </a:lnTo>
                  <a:lnTo>
                    <a:pt x="2311" y="1891"/>
                  </a:lnTo>
                  <a:lnTo>
                    <a:pt x="2313" y="1891"/>
                  </a:lnTo>
                  <a:lnTo>
                    <a:pt x="2315" y="1891"/>
                  </a:lnTo>
                  <a:lnTo>
                    <a:pt x="2316" y="1893"/>
                  </a:lnTo>
                  <a:lnTo>
                    <a:pt x="2318" y="1893"/>
                  </a:lnTo>
                  <a:lnTo>
                    <a:pt x="2318" y="1891"/>
                  </a:lnTo>
                  <a:lnTo>
                    <a:pt x="2319" y="1891"/>
                  </a:lnTo>
                  <a:lnTo>
                    <a:pt x="2321" y="1890"/>
                  </a:lnTo>
                  <a:lnTo>
                    <a:pt x="2322" y="1886"/>
                  </a:lnTo>
                  <a:lnTo>
                    <a:pt x="2322" y="1883"/>
                  </a:lnTo>
                  <a:lnTo>
                    <a:pt x="2322" y="1878"/>
                  </a:lnTo>
                  <a:lnTo>
                    <a:pt x="2322" y="1875"/>
                  </a:lnTo>
                  <a:lnTo>
                    <a:pt x="2321" y="1874"/>
                  </a:lnTo>
                  <a:lnTo>
                    <a:pt x="2319" y="1874"/>
                  </a:lnTo>
                  <a:lnTo>
                    <a:pt x="2318" y="1872"/>
                  </a:lnTo>
                  <a:close/>
                  <a:moveTo>
                    <a:pt x="2335" y="1956"/>
                  </a:moveTo>
                  <a:lnTo>
                    <a:pt x="2332" y="1953"/>
                  </a:lnTo>
                  <a:lnTo>
                    <a:pt x="2329" y="1951"/>
                  </a:lnTo>
                  <a:lnTo>
                    <a:pt x="2329" y="1943"/>
                  </a:lnTo>
                  <a:lnTo>
                    <a:pt x="2332" y="1945"/>
                  </a:lnTo>
                  <a:lnTo>
                    <a:pt x="2335" y="1945"/>
                  </a:lnTo>
                  <a:lnTo>
                    <a:pt x="2337" y="1946"/>
                  </a:lnTo>
                  <a:lnTo>
                    <a:pt x="2338" y="1948"/>
                  </a:lnTo>
                  <a:lnTo>
                    <a:pt x="2340" y="1951"/>
                  </a:lnTo>
                  <a:lnTo>
                    <a:pt x="2337" y="1953"/>
                  </a:lnTo>
                  <a:lnTo>
                    <a:pt x="2335" y="1956"/>
                  </a:lnTo>
                  <a:close/>
                  <a:moveTo>
                    <a:pt x="2353" y="1973"/>
                  </a:moveTo>
                  <a:lnTo>
                    <a:pt x="2348" y="1970"/>
                  </a:lnTo>
                  <a:lnTo>
                    <a:pt x="2343" y="1967"/>
                  </a:lnTo>
                  <a:lnTo>
                    <a:pt x="2343" y="1970"/>
                  </a:lnTo>
                  <a:lnTo>
                    <a:pt x="2343" y="1975"/>
                  </a:lnTo>
                  <a:lnTo>
                    <a:pt x="2343" y="1976"/>
                  </a:lnTo>
                  <a:lnTo>
                    <a:pt x="2345" y="1978"/>
                  </a:lnTo>
                  <a:lnTo>
                    <a:pt x="2345" y="1979"/>
                  </a:lnTo>
                  <a:lnTo>
                    <a:pt x="2348" y="1981"/>
                  </a:lnTo>
                  <a:lnTo>
                    <a:pt x="2348" y="1979"/>
                  </a:lnTo>
                  <a:lnTo>
                    <a:pt x="2351" y="1978"/>
                  </a:lnTo>
                  <a:lnTo>
                    <a:pt x="2353" y="1976"/>
                  </a:lnTo>
                  <a:lnTo>
                    <a:pt x="2354" y="1975"/>
                  </a:lnTo>
                  <a:lnTo>
                    <a:pt x="2353" y="1973"/>
                  </a:lnTo>
                  <a:close/>
                  <a:moveTo>
                    <a:pt x="2353" y="2024"/>
                  </a:moveTo>
                  <a:lnTo>
                    <a:pt x="2351" y="2024"/>
                  </a:lnTo>
                  <a:lnTo>
                    <a:pt x="2349" y="2024"/>
                  </a:lnTo>
                  <a:lnTo>
                    <a:pt x="2348" y="2022"/>
                  </a:lnTo>
                  <a:lnTo>
                    <a:pt x="2346" y="2020"/>
                  </a:lnTo>
                  <a:lnTo>
                    <a:pt x="2346" y="2019"/>
                  </a:lnTo>
                  <a:lnTo>
                    <a:pt x="2346" y="2017"/>
                  </a:lnTo>
                  <a:lnTo>
                    <a:pt x="2346" y="2014"/>
                  </a:lnTo>
                  <a:lnTo>
                    <a:pt x="2346" y="2011"/>
                  </a:lnTo>
                  <a:lnTo>
                    <a:pt x="2348" y="2011"/>
                  </a:lnTo>
                  <a:lnTo>
                    <a:pt x="2348" y="2008"/>
                  </a:lnTo>
                  <a:lnTo>
                    <a:pt x="2351" y="2009"/>
                  </a:lnTo>
                  <a:lnTo>
                    <a:pt x="2354" y="2011"/>
                  </a:lnTo>
                  <a:lnTo>
                    <a:pt x="2354" y="2017"/>
                  </a:lnTo>
                  <a:lnTo>
                    <a:pt x="2354" y="2022"/>
                  </a:lnTo>
                  <a:lnTo>
                    <a:pt x="2353" y="2024"/>
                  </a:lnTo>
                  <a:close/>
                  <a:moveTo>
                    <a:pt x="2357" y="2072"/>
                  </a:moveTo>
                  <a:lnTo>
                    <a:pt x="2357" y="2060"/>
                  </a:lnTo>
                  <a:lnTo>
                    <a:pt x="2356" y="2057"/>
                  </a:lnTo>
                  <a:lnTo>
                    <a:pt x="2356" y="2055"/>
                  </a:lnTo>
                  <a:lnTo>
                    <a:pt x="2353" y="2054"/>
                  </a:lnTo>
                  <a:lnTo>
                    <a:pt x="2351" y="2050"/>
                  </a:lnTo>
                  <a:lnTo>
                    <a:pt x="2351" y="2049"/>
                  </a:lnTo>
                  <a:lnTo>
                    <a:pt x="2349" y="2046"/>
                  </a:lnTo>
                  <a:lnTo>
                    <a:pt x="2348" y="2043"/>
                  </a:lnTo>
                  <a:lnTo>
                    <a:pt x="2349" y="2041"/>
                  </a:lnTo>
                  <a:lnTo>
                    <a:pt x="2349" y="2039"/>
                  </a:lnTo>
                  <a:lnTo>
                    <a:pt x="2349" y="2038"/>
                  </a:lnTo>
                  <a:lnTo>
                    <a:pt x="2351" y="2036"/>
                  </a:lnTo>
                  <a:lnTo>
                    <a:pt x="2353" y="2036"/>
                  </a:lnTo>
                  <a:lnTo>
                    <a:pt x="2354" y="2035"/>
                  </a:lnTo>
                  <a:lnTo>
                    <a:pt x="2357" y="2041"/>
                  </a:lnTo>
                  <a:lnTo>
                    <a:pt x="2364" y="2047"/>
                  </a:lnTo>
                  <a:lnTo>
                    <a:pt x="2364" y="2052"/>
                  </a:lnTo>
                  <a:lnTo>
                    <a:pt x="2365" y="2055"/>
                  </a:lnTo>
                  <a:lnTo>
                    <a:pt x="2367" y="2060"/>
                  </a:lnTo>
                  <a:lnTo>
                    <a:pt x="2367" y="2066"/>
                  </a:lnTo>
                  <a:lnTo>
                    <a:pt x="2367" y="2071"/>
                  </a:lnTo>
                  <a:lnTo>
                    <a:pt x="2367" y="2072"/>
                  </a:lnTo>
                  <a:lnTo>
                    <a:pt x="2365" y="2074"/>
                  </a:lnTo>
                  <a:lnTo>
                    <a:pt x="2365" y="2076"/>
                  </a:lnTo>
                  <a:lnTo>
                    <a:pt x="2364" y="2076"/>
                  </a:lnTo>
                  <a:lnTo>
                    <a:pt x="2360" y="2074"/>
                  </a:lnTo>
                  <a:lnTo>
                    <a:pt x="2357" y="2072"/>
                  </a:lnTo>
                  <a:close/>
                  <a:moveTo>
                    <a:pt x="2362" y="2169"/>
                  </a:moveTo>
                  <a:lnTo>
                    <a:pt x="2362" y="2178"/>
                  </a:lnTo>
                  <a:lnTo>
                    <a:pt x="2362" y="2188"/>
                  </a:lnTo>
                  <a:lnTo>
                    <a:pt x="2362" y="2196"/>
                  </a:lnTo>
                  <a:lnTo>
                    <a:pt x="2362" y="2202"/>
                  </a:lnTo>
                  <a:lnTo>
                    <a:pt x="2360" y="2207"/>
                  </a:lnTo>
                  <a:lnTo>
                    <a:pt x="2359" y="2214"/>
                  </a:lnTo>
                  <a:lnTo>
                    <a:pt x="2357" y="2219"/>
                  </a:lnTo>
                  <a:lnTo>
                    <a:pt x="2356" y="2222"/>
                  </a:lnTo>
                  <a:lnTo>
                    <a:pt x="2356" y="2225"/>
                  </a:lnTo>
                  <a:lnTo>
                    <a:pt x="2354" y="2225"/>
                  </a:lnTo>
                  <a:lnTo>
                    <a:pt x="2349" y="2218"/>
                  </a:lnTo>
                  <a:lnTo>
                    <a:pt x="2345" y="2210"/>
                  </a:lnTo>
                  <a:lnTo>
                    <a:pt x="2343" y="2205"/>
                  </a:lnTo>
                  <a:lnTo>
                    <a:pt x="2341" y="2200"/>
                  </a:lnTo>
                  <a:lnTo>
                    <a:pt x="2340" y="2196"/>
                  </a:lnTo>
                  <a:lnTo>
                    <a:pt x="2340" y="2189"/>
                  </a:lnTo>
                  <a:lnTo>
                    <a:pt x="2340" y="2181"/>
                  </a:lnTo>
                  <a:lnTo>
                    <a:pt x="2341" y="2173"/>
                  </a:lnTo>
                  <a:lnTo>
                    <a:pt x="2343" y="2167"/>
                  </a:lnTo>
                  <a:lnTo>
                    <a:pt x="2343" y="2159"/>
                  </a:lnTo>
                  <a:lnTo>
                    <a:pt x="2343" y="2158"/>
                  </a:lnTo>
                  <a:lnTo>
                    <a:pt x="2343" y="2154"/>
                  </a:lnTo>
                  <a:lnTo>
                    <a:pt x="2345" y="2154"/>
                  </a:lnTo>
                  <a:lnTo>
                    <a:pt x="2345" y="2153"/>
                  </a:lnTo>
                  <a:lnTo>
                    <a:pt x="2346" y="2153"/>
                  </a:lnTo>
                  <a:lnTo>
                    <a:pt x="2348" y="2153"/>
                  </a:lnTo>
                  <a:lnTo>
                    <a:pt x="2351" y="2153"/>
                  </a:lnTo>
                  <a:lnTo>
                    <a:pt x="2353" y="2154"/>
                  </a:lnTo>
                  <a:lnTo>
                    <a:pt x="2354" y="2154"/>
                  </a:lnTo>
                  <a:lnTo>
                    <a:pt x="2356" y="2158"/>
                  </a:lnTo>
                  <a:lnTo>
                    <a:pt x="2357" y="2158"/>
                  </a:lnTo>
                  <a:lnTo>
                    <a:pt x="2359" y="2159"/>
                  </a:lnTo>
                  <a:lnTo>
                    <a:pt x="2360" y="2162"/>
                  </a:lnTo>
                  <a:lnTo>
                    <a:pt x="2360" y="2164"/>
                  </a:lnTo>
                  <a:lnTo>
                    <a:pt x="2360" y="2166"/>
                  </a:lnTo>
                  <a:lnTo>
                    <a:pt x="2362" y="2169"/>
                  </a:lnTo>
                  <a:close/>
                  <a:moveTo>
                    <a:pt x="2360" y="2426"/>
                  </a:moveTo>
                  <a:lnTo>
                    <a:pt x="2360" y="2426"/>
                  </a:lnTo>
                  <a:lnTo>
                    <a:pt x="2359" y="2426"/>
                  </a:lnTo>
                  <a:lnTo>
                    <a:pt x="2357" y="2424"/>
                  </a:lnTo>
                  <a:lnTo>
                    <a:pt x="2357" y="2423"/>
                  </a:lnTo>
                  <a:lnTo>
                    <a:pt x="2356" y="2421"/>
                  </a:lnTo>
                  <a:lnTo>
                    <a:pt x="2354" y="2421"/>
                  </a:lnTo>
                  <a:lnTo>
                    <a:pt x="2353" y="2423"/>
                  </a:lnTo>
                  <a:lnTo>
                    <a:pt x="2351" y="2424"/>
                  </a:lnTo>
                  <a:lnTo>
                    <a:pt x="2351" y="2426"/>
                  </a:lnTo>
                  <a:lnTo>
                    <a:pt x="2349" y="2429"/>
                  </a:lnTo>
                  <a:lnTo>
                    <a:pt x="2349" y="2432"/>
                  </a:lnTo>
                  <a:lnTo>
                    <a:pt x="2348" y="2435"/>
                  </a:lnTo>
                  <a:lnTo>
                    <a:pt x="2348" y="2438"/>
                  </a:lnTo>
                  <a:lnTo>
                    <a:pt x="2349" y="2440"/>
                  </a:lnTo>
                  <a:lnTo>
                    <a:pt x="2351" y="2440"/>
                  </a:lnTo>
                  <a:lnTo>
                    <a:pt x="2353" y="2442"/>
                  </a:lnTo>
                  <a:lnTo>
                    <a:pt x="2354" y="2443"/>
                  </a:lnTo>
                  <a:lnTo>
                    <a:pt x="2356" y="2440"/>
                  </a:lnTo>
                  <a:lnTo>
                    <a:pt x="2359" y="2434"/>
                  </a:lnTo>
                  <a:lnTo>
                    <a:pt x="2360" y="2431"/>
                  </a:lnTo>
                  <a:lnTo>
                    <a:pt x="2360" y="2429"/>
                  </a:lnTo>
                  <a:lnTo>
                    <a:pt x="2362" y="2427"/>
                  </a:lnTo>
                  <a:lnTo>
                    <a:pt x="2360" y="2426"/>
                  </a:lnTo>
                  <a:close/>
                  <a:moveTo>
                    <a:pt x="2313" y="2345"/>
                  </a:moveTo>
                  <a:lnTo>
                    <a:pt x="2313" y="2337"/>
                  </a:lnTo>
                  <a:lnTo>
                    <a:pt x="2313" y="2330"/>
                  </a:lnTo>
                  <a:lnTo>
                    <a:pt x="2313" y="2322"/>
                  </a:lnTo>
                  <a:lnTo>
                    <a:pt x="2313" y="2315"/>
                  </a:lnTo>
                  <a:lnTo>
                    <a:pt x="2313" y="2312"/>
                  </a:lnTo>
                  <a:lnTo>
                    <a:pt x="2311" y="2307"/>
                  </a:lnTo>
                  <a:lnTo>
                    <a:pt x="2311" y="2306"/>
                  </a:lnTo>
                  <a:lnTo>
                    <a:pt x="2310" y="2303"/>
                  </a:lnTo>
                  <a:lnTo>
                    <a:pt x="2310" y="2298"/>
                  </a:lnTo>
                  <a:lnTo>
                    <a:pt x="2310" y="2296"/>
                  </a:lnTo>
                  <a:lnTo>
                    <a:pt x="2310" y="2293"/>
                  </a:lnTo>
                  <a:lnTo>
                    <a:pt x="2315" y="2293"/>
                  </a:lnTo>
                  <a:lnTo>
                    <a:pt x="2318" y="2292"/>
                  </a:lnTo>
                  <a:lnTo>
                    <a:pt x="2319" y="2290"/>
                  </a:lnTo>
                  <a:lnTo>
                    <a:pt x="2321" y="2289"/>
                  </a:lnTo>
                  <a:lnTo>
                    <a:pt x="2322" y="2285"/>
                  </a:lnTo>
                  <a:lnTo>
                    <a:pt x="2324" y="2282"/>
                  </a:lnTo>
                  <a:lnTo>
                    <a:pt x="2324" y="2279"/>
                  </a:lnTo>
                  <a:lnTo>
                    <a:pt x="2326" y="2276"/>
                  </a:lnTo>
                  <a:lnTo>
                    <a:pt x="2327" y="2270"/>
                  </a:lnTo>
                  <a:lnTo>
                    <a:pt x="2329" y="2265"/>
                  </a:lnTo>
                  <a:lnTo>
                    <a:pt x="2330" y="2262"/>
                  </a:lnTo>
                  <a:lnTo>
                    <a:pt x="2332" y="2262"/>
                  </a:lnTo>
                  <a:lnTo>
                    <a:pt x="2334" y="2259"/>
                  </a:lnTo>
                  <a:lnTo>
                    <a:pt x="2335" y="2259"/>
                  </a:lnTo>
                  <a:lnTo>
                    <a:pt x="2337" y="2259"/>
                  </a:lnTo>
                  <a:lnTo>
                    <a:pt x="2338" y="2260"/>
                  </a:lnTo>
                  <a:lnTo>
                    <a:pt x="2340" y="2262"/>
                  </a:lnTo>
                  <a:lnTo>
                    <a:pt x="2340" y="2263"/>
                  </a:lnTo>
                  <a:lnTo>
                    <a:pt x="2341" y="2266"/>
                  </a:lnTo>
                  <a:lnTo>
                    <a:pt x="2343" y="2266"/>
                  </a:lnTo>
                  <a:lnTo>
                    <a:pt x="2343" y="2270"/>
                  </a:lnTo>
                  <a:lnTo>
                    <a:pt x="2343" y="2271"/>
                  </a:lnTo>
                  <a:lnTo>
                    <a:pt x="2343" y="2274"/>
                  </a:lnTo>
                  <a:lnTo>
                    <a:pt x="2343" y="2279"/>
                  </a:lnTo>
                  <a:lnTo>
                    <a:pt x="2340" y="2282"/>
                  </a:lnTo>
                  <a:lnTo>
                    <a:pt x="2340" y="2285"/>
                  </a:lnTo>
                  <a:lnTo>
                    <a:pt x="2338" y="2287"/>
                  </a:lnTo>
                  <a:lnTo>
                    <a:pt x="2337" y="2290"/>
                  </a:lnTo>
                  <a:lnTo>
                    <a:pt x="2335" y="2293"/>
                  </a:lnTo>
                  <a:lnTo>
                    <a:pt x="2335" y="2298"/>
                  </a:lnTo>
                  <a:lnTo>
                    <a:pt x="2335" y="2303"/>
                  </a:lnTo>
                  <a:lnTo>
                    <a:pt x="2337" y="2306"/>
                  </a:lnTo>
                  <a:lnTo>
                    <a:pt x="2337" y="2309"/>
                  </a:lnTo>
                  <a:lnTo>
                    <a:pt x="2337" y="2312"/>
                  </a:lnTo>
                  <a:lnTo>
                    <a:pt x="2338" y="2315"/>
                  </a:lnTo>
                  <a:lnTo>
                    <a:pt x="2338" y="2319"/>
                  </a:lnTo>
                  <a:lnTo>
                    <a:pt x="2340" y="2320"/>
                  </a:lnTo>
                  <a:lnTo>
                    <a:pt x="2340" y="2325"/>
                  </a:lnTo>
                  <a:lnTo>
                    <a:pt x="2340" y="2326"/>
                  </a:lnTo>
                  <a:lnTo>
                    <a:pt x="2340" y="2328"/>
                  </a:lnTo>
                  <a:lnTo>
                    <a:pt x="2338" y="2330"/>
                  </a:lnTo>
                  <a:lnTo>
                    <a:pt x="2337" y="2331"/>
                  </a:lnTo>
                  <a:lnTo>
                    <a:pt x="2335" y="2333"/>
                  </a:lnTo>
                  <a:lnTo>
                    <a:pt x="2334" y="2336"/>
                  </a:lnTo>
                  <a:lnTo>
                    <a:pt x="2332" y="2337"/>
                  </a:lnTo>
                  <a:lnTo>
                    <a:pt x="2330" y="2339"/>
                  </a:lnTo>
                  <a:lnTo>
                    <a:pt x="2330" y="2341"/>
                  </a:lnTo>
                  <a:lnTo>
                    <a:pt x="2329" y="2341"/>
                  </a:lnTo>
                  <a:lnTo>
                    <a:pt x="2329" y="2342"/>
                  </a:lnTo>
                  <a:lnTo>
                    <a:pt x="2329" y="2344"/>
                  </a:lnTo>
                  <a:lnTo>
                    <a:pt x="2329" y="2347"/>
                  </a:lnTo>
                  <a:lnTo>
                    <a:pt x="2330" y="2352"/>
                  </a:lnTo>
                  <a:lnTo>
                    <a:pt x="2330" y="2353"/>
                  </a:lnTo>
                  <a:lnTo>
                    <a:pt x="2332" y="2356"/>
                  </a:lnTo>
                  <a:lnTo>
                    <a:pt x="2334" y="2361"/>
                  </a:lnTo>
                  <a:lnTo>
                    <a:pt x="2335" y="2364"/>
                  </a:lnTo>
                  <a:lnTo>
                    <a:pt x="2335" y="2366"/>
                  </a:lnTo>
                  <a:lnTo>
                    <a:pt x="2335" y="2371"/>
                  </a:lnTo>
                  <a:lnTo>
                    <a:pt x="2335" y="2374"/>
                  </a:lnTo>
                  <a:lnTo>
                    <a:pt x="2335" y="2377"/>
                  </a:lnTo>
                  <a:lnTo>
                    <a:pt x="2334" y="2380"/>
                  </a:lnTo>
                  <a:lnTo>
                    <a:pt x="2334" y="2383"/>
                  </a:lnTo>
                  <a:lnTo>
                    <a:pt x="2332" y="2385"/>
                  </a:lnTo>
                  <a:lnTo>
                    <a:pt x="2330" y="2388"/>
                  </a:lnTo>
                  <a:lnTo>
                    <a:pt x="2330" y="2393"/>
                  </a:lnTo>
                  <a:lnTo>
                    <a:pt x="2330" y="2394"/>
                  </a:lnTo>
                  <a:lnTo>
                    <a:pt x="2327" y="2393"/>
                  </a:lnTo>
                  <a:lnTo>
                    <a:pt x="2326" y="2391"/>
                  </a:lnTo>
                  <a:lnTo>
                    <a:pt x="2324" y="2390"/>
                  </a:lnTo>
                  <a:lnTo>
                    <a:pt x="2324" y="2386"/>
                  </a:lnTo>
                  <a:lnTo>
                    <a:pt x="2324" y="2380"/>
                  </a:lnTo>
                  <a:lnTo>
                    <a:pt x="2324" y="2374"/>
                  </a:lnTo>
                  <a:lnTo>
                    <a:pt x="2324" y="2372"/>
                  </a:lnTo>
                  <a:lnTo>
                    <a:pt x="2324" y="2371"/>
                  </a:lnTo>
                  <a:lnTo>
                    <a:pt x="2322" y="2371"/>
                  </a:lnTo>
                  <a:lnTo>
                    <a:pt x="2322" y="2369"/>
                  </a:lnTo>
                  <a:lnTo>
                    <a:pt x="2319" y="2369"/>
                  </a:lnTo>
                  <a:lnTo>
                    <a:pt x="2318" y="2369"/>
                  </a:lnTo>
                  <a:lnTo>
                    <a:pt x="2316" y="2367"/>
                  </a:lnTo>
                  <a:lnTo>
                    <a:pt x="2315" y="2366"/>
                  </a:lnTo>
                  <a:lnTo>
                    <a:pt x="2315" y="2364"/>
                  </a:lnTo>
                  <a:lnTo>
                    <a:pt x="2315" y="2363"/>
                  </a:lnTo>
                  <a:lnTo>
                    <a:pt x="2315" y="2360"/>
                  </a:lnTo>
                  <a:lnTo>
                    <a:pt x="2315" y="2356"/>
                  </a:lnTo>
                  <a:lnTo>
                    <a:pt x="2315" y="2350"/>
                  </a:lnTo>
                  <a:lnTo>
                    <a:pt x="2313" y="2345"/>
                  </a:lnTo>
                  <a:close/>
                  <a:moveTo>
                    <a:pt x="2291" y="2435"/>
                  </a:moveTo>
                  <a:lnTo>
                    <a:pt x="2291" y="2440"/>
                  </a:lnTo>
                  <a:lnTo>
                    <a:pt x="2291" y="2443"/>
                  </a:lnTo>
                  <a:lnTo>
                    <a:pt x="2292" y="2446"/>
                  </a:lnTo>
                  <a:lnTo>
                    <a:pt x="2294" y="2449"/>
                  </a:lnTo>
                  <a:lnTo>
                    <a:pt x="2297" y="2464"/>
                  </a:lnTo>
                  <a:lnTo>
                    <a:pt x="2302" y="2478"/>
                  </a:lnTo>
                  <a:lnTo>
                    <a:pt x="2302" y="2481"/>
                  </a:lnTo>
                  <a:lnTo>
                    <a:pt x="2304" y="2484"/>
                  </a:lnTo>
                  <a:lnTo>
                    <a:pt x="2307" y="2486"/>
                  </a:lnTo>
                  <a:lnTo>
                    <a:pt x="2308" y="2489"/>
                  </a:lnTo>
                  <a:lnTo>
                    <a:pt x="2311" y="2489"/>
                  </a:lnTo>
                  <a:lnTo>
                    <a:pt x="2315" y="2490"/>
                  </a:lnTo>
                  <a:lnTo>
                    <a:pt x="2318" y="2492"/>
                  </a:lnTo>
                  <a:lnTo>
                    <a:pt x="2322" y="2492"/>
                  </a:lnTo>
                  <a:lnTo>
                    <a:pt x="2322" y="2486"/>
                  </a:lnTo>
                  <a:lnTo>
                    <a:pt x="2319" y="2483"/>
                  </a:lnTo>
                  <a:lnTo>
                    <a:pt x="2315" y="2476"/>
                  </a:lnTo>
                  <a:lnTo>
                    <a:pt x="2313" y="2473"/>
                  </a:lnTo>
                  <a:lnTo>
                    <a:pt x="2311" y="2470"/>
                  </a:lnTo>
                  <a:lnTo>
                    <a:pt x="2311" y="2467"/>
                  </a:lnTo>
                  <a:lnTo>
                    <a:pt x="2311" y="2464"/>
                  </a:lnTo>
                  <a:lnTo>
                    <a:pt x="2311" y="2456"/>
                  </a:lnTo>
                  <a:lnTo>
                    <a:pt x="2311" y="2451"/>
                  </a:lnTo>
                  <a:lnTo>
                    <a:pt x="2311" y="2446"/>
                  </a:lnTo>
                  <a:lnTo>
                    <a:pt x="2311" y="2438"/>
                  </a:lnTo>
                  <a:lnTo>
                    <a:pt x="2311" y="2435"/>
                  </a:lnTo>
                  <a:lnTo>
                    <a:pt x="2311" y="2432"/>
                  </a:lnTo>
                  <a:lnTo>
                    <a:pt x="2313" y="2431"/>
                  </a:lnTo>
                  <a:lnTo>
                    <a:pt x="2315" y="2426"/>
                  </a:lnTo>
                  <a:lnTo>
                    <a:pt x="2316" y="2419"/>
                  </a:lnTo>
                  <a:lnTo>
                    <a:pt x="2318" y="2415"/>
                  </a:lnTo>
                  <a:lnTo>
                    <a:pt x="2318" y="2402"/>
                  </a:lnTo>
                  <a:lnTo>
                    <a:pt x="2313" y="2405"/>
                  </a:lnTo>
                  <a:lnTo>
                    <a:pt x="2308" y="2407"/>
                  </a:lnTo>
                  <a:lnTo>
                    <a:pt x="2305" y="2408"/>
                  </a:lnTo>
                  <a:lnTo>
                    <a:pt x="2304" y="2410"/>
                  </a:lnTo>
                  <a:lnTo>
                    <a:pt x="2300" y="2413"/>
                  </a:lnTo>
                  <a:lnTo>
                    <a:pt x="2299" y="2413"/>
                  </a:lnTo>
                  <a:lnTo>
                    <a:pt x="2297" y="2416"/>
                  </a:lnTo>
                  <a:lnTo>
                    <a:pt x="2296" y="2418"/>
                  </a:lnTo>
                  <a:lnTo>
                    <a:pt x="2294" y="2421"/>
                  </a:lnTo>
                  <a:lnTo>
                    <a:pt x="2292" y="2424"/>
                  </a:lnTo>
                  <a:lnTo>
                    <a:pt x="2291" y="2426"/>
                  </a:lnTo>
                  <a:lnTo>
                    <a:pt x="2291" y="2431"/>
                  </a:lnTo>
                  <a:lnTo>
                    <a:pt x="2291" y="2432"/>
                  </a:lnTo>
                  <a:lnTo>
                    <a:pt x="2291" y="2435"/>
                  </a:lnTo>
                  <a:close/>
                </a:path>
              </a:pathLst>
            </a:custGeom>
            <a:solidFill>
              <a:srgbClr val="0070C0">
                <a:alpha val="10000"/>
              </a:srgbClr>
            </a:solidFill>
            <a:ln w="9525">
              <a:solidFill>
                <a:srgbClr val="FFFFFF">
                  <a:alpha val="0"/>
                </a:srgbClr>
              </a:solidFill>
              <a:round/>
              <a:headEnd/>
              <a:tailEnd/>
            </a:ln>
          </p:spPr>
          <p:txBody>
            <a:bodyPr lIns="91413" tIns="45707" rIns="91413" bIns="45707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8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defTabSz="914372">
                <a:defRPr/>
              </a:pPr>
              <a:endParaRPr lang="ru-RU" sz="1700" dirty="0">
                <a:solidFill>
                  <a:srgbClr val="000000"/>
                </a:solidFill>
                <a:latin typeface="Arial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61" name="Полилиния 11">
              <a:extLst>
                <a:ext uri="{FF2B5EF4-FFF2-40B4-BE49-F238E27FC236}">
                  <a16:creationId xmlns:a16="http://schemas.microsoft.com/office/drawing/2014/main" id="{E7FB7C90-AF81-46B0-872F-814E77065CC3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 rot="389746">
              <a:off x="5568374" y="7402161"/>
              <a:ext cx="513373" cy="374748"/>
            </a:xfrm>
            <a:custGeom>
              <a:avLst/>
              <a:gdLst>
                <a:gd name="connsiteX0" fmla="*/ 0 w 300567"/>
                <a:gd name="connsiteY0" fmla="*/ 141539 h 217739"/>
                <a:gd name="connsiteX1" fmla="*/ 38100 w 300567"/>
                <a:gd name="connsiteY1" fmla="*/ 116139 h 217739"/>
                <a:gd name="connsiteX2" fmla="*/ 76200 w 300567"/>
                <a:gd name="connsiteY2" fmla="*/ 103439 h 217739"/>
                <a:gd name="connsiteX3" fmla="*/ 88900 w 300567"/>
                <a:gd name="connsiteY3" fmla="*/ 1839 h 217739"/>
                <a:gd name="connsiteX4" fmla="*/ 215900 w 300567"/>
                <a:gd name="connsiteY4" fmla="*/ 14539 h 217739"/>
                <a:gd name="connsiteX5" fmla="*/ 228600 w 300567"/>
                <a:gd name="connsiteY5" fmla="*/ 52639 h 217739"/>
                <a:gd name="connsiteX6" fmla="*/ 266700 w 300567"/>
                <a:gd name="connsiteY6" fmla="*/ 65339 h 217739"/>
                <a:gd name="connsiteX7" fmla="*/ 292100 w 300567"/>
                <a:gd name="connsiteY7" fmla="*/ 141539 h 217739"/>
                <a:gd name="connsiteX8" fmla="*/ 279400 w 300567"/>
                <a:gd name="connsiteY8" fmla="*/ 217739 h 217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0567" h="217739">
                  <a:moveTo>
                    <a:pt x="0" y="141539"/>
                  </a:moveTo>
                  <a:cubicBezTo>
                    <a:pt x="12700" y="133072"/>
                    <a:pt x="24448" y="122965"/>
                    <a:pt x="38100" y="116139"/>
                  </a:cubicBezTo>
                  <a:cubicBezTo>
                    <a:pt x="50074" y="110152"/>
                    <a:pt x="70763" y="115672"/>
                    <a:pt x="76200" y="103439"/>
                  </a:cubicBezTo>
                  <a:cubicBezTo>
                    <a:pt x="90062" y="72250"/>
                    <a:pt x="84667" y="35706"/>
                    <a:pt x="88900" y="1839"/>
                  </a:cubicBezTo>
                  <a:cubicBezTo>
                    <a:pt x="131233" y="6072"/>
                    <a:pt x="175917" y="0"/>
                    <a:pt x="215900" y="14539"/>
                  </a:cubicBezTo>
                  <a:cubicBezTo>
                    <a:pt x="228481" y="19114"/>
                    <a:pt x="219134" y="43173"/>
                    <a:pt x="228600" y="52639"/>
                  </a:cubicBezTo>
                  <a:cubicBezTo>
                    <a:pt x="238066" y="62105"/>
                    <a:pt x="254000" y="61106"/>
                    <a:pt x="266700" y="65339"/>
                  </a:cubicBezTo>
                  <a:cubicBezTo>
                    <a:pt x="275167" y="90739"/>
                    <a:pt x="300567" y="116139"/>
                    <a:pt x="292100" y="141539"/>
                  </a:cubicBezTo>
                  <a:cubicBezTo>
                    <a:pt x="275384" y="191687"/>
                    <a:pt x="279400" y="166252"/>
                    <a:pt x="279400" y="217739"/>
                  </a:cubicBezTo>
                </a:path>
              </a:pathLst>
            </a:cu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 lIns="91412" tIns="45707" rIns="91412" bIns="45707"/>
            <a:lstStyle/>
            <a:p>
              <a:pPr defTabSz="914372">
                <a:defRPr/>
              </a:pPr>
              <a:endParaRPr lang="ru-RU" sz="1700" kern="0" dirty="0">
                <a:solidFill>
                  <a:srgbClr val="C7E0FB"/>
                </a:solidFill>
                <a:latin typeface="Europe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94491AE6-4121-4167-B30A-F4FAEBBFC372}"/>
              </a:ext>
            </a:extLst>
          </p:cNvPr>
          <p:cNvGrpSpPr/>
          <p:nvPr/>
        </p:nvGrpSpPr>
        <p:grpSpPr>
          <a:xfrm>
            <a:off x="946753" y="1169719"/>
            <a:ext cx="851515" cy="1018121"/>
            <a:chOff x="74784" y="110231"/>
            <a:chExt cx="851515" cy="1018121"/>
          </a:xfrm>
        </p:grpSpPr>
        <p:sp>
          <p:nvSpPr>
            <p:cNvPr id="4" name="Овал 3">
              <a:extLst>
                <a:ext uri="{FF2B5EF4-FFF2-40B4-BE49-F238E27FC236}">
                  <a16:creationId xmlns:a16="http://schemas.microsoft.com/office/drawing/2014/main" id="{13EA8F0B-F57E-4451-ABD9-2ACEF582F8F4}"/>
                </a:ext>
              </a:extLst>
            </p:cNvPr>
            <p:cNvSpPr/>
            <p:nvPr/>
          </p:nvSpPr>
          <p:spPr>
            <a:xfrm>
              <a:off x="134998" y="110231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500" dirty="0">
                <a:solidFill>
                  <a:schemeClr val="tx1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40AA349-60E6-4E04-BA6E-B0A0CFA73D12}"/>
                </a:ext>
              </a:extLst>
            </p:cNvPr>
            <p:cNvSpPr txBox="1"/>
            <p:nvPr/>
          </p:nvSpPr>
          <p:spPr>
            <a:xfrm>
              <a:off x="136624" y="215649"/>
              <a:ext cx="71837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b="1" dirty="0">
                  <a:solidFill>
                    <a:schemeClr val="bg1"/>
                  </a:solidFill>
                  <a:latin typeface="Century Gothic" panose="020B0502020202020204" pitchFamily="34" charset="0"/>
                  <a:ea typeface="Inter" panose="020B0502030000000004" pitchFamily="34" charset="0"/>
                </a:rPr>
                <a:t>25</a:t>
              </a:r>
            </a:p>
            <a:p>
              <a:pPr algn="ctr"/>
              <a:r>
                <a:rPr lang="ru-RU" sz="800" dirty="0">
                  <a:solidFill>
                    <a:schemeClr val="bg1"/>
                  </a:solidFill>
                  <a:latin typeface="Century Gothic" panose="020B0502020202020204" pitchFamily="34" charset="0"/>
                  <a:ea typeface="Inter" panose="020B0502030000000004" pitchFamily="34" charset="0"/>
                </a:rPr>
                <a:t>ЛЕТ</a:t>
              </a:r>
              <a:endParaRPr lang="ru-RU" dirty="0">
                <a:solidFill>
                  <a:schemeClr val="bg1"/>
                </a:solidFill>
                <a:latin typeface="Century Gothic" panose="020B0502020202020204" pitchFamily="34" charset="0"/>
                <a:ea typeface="Inter" panose="020B05020300000000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FCB92A7-45A1-47DD-B4C7-666D39E6D2C2}"/>
                </a:ext>
              </a:extLst>
            </p:cNvPr>
            <p:cNvSpPr txBox="1"/>
            <p:nvPr/>
          </p:nvSpPr>
          <p:spPr>
            <a:xfrm>
              <a:off x="74784" y="851353"/>
              <a:ext cx="85151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>
                  <a:latin typeface="Century Gothic" panose="020B0502020202020204" pitchFamily="34" charset="0"/>
                  <a:ea typeface="Inter" panose="020B0502030000000004" pitchFamily="34" charset="0"/>
                </a:rPr>
                <a:t>Истории</a:t>
              </a:r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75D020AE-DF22-40D2-B943-25440A32B9C8}"/>
              </a:ext>
            </a:extLst>
          </p:cNvPr>
          <p:cNvGrpSpPr/>
          <p:nvPr/>
        </p:nvGrpSpPr>
        <p:grpSpPr>
          <a:xfrm>
            <a:off x="912361" y="2534062"/>
            <a:ext cx="837089" cy="1012383"/>
            <a:chOff x="71242" y="110231"/>
            <a:chExt cx="837089" cy="1012383"/>
          </a:xfrm>
        </p:grpSpPr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2D2452C1-74AB-44AB-A47F-7400BD0C9FA1}"/>
                </a:ext>
              </a:extLst>
            </p:cNvPr>
            <p:cNvSpPr/>
            <p:nvPr/>
          </p:nvSpPr>
          <p:spPr>
            <a:xfrm>
              <a:off x="134998" y="110231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500" dirty="0">
                <a:solidFill>
                  <a:schemeClr val="tx1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C5F13F0-8695-47A5-9969-24C4BD01AA21}"/>
                </a:ext>
              </a:extLst>
            </p:cNvPr>
            <p:cNvSpPr txBox="1"/>
            <p:nvPr/>
          </p:nvSpPr>
          <p:spPr>
            <a:xfrm>
              <a:off x="143567" y="258255"/>
              <a:ext cx="71837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chemeClr val="bg1"/>
                  </a:solidFill>
                  <a:latin typeface="Century Gothic" panose="020B0502020202020204" pitchFamily="34" charset="0"/>
                  <a:ea typeface="Inter" panose="020B0502030000000004" pitchFamily="34" charset="0"/>
                </a:rPr>
                <a:t>753,6</a:t>
              </a:r>
            </a:p>
            <a:p>
              <a:pPr algn="ctr"/>
              <a:r>
                <a:rPr lang="ru-RU" sz="800" dirty="0">
                  <a:solidFill>
                    <a:schemeClr val="bg1"/>
                  </a:solidFill>
                  <a:latin typeface="Century Gothic" panose="020B0502020202020204" pitchFamily="34" charset="0"/>
                  <a:ea typeface="Inter" panose="020B0502030000000004" pitchFamily="34" charset="0"/>
                </a:rPr>
                <a:t>млрд. руб.</a:t>
              </a:r>
              <a:endParaRPr lang="ru-RU" dirty="0">
                <a:solidFill>
                  <a:schemeClr val="bg1"/>
                </a:solidFill>
                <a:latin typeface="Century Gothic" panose="020B0502020202020204" pitchFamily="34" charset="0"/>
                <a:ea typeface="Inter" panose="020B05020300000000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0B67253-3B75-4D15-828A-10CB70CED979}"/>
                </a:ext>
              </a:extLst>
            </p:cNvPr>
            <p:cNvSpPr txBox="1"/>
            <p:nvPr/>
          </p:nvSpPr>
          <p:spPr>
            <a:xfrm>
              <a:off x="71242" y="845615"/>
              <a:ext cx="83708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dirty="0">
                  <a:latin typeface="Century Gothic" panose="020B0502020202020204" pitchFamily="34" charset="0"/>
                  <a:ea typeface="Inter" panose="020B0502030000000004" pitchFamily="34" charset="0"/>
                </a:rPr>
                <a:t>Выручка</a:t>
              </a:r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E3A3C5C9-811D-4AB9-955A-F914871AAF1B}"/>
              </a:ext>
            </a:extLst>
          </p:cNvPr>
          <p:cNvGrpSpPr/>
          <p:nvPr/>
        </p:nvGrpSpPr>
        <p:grpSpPr>
          <a:xfrm>
            <a:off x="7518319" y="1212254"/>
            <a:ext cx="730454" cy="1012383"/>
            <a:chOff x="124544" y="110231"/>
            <a:chExt cx="730454" cy="1012383"/>
          </a:xfrm>
        </p:grpSpPr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DB127FFF-8929-4718-9A11-393F8570C7F5}"/>
                </a:ext>
              </a:extLst>
            </p:cNvPr>
            <p:cNvSpPr/>
            <p:nvPr/>
          </p:nvSpPr>
          <p:spPr>
            <a:xfrm>
              <a:off x="134998" y="110231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500" dirty="0">
                <a:solidFill>
                  <a:schemeClr val="tx1"/>
                </a:solidFill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DFC1BCCA-F2F2-46DD-A055-D3704FF85D8E}"/>
                </a:ext>
              </a:extLst>
            </p:cNvPr>
            <p:cNvSpPr txBox="1"/>
            <p:nvPr/>
          </p:nvSpPr>
          <p:spPr>
            <a:xfrm>
              <a:off x="136624" y="215649"/>
              <a:ext cx="71837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b="1" dirty="0">
                  <a:solidFill>
                    <a:schemeClr val="bg1"/>
                  </a:solidFill>
                  <a:latin typeface="Century Gothic" panose="020B0502020202020204" pitchFamily="34" charset="0"/>
                  <a:ea typeface="Inter" panose="020B0502030000000004" pitchFamily="34" charset="0"/>
                </a:rPr>
                <a:t>166</a:t>
              </a:r>
            </a:p>
            <a:p>
              <a:pPr algn="ctr"/>
              <a:r>
                <a:rPr lang="ru-RU" sz="800" dirty="0">
                  <a:solidFill>
                    <a:schemeClr val="bg1"/>
                  </a:solidFill>
                  <a:latin typeface="Century Gothic" panose="020B0502020202020204" pitchFamily="34" charset="0"/>
                  <a:ea typeface="Inter" panose="020B0502030000000004" pitchFamily="34" charset="0"/>
                </a:rPr>
                <a:t>млрд. руб.</a:t>
              </a:r>
              <a:endParaRPr lang="ru-RU" dirty="0">
                <a:solidFill>
                  <a:schemeClr val="bg1"/>
                </a:solidFill>
                <a:latin typeface="Century Gothic" panose="020B0502020202020204" pitchFamily="34" charset="0"/>
                <a:ea typeface="Inter" panose="020B0502030000000004" pitchFamily="34" charset="0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E36AB3A-239B-444A-AD85-EC2CFBD43755}"/>
                </a:ext>
              </a:extLst>
            </p:cNvPr>
            <p:cNvSpPr txBox="1"/>
            <p:nvPr/>
          </p:nvSpPr>
          <p:spPr>
            <a:xfrm>
              <a:off x="124544" y="845615"/>
              <a:ext cx="68320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latin typeface="Century Gothic" panose="020B0502020202020204" pitchFamily="34" charset="0"/>
                  <a:ea typeface="Inter" panose="020B0502030000000004" pitchFamily="34" charset="0"/>
                </a:rPr>
                <a:t>EBITDA</a:t>
              </a:r>
              <a:endParaRPr lang="ru-RU" sz="1200" dirty="0">
                <a:latin typeface="Century Gothic" panose="020B0502020202020204" pitchFamily="34" charset="0"/>
                <a:ea typeface="Inter" panose="020B0502030000000004" pitchFamily="34" charset="0"/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74B4771E-4278-4A65-8B24-ECF042F76238}"/>
              </a:ext>
            </a:extLst>
          </p:cNvPr>
          <p:cNvGrpSpPr/>
          <p:nvPr/>
        </p:nvGrpSpPr>
        <p:grpSpPr>
          <a:xfrm>
            <a:off x="7528773" y="2684283"/>
            <a:ext cx="841897" cy="1012383"/>
            <a:chOff x="92724" y="110231"/>
            <a:chExt cx="841897" cy="1012383"/>
          </a:xfrm>
        </p:grpSpPr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EDDAB481-70C1-4F24-95C5-35F0CBA32D8C}"/>
                </a:ext>
              </a:extLst>
            </p:cNvPr>
            <p:cNvSpPr/>
            <p:nvPr/>
          </p:nvSpPr>
          <p:spPr>
            <a:xfrm>
              <a:off x="134998" y="110231"/>
              <a:ext cx="720000" cy="72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500" dirty="0">
                <a:solidFill>
                  <a:schemeClr val="tx1"/>
                </a:solidFill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0D92B53-AC35-414B-ACFF-751C5D3CDC89}"/>
                </a:ext>
              </a:extLst>
            </p:cNvPr>
            <p:cNvSpPr txBox="1"/>
            <p:nvPr/>
          </p:nvSpPr>
          <p:spPr>
            <a:xfrm>
              <a:off x="136624" y="215649"/>
              <a:ext cx="71837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b="1" dirty="0">
                  <a:solidFill>
                    <a:schemeClr val="bg1"/>
                  </a:solidFill>
                  <a:latin typeface="Century Gothic" panose="020B0502020202020204" pitchFamily="34" charset="0"/>
                  <a:ea typeface="Inter" panose="020B0502030000000004" pitchFamily="34" charset="0"/>
                </a:rPr>
                <a:t>54</a:t>
              </a:r>
            </a:p>
            <a:p>
              <a:pPr algn="ctr"/>
              <a:r>
                <a:rPr lang="ru-RU" sz="800" dirty="0">
                  <a:solidFill>
                    <a:schemeClr val="bg1"/>
                  </a:solidFill>
                  <a:latin typeface="Century Gothic" panose="020B0502020202020204" pitchFamily="34" charset="0"/>
                  <a:ea typeface="Inter" panose="020B0502030000000004" pitchFamily="34" charset="0"/>
                </a:rPr>
                <a:t>страны</a:t>
              </a:r>
              <a:endParaRPr lang="ru-RU" dirty="0">
                <a:solidFill>
                  <a:schemeClr val="bg1"/>
                </a:solidFill>
                <a:latin typeface="Century Gothic" panose="020B0502020202020204" pitchFamily="34" charset="0"/>
                <a:ea typeface="Inter" panose="020B05020300000000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C05645F9-442A-4B69-AE66-953A8C5EA309}"/>
                </a:ext>
              </a:extLst>
            </p:cNvPr>
            <p:cNvSpPr txBox="1"/>
            <p:nvPr/>
          </p:nvSpPr>
          <p:spPr>
            <a:xfrm>
              <a:off x="92724" y="845615"/>
              <a:ext cx="84189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200" dirty="0">
                  <a:latin typeface="Century Gothic" panose="020B0502020202020204" pitchFamily="34" charset="0"/>
                  <a:ea typeface="Inter" panose="020B0502030000000004" pitchFamily="34" charset="0"/>
                </a:rPr>
                <a:t>Экспор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435446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FD4DE9B2-8D29-4B71-9890-455172D128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941" y="983872"/>
            <a:ext cx="8830967" cy="3207784"/>
          </a:xfrm>
          <a:prstGeom prst="rect">
            <a:avLst/>
          </a:prstGeom>
        </p:spPr>
      </p:pic>
      <p:sp>
        <p:nvSpPr>
          <p:cNvPr id="7" name="Google Shape;56;p13">
            <a:extLst>
              <a:ext uri="{FF2B5EF4-FFF2-40B4-BE49-F238E27FC236}">
                <a16:creationId xmlns:a16="http://schemas.microsoft.com/office/drawing/2014/main" id="{B2F768F6-7148-44AE-BB92-D64B0969D5E2}"/>
              </a:ext>
            </a:extLst>
          </p:cNvPr>
          <p:cNvSpPr txBox="1"/>
          <p:nvPr/>
        </p:nvSpPr>
        <p:spPr>
          <a:xfrm>
            <a:off x="4" y="210637"/>
            <a:ext cx="9143996" cy="72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 b="1" dirty="0">
                <a:solidFill>
                  <a:schemeClr val="tx1"/>
                </a:solidFill>
                <a:latin typeface="Century Gothic" panose="020B0502020202020204" pitchFamily="34" charset="0"/>
                <a:ea typeface="Inter"/>
                <a:cs typeface="Inter"/>
                <a:sym typeface="Inter"/>
              </a:rPr>
              <a:t>ПРОИЗВОДСТВО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C7C9C1EE-3317-4BC2-A718-460671E782F5}"/>
              </a:ext>
            </a:extLst>
          </p:cNvPr>
          <p:cNvSpPr/>
          <p:nvPr/>
        </p:nvSpPr>
        <p:spPr>
          <a:xfrm>
            <a:off x="159541" y="1548580"/>
            <a:ext cx="628649" cy="15704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2DACDC3-9485-4219-8A5A-7C4407CED792}"/>
              </a:ext>
            </a:extLst>
          </p:cNvPr>
          <p:cNvSpPr txBox="1"/>
          <p:nvPr/>
        </p:nvSpPr>
        <p:spPr>
          <a:xfrm>
            <a:off x="115556" y="1501931"/>
            <a:ext cx="683419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chemeClr val="bg1"/>
                </a:solidFill>
                <a:latin typeface="Century Gothic" panose="020B0502020202020204" pitchFamily="34" charset="0"/>
                <a:ea typeface="Inter" panose="020B0502030000000004" pitchFamily="34" charset="0"/>
              </a:rPr>
              <a:t>октен-1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BEFDD775-614C-41F5-B769-9A1A5483F8F3}"/>
              </a:ext>
            </a:extLst>
          </p:cNvPr>
          <p:cNvSpPr/>
          <p:nvPr/>
        </p:nvSpPr>
        <p:spPr>
          <a:xfrm>
            <a:off x="1262060" y="1546516"/>
            <a:ext cx="628649" cy="15704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8D15B0A-8E1C-4CE7-83E2-8399C876C664}"/>
              </a:ext>
            </a:extLst>
          </p:cNvPr>
          <p:cNvSpPr txBox="1"/>
          <p:nvPr/>
        </p:nvSpPr>
        <p:spPr>
          <a:xfrm>
            <a:off x="1218075" y="1501930"/>
            <a:ext cx="752290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chemeClr val="bg1"/>
                </a:solidFill>
                <a:latin typeface="Century Gothic" panose="020B0502020202020204" pitchFamily="34" charset="0"/>
                <a:ea typeface="Inter" panose="020B0502030000000004" pitchFamily="34" charset="0"/>
              </a:rPr>
              <a:t>децен-1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E5411C7D-498A-4981-884D-431017CB04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8063" y="2664679"/>
            <a:ext cx="567663" cy="298556"/>
          </a:xfrm>
          <a:prstGeom prst="rect">
            <a:avLst/>
          </a:prstGeom>
        </p:spPr>
      </p:pic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E64E32D4-0EA2-49B2-A260-65B086297A6B}"/>
              </a:ext>
            </a:extLst>
          </p:cNvPr>
          <p:cNvGrpSpPr/>
          <p:nvPr/>
        </p:nvGrpSpPr>
        <p:grpSpPr>
          <a:xfrm>
            <a:off x="742382" y="2216555"/>
            <a:ext cx="284052" cy="307777"/>
            <a:chOff x="745067" y="1950000"/>
            <a:chExt cx="284052" cy="307777"/>
          </a:xfrm>
        </p:grpSpPr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id="{6F1E7F15-14F5-4C60-9EDB-15B28564E06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5067" y="1972576"/>
              <a:ext cx="262627" cy="262627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8581F50-5157-4ECA-85CD-3E496F260278}"/>
                </a:ext>
              </a:extLst>
            </p:cNvPr>
            <p:cNvSpPr txBox="1"/>
            <p:nvPr/>
          </p:nvSpPr>
          <p:spPr>
            <a:xfrm>
              <a:off x="745067" y="1950000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anose="020B0502030000000004" pitchFamily="34" charset="0"/>
                </a:rPr>
                <a:t>2</a:t>
              </a:r>
            </a:p>
          </p:txBody>
        </p:sp>
      </p:grp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01CDD1EC-EF47-4FD8-AF17-7BED5C42FB31}"/>
              </a:ext>
            </a:extLst>
          </p:cNvPr>
          <p:cNvGrpSpPr/>
          <p:nvPr/>
        </p:nvGrpSpPr>
        <p:grpSpPr>
          <a:xfrm>
            <a:off x="3286240" y="2217791"/>
            <a:ext cx="284052" cy="307777"/>
            <a:chOff x="729545" y="1944457"/>
            <a:chExt cx="284052" cy="307777"/>
          </a:xfrm>
        </p:grpSpPr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id="{2CAD7A4C-645A-4BB3-BE55-9567713A1B7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5067" y="1972576"/>
              <a:ext cx="262627" cy="262627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3B1AA0D1-15B4-481D-AA4A-3F4D890B834B}"/>
                </a:ext>
              </a:extLst>
            </p:cNvPr>
            <p:cNvSpPr txBox="1"/>
            <p:nvPr/>
          </p:nvSpPr>
          <p:spPr>
            <a:xfrm>
              <a:off x="729545" y="194445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anose="020B0502030000000004" pitchFamily="34" charset="0"/>
                </a:rPr>
                <a:t>3</a:t>
              </a:r>
            </a:p>
          </p:txBody>
        </p:sp>
      </p:grpSp>
      <p:sp>
        <p:nvSpPr>
          <p:cNvPr id="58" name="Правая фигурная скобка 57">
            <a:extLst>
              <a:ext uri="{FF2B5EF4-FFF2-40B4-BE49-F238E27FC236}">
                <a16:creationId xmlns:a16="http://schemas.microsoft.com/office/drawing/2014/main" id="{E6CC4248-FC2A-42C5-B1C9-692ABE76573C}"/>
              </a:ext>
            </a:extLst>
          </p:cNvPr>
          <p:cNvSpPr/>
          <p:nvPr/>
        </p:nvSpPr>
        <p:spPr>
          <a:xfrm rot="5400000">
            <a:off x="720101" y="1478841"/>
            <a:ext cx="307776" cy="1104900"/>
          </a:xfrm>
          <a:prstGeom prst="rightBrace">
            <a:avLst>
              <a:gd name="adj1" fmla="val 48603"/>
              <a:gd name="adj2" fmla="val 49949"/>
            </a:avLst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1" name="Соединитель: изогнутый 60">
            <a:extLst>
              <a:ext uri="{FF2B5EF4-FFF2-40B4-BE49-F238E27FC236}">
                <a16:creationId xmlns:a16="http://schemas.microsoft.com/office/drawing/2014/main" id="{A13B5176-09A9-4430-B2D2-CA3EEE5F9ADF}"/>
              </a:ext>
            </a:extLst>
          </p:cNvPr>
          <p:cNvCxnSpPr>
            <a:cxnSpLocks/>
          </p:cNvCxnSpPr>
          <p:nvPr/>
        </p:nvCxnSpPr>
        <p:spPr>
          <a:xfrm rot="16200000" flipH="1">
            <a:off x="987902" y="2729617"/>
            <a:ext cx="762480" cy="990894"/>
          </a:xfrm>
          <a:prstGeom prst="curvedConnector2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051B7CA5-1479-4220-95E2-7E8A8DBBC514}"/>
              </a:ext>
            </a:extLst>
          </p:cNvPr>
          <p:cNvSpPr txBox="1"/>
          <p:nvPr/>
        </p:nvSpPr>
        <p:spPr>
          <a:xfrm>
            <a:off x="2675841" y="1873306"/>
            <a:ext cx="15094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Century Gothic" panose="020B0502020202020204" pitchFamily="34" charset="0"/>
                <a:ea typeface="Inter" panose="020B0502030000000004" pitchFamily="34" charset="0"/>
              </a:rPr>
              <a:t>синтез </a:t>
            </a:r>
            <a:r>
              <a:rPr lang="ru-RU" sz="1200" dirty="0" err="1">
                <a:latin typeface="Century Gothic" panose="020B0502020202020204" pitchFamily="34" charset="0"/>
                <a:ea typeface="Inter" panose="020B0502030000000004" pitchFamily="34" charset="0"/>
              </a:rPr>
              <a:t>ПАОм</a:t>
            </a:r>
            <a:endParaRPr lang="ru-RU" sz="1200" dirty="0">
              <a:latin typeface="Century Gothic" panose="020B0502020202020204" pitchFamily="34" charset="0"/>
              <a:ea typeface="Inter" panose="020B0502030000000004" pitchFamily="34" charset="0"/>
            </a:endParaRPr>
          </a:p>
        </p:txBody>
      </p:sp>
      <p:cxnSp>
        <p:nvCxnSpPr>
          <p:cNvPr id="81" name="Соединитель: изогнутый 80">
            <a:extLst>
              <a:ext uri="{FF2B5EF4-FFF2-40B4-BE49-F238E27FC236}">
                <a16:creationId xmlns:a16="http://schemas.microsoft.com/office/drawing/2014/main" id="{92C7FF8D-2A3D-4C48-8EFE-2E7273DD0C76}"/>
              </a:ext>
            </a:extLst>
          </p:cNvPr>
          <p:cNvCxnSpPr>
            <a:cxnSpLocks/>
            <a:stCxn id="74" idx="0"/>
          </p:cNvCxnSpPr>
          <p:nvPr/>
        </p:nvCxnSpPr>
        <p:spPr>
          <a:xfrm rot="5400000" flipH="1" flipV="1">
            <a:off x="3651823" y="1232713"/>
            <a:ext cx="419320" cy="861866"/>
          </a:xfrm>
          <a:prstGeom prst="curvedConnector2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Рисунок 84">
            <a:extLst>
              <a:ext uri="{FF2B5EF4-FFF2-40B4-BE49-F238E27FC236}">
                <a16:creationId xmlns:a16="http://schemas.microsoft.com/office/drawing/2014/main" id="{8F72B661-455E-4044-A4AF-388130F009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44003" y="1435718"/>
            <a:ext cx="574118" cy="342757"/>
          </a:xfrm>
          <a:prstGeom prst="rect">
            <a:avLst/>
          </a:prstGeom>
        </p:spPr>
      </p:pic>
      <p:grpSp>
        <p:nvGrpSpPr>
          <p:cNvPr id="87" name="Группа 86">
            <a:extLst>
              <a:ext uri="{FF2B5EF4-FFF2-40B4-BE49-F238E27FC236}">
                <a16:creationId xmlns:a16="http://schemas.microsoft.com/office/drawing/2014/main" id="{44E593D2-3CE8-42B0-8ACE-3F5379AB2809}"/>
              </a:ext>
            </a:extLst>
          </p:cNvPr>
          <p:cNvGrpSpPr/>
          <p:nvPr/>
        </p:nvGrpSpPr>
        <p:grpSpPr>
          <a:xfrm>
            <a:off x="6317436" y="2189397"/>
            <a:ext cx="284052" cy="307777"/>
            <a:chOff x="732965" y="1939814"/>
            <a:chExt cx="284052" cy="307777"/>
          </a:xfrm>
        </p:grpSpPr>
        <p:sp>
          <p:nvSpPr>
            <p:cNvPr id="88" name="Овал 87">
              <a:extLst>
                <a:ext uri="{FF2B5EF4-FFF2-40B4-BE49-F238E27FC236}">
                  <a16:creationId xmlns:a16="http://schemas.microsoft.com/office/drawing/2014/main" id="{E3DF0456-5AB0-4B20-91F2-E38CCD4C6B7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5067" y="1972576"/>
              <a:ext cx="262627" cy="262627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37CE81B3-78F9-40CD-93F3-DD900A1B7D0E}"/>
                </a:ext>
              </a:extLst>
            </p:cNvPr>
            <p:cNvSpPr txBox="1"/>
            <p:nvPr/>
          </p:nvSpPr>
          <p:spPr>
            <a:xfrm>
              <a:off x="732965" y="1939814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anose="020B0502030000000004" pitchFamily="34" charset="0"/>
                </a:rPr>
                <a:t>4</a:t>
              </a:r>
            </a:p>
          </p:txBody>
        </p:sp>
      </p:grpSp>
      <p:sp>
        <p:nvSpPr>
          <p:cNvPr id="90" name="Правая фигурная скобка 89">
            <a:extLst>
              <a:ext uri="{FF2B5EF4-FFF2-40B4-BE49-F238E27FC236}">
                <a16:creationId xmlns:a16="http://schemas.microsoft.com/office/drawing/2014/main" id="{8C781208-2ABB-4B75-A0F9-4CA0F87FA6F5}"/>
              </a:ext>
            </a:extLst>
          </p:cNvPr>
          <p:cNvSpPr/>
          <p:nvPr/>
        </p:nvSpPr>
        <p:spPr>
          <a:xfrm rot="16200000">
            <a:off x="7093300" y="1176227"/>
            <a:ext cx="351825" cy="1628794"/>
          </a:xfrm>
          <a:prstGeom prst="rightBrace">
            <a:avLst>
              <a:gd name="adj1" fmla="val 48603"/>
              <a:gd name="adj2" fmla="val 36895"/>
            </a:avLst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Облачко с текстом: прямоугольное со скругленными углами 85">
            <a:extLst>
              <a:ext uri="{FF2B5EF4-FFF2-40B4-BE49-F238E27FC236}">
                <a16:creationId xmlns:a16="http://schemas.microsoft.com/office/drawing/2014/main" id="{170628F0-7A4F-4295-84F4-ED338B9CE90B}"/>
              </a:ext>
            </a:extLst>
          </p:cNvPr>
          <p:cNvSpPr/>
          <p:nvPr/>
        </p:nvSpPr>
        <p:spPr>
          <a:xfrm>
            <a:off x="7590510" y="1043759"/>
            <a:ext cx="1436222" cy="543948"/>
          </a:xfrm>
          <a:prstGeom prst="wedgeRoundRectCallout">
            <a:avLst>
              <a:gd name="adj1" fmla="val -60314"/>
              <a:gd name="adj2" fmla="val 26418"/>
              <a:gd name="adj3" fmla="val 16667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latin typeface="Century Gothic" panose="020B0502020202020204" pitchFamily="34" charset="0"/>
              </a:rPr>
              <a:t>10</a:t>
            </a:r>
            <a:r>
              <a:rPr lang="ru-RU" sz="1200" dirty="0">
                <a:latin typeface="Century Gothic" panose="020B0502020202020204" pitchFamily="34" charset="0"/>
              </a:rPr>
              <a:t> тыс. т/год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6CD239C-7768-4F31-8CF3-D5F7857745AE}"/>
              </a:ext>
            </a:extLst>
          </p:cNvPr>
          <p:cNvSpPr txBox="1"/>
          <p:nvPr/>
        </p:nvSpPr>
        <p:spPr>
          <a:xfrm>
            <a:off x="6514974" y="1158643"/>
            <a:ext cx="10198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err="1">
                <a:latin typeface="Century Gothic" panose="020B0502020202020204" pitchFamily="34" charset="0"/>
                <a:ea typeface="Inter" panose="020B0502030000000004" pitchFamily="34" charset="0"/>
              </a:rPr>
              <a:t>ПАОм</a:t>
            </a:r>
            <a:endParaRPr lang="ru-RU" sz="1200" dirty="0">
              <a:latin typeface="Century Gothic" panose="020B0502020202020204" pitchFamily="34" charset="0"/>
              <a:ea typeface="Inter" panose="020B0502030000000004" pitchFamily="34" charset="0"/>
            </a:endParaRPr>
          </a:p>
        </p:txBody>
      </p:sp>
      <p:cxnSp>
        <p:nvCxnSpPr>
          <p:cNvPr id="96" name="Прямая со стрелкой 95">
            <a:extLst>
              <a:ext uri="{FF2B5EF4-FFF2-40B4-BE49-F238E27FC236}">
                <a16:creationId xmlns:a16="http://schemas.microsoft.com/office/drawing/2014/main" id="{67F8514D-2E35-45CC-A57C-AE90A73D18C7}"/>
              </a:ext>
            </a:extLst>
          </p:cNvPr>
          <p:cNvCxnSpPr>
            <a:cxnSpLocks/>
          </p:cNvCxnSpPr>
          <p:nvPr/>
        </p:nvCxnSpPr>
        <p:spPr>
          <a:xfrm>
            <a:off x="5619821" y="1448903"/>
            <a:ext cx="1012033" cy="32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Группа 99">
            <a:extLst>
              <a:ext uri="{FF2B5EF4-FFF2-40B4-BE49-F238E27FC236}">
                <a16:creationId xmlns:a16="http://schemas.microsoft.com/office/drawing/2014/main" id="{5A94BD99-4D3C-42AA-A4E0-6D9FDC348C6C}"/>
              </a:ext>
            </a:extLst>
          </p:cNvPr>
          <p:cNvGrpSpPr/>
          <p:nvPr/>
        </p:nvGrpSpPr>
        <p:grpSpPr>
          <a:xfrm>
            <a:off x="7934368" y="2190860"/>
            <a:ext cx="284052" cy="307777"/>
            <a:chOff x="732965" y="1939814"/>
            <a:chExt cx="284052" cy="307777"/>
          </a:xfrm>
        </p:grpSpPr>
        <p:sp>
          <p:nvSpPr>
            <p:cNvPr id="101" name="Овал 100">
              <a:extLst>
                <a:ext uri="{FF2B5EF4-FFF2-40B4-BE49-F238E27FC236}">
                  <a16:creationId xmlns:a16="http://schemas.microsoft.com/office/drawing/2014/main" id="{FD96EA6B-C6E9-49B1-966A-CA192E5FA2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5067" y="1972576"/>
              <a:ext cx="262627" cy="262627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B515A721-D879-44C0-BAC0-41B277C7449E}"/>
                </a:ext>
              </a:extLst>
            </p:cNvPr>
            <p:cNvSpPr txBox="1"/>
            <p:nvPr/>
          </p:nvSpPr>
          <p:spPr>
            <a:xfrm>
              <a:off x="732965" y="1939814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anose="020B0502030000000004" pitchFamily="34" charset="0"/>
                </a:rPr>
                <a:t>4</a:t>
              </a:r>
            </a:p>
          </p:txBody>
        </p: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2AC7C275-062B-4E33-8AE6-C7532F138CDD}"/>
              </a:ext>
            </a:extLst>
          </p:cNvPr>
          <p:cNvSpPr txBox="1"/>
          <p:nvPr/>
        </p:nvSpPr>
        <p:spPr>
          <a:xfrm>
            <a:off x="5484867" y="2562879"/>
            <a:ext cx="2049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Century Gothic" panose="020B0502020202020204" pitchFamily="34" charset="0"/>
                <a:ea typeface="Inter" panose="020B0502030000000004" pitchFamily="34" charset="0"/>
              </a:rPr>
              <a:t>в товарную продукцию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541F4087-7F38-45AE-8893-6F700C9E930C}"/>
              </a:ext>
            </a:extLst>
          </p:cNvPr>
          <p:cNvSpPr txBox="1"/>
          <p:nvPr/>
        </p:nvSpPr>
        <p:spPr>
          <a:xfrm>
            <a:off x="7107836" y="2557342"/>
            <a:ext cx="19398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Century Gothic" panose="020B0502020202020204" pitchFamily="34" charset="0"/>
                <a:ea typeface="Inter" panose="020B0502030000000004" pitchFamily="34" charset="0"/>
              </a:rPr>
              <a:t>на продажу</a:t>
            </a:r>
          </a:p>
        </p:txBody>
      </p:sp>
      <p:cxnSp>
        <p:nvCxnSpPr>
          <p:cNvPr id="107" name="Прямая со стрелкой 106">
            <a:extLst>
              <a:ext uri="{FF2B5EF4-FFF2-40B4-BE49-F238E27FC236}">
                <a16:creationId xmlns:a16="http://schemas.microsoft.com/office/drawing/2014/main" id="{B288FB7F-677C-4A7C-8586-136C8B4342C1}"/>
              </a:ext>
            </a:extLst>
          </p:cNvPr>
          <p:cNvCxnSpPr>
            <a:cxnSpLocks/>
          </p:cNvCxnSpPr>
          <p:nvPr/>
        </p:nvCxnSpPr>
        <p:spPr>
          <a:xfrm>
            <a:off x="6454815" y="2843824"/>
            <a:ext cx="0" cy="184628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Прямая со стрелкой 113">
            <a:extLst>
              <a:ext uri="{FF2B5EF4-FFF2-40B4-BE49-F238E27FC236}">
                <a16:creationId xmlns:a16="http://schemas.microsoft.com/office/drawing/2014/main" id="{60BEB549-93C2-4C9B-944A-5C710DFD702B}"/>
              </a:ext>
            </a:extLst>
          </p:cNvPr>
          <p:cNvCxnSpPr>
            <a:stCxn id="104" idx="2"/>
          </p:cNvCxnSpPr>
          <p:nvPr/>
        </p:nvCxnSpPr>
        <p:spPr>
          <a:xfrm>
            <a:off x="8077783" y="2834341"/>
            <a:ext cx="0" cy="576700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>
            <a:extLst>
              <a:ext uri="{FF2B5EF4-FFF2-40B4-BE49-F238E27FC236}">
                <a16:creationId xmlns:a16="http://schemas.microsoft.com/office/drawing/2014/main" id="{32DAE41B-A427-40B9-8BBF-265F5045FE0F}"/>
              </a:ext>
            </a:extLst>
          </p:cNvPr>
          <p:cNvCxnSpPr>
            <a:cxnSpLocks/>
          </p:cNvCxnSpPr>
          <p:nvPr/>
        </p:nvCxnSpPr>
        <p:spPr>
          <a:xfrm>
            <a:off x="3430549" y="2582068"/>
            <a:ext cx="0" cy="317798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135">
            <a:extLst>
              <a:ext uri="{FF2B5EF4-FFF2-40B4-BE49-F238E27FC236}">
                <a16:creationId xmlns:a16="http://schemas.microsoft.com/office/drawing/2014/main" id="{E39317A2-854B-46F4-A1A3-9FB9BD3F0754}"/>
              </a:ext>
            </a:extLst>
          </p:cNvPr>
          <p:cNvSpPr txBox="1"/>
          <p:nvPr/>
        </p:nvSpPr>
        <p:spPr>
          <a:xfrm>
            <a:off x="67092" y="3991625"/>
            <a:ext cx="1903273" cy="623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300"/>
              </a:spcBef>
            </a:pPr>
            <a:r>
              <a:rPr lang="ru-RU" sz="2000" b="1" dirty="0">
                <a:solidFill>
                  <a:srgbClr val="FA7800"/>
                </a:solidFill>
                <a:latin typeface="Century Gothic" panose="020B0502020202020204" pitchFamily="34" charset="0"/>
                <a:ea typeface="Inter" pitchFamily="34" charset="0"/>
              </a:rPr>
              <a:t>2003</a:t>
            </a:r>
          </a:p>
          <a:p>
            <a:pPr>
              <a:spcBef>
                <a:spcPts val="300"/>
              </a:spcBef>
            </a:pP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  <a:ea typeface="Inter" pitchFamily="34" charset="0"/>
              </a:rPr>
              <a:t>Ввод в эксплуатацию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06F192A0-9CBF-434B-9BC0-3A1E9A655169}"/>
              </a:ext>
            </a:extLst>
          </p:cNvPr>
          <p:cNvSpPr txBox="1"/>
          <p:nvPr/>
        </p:nvSpPr>
        <p:spPr>
          <a:xfrm>
            <a:off x="5562602" y="3900509"/>
            <a:ext cx="3514306" cy="8079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spcBef>
                <a:spcPts val="300"/>
              </a:spcBef>
            </a:pPr>
            <a:r>
              <a:rPr lang="ru-RU" sz="2000" b="1" dirty="0">
                <a:solidFill>
                  <a:srgbClr val="FA7800"/>
                </a:solidFill>
                <a:latin typeface="Century Gothic" panose="020B0502020202020204" pitchFamily="34" charset="0"/>
                <a:ea typeface="Inter" pitchFamily="34" charset="0"/>
              </a:rPr>
              <a:t>2019-2020</a:t>
            </a:r>
          </a:p>
          <a:p>
            <a:pPr algn="r">
              <a:spcBef>
                <a:spcPts val="300"/>
              </a:spcBef>
            </a:pP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  <a:ea typeface="Inter" pitchFamily="34" charset="0"/>
              </a:rPr>
              <a:t>Комплексная модернизация, </a:t>
            </a:r>
            <a:br>
              <a:rPr lang="en-US" sz="1200" dirty="0">
                <a:solidFill>
                  <a:schemeClr val="tx1"/>
                </a:solidFill>
                <a:latin typeface="Century Gothic" panose="020B0502020202020204" pitchFamily="34" charset="0"/>
                <a:ea typeface="Inter" pitchFamily="34" charset="0"/>
              </a:rPr>
            </a:b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  <a:ea typeface="Inter" pitchFamily="34" charset="0"/>
              </a:rPr>
              <a:t>переход под управление ООО «ТАИФ-СМ»</a:t>
            </a:r>
          </a:p>
        </p:txBody>
      </p:sp>
      <p:pic>
        <p:nvPicPr>
          <p:cNvPr id="2" name="Google Shape;91;p16">
            <a:extLst>
              <a:ext uri="{FF2B5EF4-FFF2-40B4-BE49-F238E27FC236}">
                <a16:creationId xmlns:a16="http://schemas.microsoft.com/office/drawing/2014/main" id="{9CBEA0C8-A813-46E2-9E8A-F0B90884BA59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92;p16">
            <a:extLst>
              <a:ext uri="{FF2B5EF4-FFF2-40B4-BE49-F238E27FC236}">
                <a16:creationId xmlns:a16="http://schemas.microsoft.com/office/drawing/2014/main" id="{2470AA0B-5C05-4C17-BB9A-B1ACC12490BD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ru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© Taif Lubricants 202</a:t>
            </a:r>
            <a:r>
              <a:rPr lang="en-US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1</a:t>
            </a:r>
            <a:r>
              <a:rPr lang="ru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.	</a:t>
            </a:r>
            <a:r>
              <a:rPr lang="en-US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	</a:t>
            </a:r>
            <a:endParaRPr sz="600" dirty="0">
              <a:solidFill>
                <a:srgbClr val="999999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1D623168-F5D6-4551-87D5-D0F88B7F29CE}"/>
              </a:ext>
            </a:extLst>
          </p:cNvPr>
          <p:cNvSpPr/>
          <p:nvPr/>
        </p:nvSpPr>
        <p:spPr>
          <a:xfrm>
            <a:off x="2239736" y="836600"/>
            <a:ext cx="760810" cy="16002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err="1">
                <a:latin typeface="Century Gothic" panose="020B0502020202020204" pitchFamily="34" charset="0"/>
              </a:rPr>
              <a:t>нафта</a:t>
            </a:r>
            <a:endParaRPr lang="ru-RU" sz="1000" dirty="0">
              <a:latin typeface="Century Gothic" panose="020B0502020202020204" pitchFamily="34" charset="0"/>
            </a:endParaRPr>
          </a:p>
        </p:txBody>
      </p:sp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59859050-E161-493D-A452-C3272E560B9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1431" t="14621" r="12032" b="23393"/>
          <a:stretch/>
        </p:blipFill>
        <p:spPr>
          <a:xfrm>
            <a:off x="354023" y="2562879"/>
            <a:ext cx="1035319" cy="546272"/>
          </a:xfrm>
          <a:prstGeom prst="rect">
            <a:avLst/>
          </a:prstGeom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C20E0A6E-C14C-40B2-9F82-DD08BFD0E61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6136" t="13671" r="25067" b="11090"/>
          <a:stretch/>
        </p:blipFill>
        <p:spPr>
          <a:xfrm>
            <a:off x="2259160" y="1070604"/>
            <a:ext cx="631398" cy="626094"/>
          </a:xfrm>
          <a:prstGeom prst="rect">
            <a:avLst/>
          </a:prstGeom>
        </p:spPr>
      </p:pic>
      <p:grpSp>
        <p:nvGrpSpPr>
          <p:cNvPr id="55" name="Группа 54">
            <a:extLst>
              <a:ext uri="{FF2B5EF4-FFF2-40B4-BE49-F238E27FC236}">
                <a16:creationId xmlns:a16="http://schemas.microsoft.com/office/drawing/2014/main" id="{BC0C358E-0279-40F8-94F5-28C86B842D2F}"/>
              </a:ext>
            </a:extLst>
          </p:cNvPr>
          <p:cNvGrpSpPr/>
          <p:nvPr/>
        </p:nvGrpSpPr>
        <p:grpSpPr>
          <a:xfrm>
            <a:off x="1905508" y="778453"/>
            <a:ext cx="284052" cy="307777"/>
            <a:chOff x="745067" y="1950000"/>
            <a:chExt cx="284052" cy="307777"/>
          </a:xfrm>
        </p:grpSpPr>
        <p:sp>
          <p:nvSpPr>
            <p:cNvPr id="56" name="Овал 55">
              <a:extLst>
                <a:ext uri="{FF2B5EF4-FFF2-40B4-BE49-F238E27FC236}">
                  <a16:creationId xmlns:a16="http://schemas.microsoft.com/office/drawing/2014/main" id="{33C6DB63-723B-430C-A8AF-E08ECEB4750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5067" y="1972576"/>
              <a:ext cx="262627" cy="262627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2FBEA07C-88CF-4C3C-AB03-565CE5F716A4}"/>
                </a:ext>
              </a:extLst>
            </p:cNvPr>
            <p:cNvSpPr txBox="1"/>
            <p:nvPr/>
          </p:nvSpPr>
          <p:spPr>
            <a:xfrm>
              <a:off x="745067" y="1950000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  <a:latin typeface="Century Gothic" panose="020B0502020202020204" pitchFamily="34" charset="0"/>
                  <a:ea typeface="Inter" panose="020B0502030000000004" pitchFamily="34" charset="0"/>
                </a:rPr>
                <a:t>1</a:t>
              </a:r>
            </a:p>
          </p:txBody>
        </p:sp>
      </p:grpSp>
      <p:cxnSp>
        <p:nvCxnSpPr>
          <p:cNvPr id="64" name="Соединитель: изогнутый 63">
            <a:extLst>
              <a:ext uri="{FF2B5EF4-FFF2-40B4-BE49-F238E27FC236}">
                <a16:creationId xmlns:a16="http://schemas.microsoft.com/office/drawing/2014/main" id="{AC49FD64-D1BF-48DC-A7D2-1EA256924D7C}"/>
              </a:ext>
            </a:extLst>
          </p:cNvPr>
          <p:cNvCxnSpPr>
            <a:cxnSpLocks/>
          </p:cNvCxnSpPr>
          <p:nvPr/>
        </p:nvCxnSpPr>
        <p:spPr>
          <a:xfrm flipH="1">
            <a:off x="978580" y="927401"/>
            <a:ext cx="864000" cy="792000"/>
          </a:xfrm>
          <a:prstGeom prst="curvedConnector2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рямоугольник: скругленные углы 48">
            <a:extLst>
              <a:ext uri="{FF2B5EF4-FFF2-40B4-BE49-F238E27FC236}">
                <a16:creationId xmlns:a16="http://schemas.microsoft.com/office/drawing/2014/main" id="{94DBFCA5-4AB1-4E8A-A173-F24F7ADA0734}"/>
              </a:ext>
            </a:extLst>
          </p:cNvPr>
          <p:cNvSpPr/>
          <p:nvPr/>
        </p:nvSpPr>
        <p:spPr>
          <a:xfrm>
            <a:off x="4140841" y="4128765"/>
            <a:ext cx="1262064" cy="50682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Century Gothic" panose="020B0502020202020204" pitchFamily="34" charset="0"/>
              </a:rPr>
              <a:t>товарная продукция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F92BF9A-9767-4043-9D54-5675E09335E1}"/>
              </a:ext>
            </a:extLst>
          </p:cNvPr>
          <p:cNvSpPr txBox="1"/>
          <p:nvPr/>
        </p:nvSpPr>
        <p:spPr>
          <a:xfrm>
            <a:off x="2695518" y="4182120"/>
            <a:ext cx="13501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latin typeface="Century Gothic" panose="020B0502020202020204" pitchFamily="34" charset="0"/>
                <a:ea typeface="Inter" panose="020B0502030000000004" pitchFamily="34" charset="0"/>
              </a:rPr>
              <a:t>60</a:t>
            </a:r>
            <a:r>
              <a:rPr lang="ru-RU" sz="1200" dirty="0">
                <a:latin typeface="Century Gothic" panose="020B0502020202020204" pitchFamily="34" charset="0"/>
                <a:ea typeface="Inter" panose="020B0502030000000004" pitchFamily="34" charset="0"/>
              </a:rPr>
              <a:t> тыс. т/год</a:t>
            </a:r>
          </a:p>
        </p:txBody>
      </p:sp>
      <p:cxnSp>
        <p:nvCxnSpPr>
          <p:cNvPr id="60" name="Прямая со стрелкой 59">
            <a:extLst>
              <a:ext uri="{FF2B5EF4-FFF2-40B4-BE49-F238E27FC236}">
                <a16:creationId xmlns:a16="http://schemas.microsoft.com/office/drawing/2014/main" id="{2775FB81-37D9-4A4E-B02D-7F6787AEE372}"/>
              </a:ext>
            </a:extLst>
          </p:cNvPr>
          <p:cNvCxnSpPr>
            <a:cxnSpLocks/>
          </p:cNvCxnSpPr>
          <p:nvPr/>
        </p:nvCxnSpPr>
        <p:spPr>
          <a:xfrm>
            <a:off x="4737949" y="3777319"/>
            <a:ext cx="0" cy="298292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8942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oogle Shape;91;p16">
            <a:extLst>
              <a:ext uri="{FF2B5EF4-FFF2-40B4-BE49-F238E27FC236}">
                <a16:creationId xmlns:a16="http://schemas.microsoft.com/office/drawing/2014/main" id="{C155C265-EC0D-4CAE-AF05-5D4273FA993D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92;p16">
            <a:extLst>
              <a:ext uri="{FF2B5EF4-FFF2-40B4-BE49-F238E27FC236}">
                <a16:creationId xmlns:a16="http://schemas.microsoft.com/office/drawing/2014/main" id="{577EF62E-7690-4B8C-BB17-43AFEE141727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ru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lang="en-US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	</a:t>
            </a:r>
            <a:endParaRPr sz="600" dirty="0">
              <a:solidFill>
                <a:srgbClr val="999999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B1522D20-6DA3-4BF6-A305-BD05541527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00022"/>
            <a:ext cx="9143994" cy="44514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000" b="1" dirty="0">
                <a:latin typeface="Century Gothic" panose="020B0502020202020204" pitchFamily="34" charset="0"/>
                <a:ea typeface="Inter" panose="020B0604020202020204" charset="0"/>
                <a:cs typeface="Tahoma" panose="020B0604030504040204" pitchFamily="34" charset="0"/>
              </a:rPr>
              <a:t>ЧТО ТАКОЕ ПАО (</a:t>
            </a:r>
            <a:r>
              <a:rPr lang="ru-RU" sz="2000" b="1" dirty="0" err="1">
                <a:latin typeface="Century Gothic" panose="020B0502020202020204" pitchFamily="34" charset="0"/>
                <a:ea typeface="Inter" panose="020B0604020202020204" charset="0"/>
                <a:cs typeface="Tahoma" panose="020B0604030504040204" pitchFamily="34" charset="0"/>
              </a:rPr>
              <a:t>полиальфаолефины</a:t>
            </a:r>
            <a:r>
              <a:rPr lang="ru-RU" sz="2000" b="1" dirty="0">
                <a:latin typeface="Century Gothic" panose="020B0502020202020204" pitchFamily="34" charset="0"/>
                <a:ea typeface="Inter" panose="020B0604020202020204" charset="0"/>
                <a:cs typeface="Tahoma" panose="020B0604030504040204" pitchFamily="34" charset="0"/>
              </a:rPr>
              <a:t>)</a:t>
            </a:r>
            <a:endParaRPr lang="ru-RU" sz="2000" b="1" u="none" dirty="0">
              <a:latin typeface="Century Gothic" panose="020B0502020202020204" pitchFamily="34" charset="0"/>
              <a:ea typeface="Inter" panose="020B0604020202020204" charset="0"/>
              <a:cs typeface="Tahoma" panose="020B0604030504040204" pitchFamily="34" charset="0"/>
            </a:endParaRPr>
          </a:p>
        </p:txBody>
      </p:sp>
      <p:graphicFrame>
        <p:nvGraphicFramePr>
          <p:cNvPr id="11" name="Таблица 124">
            <a:extLst>
              <a:ext uri="{FF2B5EF4-FFF2-40B4-BE49-F238E27FC236}">
                <a16:creationId xmlns:a16="http://schemas.microsoft.com/office/drawing/2014/main" id="{8376EE83-A7C3-4437-929F-E204753756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2158891"/>
              </p:ext>
            </p:extLst>
          </p:nvPr>
        </p:nvGraphicFramePr>
        <p:xfrm>
          <a:off x="332515" y="1024164"/>
          <a:ext cx="8478964" cy="3458121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1638968">
                  <a:extLst>
                    <a:ext uri="{9D8B030D-6E8A-4147-A177-3AD203B41FA5}">
                      <a16:colId xmlns:a16="http://schemas.microsoft.com/office/drawing/2014/main" val="3952707231"/>
                    </a:ext>
                  </a:extLst>
                </a:gridCol>
                <a:gridCol w="3419998">
                  <a:extLst>
                    <a:ext uri="{9D8B030D-6E8A-4147-A177-3AD203B41FA5}">
                      <a16:colId xmlns:a16="http://schemas.microsoft.com/office/drawing/2014/main" val="1305653588"/>
                    </a:ext>
                  </a:extLst>
                </a:gridCol>
                <a:gridCol w="3419998">
                  <a:extLst>
                    <a:ext uri="{9D8B030D-6E8A-4147-A177-3AD203B41FA5}">
                      <a16:colId xmlns:a16="http://schemas.microsoft.com/office/drawing/2014/main" val="2936860493"/>
                    </a:ext>
                  </a:extLst>
                </a:gridCol>
              </a:tblGrid>
              <a:tr h="36220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ru-RU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b="1" dirty="0">
                          <a:latin typeface="Century Gothic" panose="020B0502020202020204" pitchFamily="34" charset="0"/>
                        </a:rPr>
                        <a:t>ПАО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b="1" dirty="0">
                          <a:latin typeface="Century Gothic" panose="020B0502020202020204" pitchFamily="34" charset="0"/>
                        </a:rPr>
                        <a:t>Нефтяные масл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9924329"/>
                  </a:ext>
                </a:extLst>
              </a:tr>
              <a:tr h="1334425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dirty="0">
                          <a:latin typeface="Century Gothic" panose="020B0502020202020204" pitchFamily="34" charset="0"/>
                        </a:rPr>
                        <a:t>Строение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ru-RU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ru-RU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3020423"/>
                  </a:ext>
                </a:extLst>
              </a:tr>
              <a:tr h="3622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latin typeface="Century Gothic" panose="020B0502020202020204" pitchFamily="34" charset="0"/>
                        </a:rPr>
                        <a:t>Сер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latin typeface="Century Gothic" panose="020B0502020202020204" pitchFamily="34" charset="0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dirty="0">
                          <a:latin typeface="Century Gothic" panose="020B0502020202020204" pitchFamily="34" charset="0"/>
                        </a:rPr>
                        <a:t>Присутствую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48759144"/>
                  </a:ext>
                </a:extLst>
              </a:tr>
              <a:tr h="674733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dirty="0">
                          <a:latin typeface="Century Gothic" panose="020B0502020202020204" pitchFamily="34" charset="0"/>
                        </a:rPr>
                        <a:t>Ароматические углеводороды 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dirty="0">
                          <a:latin typeface="Century Gothic" panose="020B0502020202020204" pitchFamily="34" charset="0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dirty="0">
                          <a:latin typeface="Century Gothic" panose="020B0502020202020204" pitchFamily="34" charset="0"/>
                        </a:rPr>
                        <a:t>Присутствую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10076582"/>
                  </a:ext>
                </a:extLst>
              </a:tr>
              <a:tr h="674733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dirty="0">
                          <a:latin typeface="Century Gothic" panose="020B0502020202020204" pitchFamily="34" charset="0"/>
                        </a:rPr>
                        <a:t>Нафтеновые углеводороды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dirty="0">
                          <a:latin typeface="Century Gothic" panose="020B0502020202020204" pitchFamily="34" charset="0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dirty="0">
                          <a:latin typeface="Century Gothic" panose="020B0502020202020204" pitchFamily="34" charset="0"/>
                        </a:rPr>
                        <a:t>Присутствую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3678271"/>
                  </a:ext>
                </a:extLst>
              </a:tr>
            </a:tbl>
          </a:graphicData>
        </a:graphic>
      </p:graphicFrame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84A8A63B-D18A-42E9-8317-838CC173A656}"/>
              </a:ext>
            </a:extLst>
          </p:cNvPr>
          <p:cNvCxnSpPr>
            <a:cxnSpLocks/>
          </p:cNvCxnSpPr>
          <p:nvPr/>
        </p:nvCxnSpPr>
        <p:spPr>
          <a:xfrm>
            <a:off x="332515" y="1406246"/>
            <a:ext cx="8496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597CE64-1191-42C2-90E4-68AF7F6C40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6933" y="1534721"/>
            <a:ext cx="1893414" cy="1037029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DB941E5-2BB5-4F31-86E1-FAD6EE90A8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09550" y="1660800"/>
            <a:ext cx="2483466" cy="784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618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>
            <a:extLst>
              <a:ext uri="{FF2B5EF4-FFF2-40B4-BE49-F238E27FC236}">
                <a16:creationId xmlns:a16="http://schemas.microsoft.com/office/drawing/2014/main" id="{7561D1D6-ABEC-4D29-A7BC-B195D7482576}"/>
              </a:ext>
            </a:extLst>
          </p:cNvPr>
          <p:cNvSpPr txBox="1"/>
          <p:nvPr/>
        </p:nvSpPr>
        <p:spPr>
          <a:xfrm>
            <a:off x="5998418" y="2452263"/>
            <a:ext cx="2101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Century Gothic" panose="020B0502020202020204" pitchFamily="34" charset="0"/>
                <a:ea typeface="Inter" pitchFamily="34" charset="0"/>
              </a:rPr>
              <a:t>Экологичность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6619DC7-1BD2-4DDA-BD7F-64481DF52D1A}"/>
              </a:ext>
            </a:extLst>
          </p:cNvPr>
          <p:cNvSpPr txBox="1"/>
          <p:nvPr/>
        </p:nvSpPr>
        <p:spPr>
          <a:xfrm>
            <a:off x="1000463" y="2478941"/>
            <a:ext cx="21019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Century Gothic" panose="020B0502020202020204" pitchFamily="34" charset="0"/>
                <a:ea typeface="Inter" pitchFamily="34" charset="0"/>
              </a:rPr>
              <a:t>Повышенная теплопроводность</a:t>
            </a:r>
          </a:p>
        </p:txBody>
      </p:sp>
      <p:pic>
        <p:nvPicPr>
          <p:cNvPr id="69" name="Рисунок 68">
            <a:extLst>
              <a:ext uri="{FF2B5EF4-FFF2-40B4-BE49-F238E27FC236}">
                <a16:creationId xmlns:a16="http://schemas.microsoft.com/office/drawing/2014/main" id="{F45C21A7-9696-41CC-B0E6-5857A97836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32119" y="3561851"/>
            <a:ext cx="900000" cy="900000"/>
          </a:xfrm>
          <a:prstGeom prst="rect">
            <a:avLst/>
          </a:prstGeom>
        </p:spPr>
      </p:pic>
      <p:pic>
        <p:nvPicPr>
          <p:cNvPr id="70" name="Рисунок 69">
            <a:extLst>
              <a:ext uri="{FF2B5EF4-FFF2-40B4-BE49-F238E27FC236}">
                <a16:creationId xmlns:a16="http://schemas.microsoft.com/office/drawing/2014/main" id="{2D9A584B-A61E-47E9-BF7C-3C3E3804F1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13793" y="636873"/>
            <a:ext cx="900000" cy="9000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2637EA5-5735-475B-A1AD-81F547830127}"/>
              </a:ext>
            </a:extLst>
          </p:cNvPr>
          <p:cNvSpPr txBox="1"/>
          <p:nvPr/>
        </p:nvSpPr>
        <p:spPr>
          <a:xfrm>
            <a:off x="1059642" y="3660993"/>
            <a:ext cx="2101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Century Gothic" panose="020B0502020202020204" pitchFamily="34" charset="0"/>
                <a:ea typeface="Inter" pitchFamily="34" charset="0"/>
              </a:rPr>
              <a:t>Низкая летучесть</a:t>
            </a:r>
          </a:p>
        </p:txBody>
      </p:sp>
      <p:sp>
        <p:nvSpPr>
          <p:cNvPr id="2" name="Google Shape;56;p13">
            <a:extLst>
              <a:ext uri="{FF2B5EF4-FFF2-40B4-BE49-F238E27FC236}">
                <a16:creationId xmlns:a16="http://schemas.microsoft.com/office/drawing/2014/main" id="{FDDFE417-B0DF-4519-AFFF-98249AAC9CFC}"/>
              </a:ext>
            </a:extLst>
          </p:cNvPr>
          <p:cNvSpPr txBox="1"/>
          <p:nvPr/>
        </p:nvSpPr>
        <p:spPr>
          <a:xfrm>
            <a:off x="-9521" y="108300"/>
            <a:ext cx="9143996" cy="72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 b="1" dirty="0">
                <a:solidFill>
                  <a:schemeClr val="tx1"/>
                </a:solidFill>
                <a:latin typeface="Century Gothic" panose="020B0502020202020204" pitchFamily="34" charset="0"/>
                <a:ea typeface="Inter"/>
                <a:cs typeface="Inter"/>
                <a:sym typeface="Inter"/>
              </a:rPr>
              <a:t>БАЗОВОЕ МАСЛО </a:t>
            </a:r>
            <a:r>
              <a:rPr lang="en-US" sz="2000" b="1" dirty="0">
                <a:solidFill>
                  <a:schemeClr val="tx1"/>
                </a:solidFill>
                <a:latin typeface="Century Gothic" panose="020B0502020202020204" pitchFamily="34" charset="0"/>
                <a:ea typeface="Inter"/>
                <a:cs typeface="Inter"/>
                <a:sym typeface="Inter"/>
              </a:rPr>
              <a:t>TAIF PAO</a:t>
            </a:r>
            <a:endParaRPr lang="ru-RU" sz="2000" b="1" dirty="0">
              <a:solidFill>
                <a:schemeClr val="tx1"/>
              </a:solidFill>
              <a:latin typeface="Century Gothic" panose="020B0502020202020204" pitchFamily="34" charset="0"/>
              <a:ea typeface="Inter"/>
              <a:cs typeface="Inter"/>
              <a:sym typeface="Inter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CD7450A-0346-4AF4-AE22-A82A2A5C489E}"/>
              </a:ext>
            </a:extLst>
          </p:cNvPr>
          <p:cNvSpPr txBox="1"/>
          <p:nvPr/>
        </p:nvSpPr>
        <p:spPr>
          <a:xfrm>
            <a:off x="1203118" y="1197410"/>
            <a:ext cx="23472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Century Gothic" panose="020B0502020202020204" pitchFamily="34" charset="0"/>
                <a:ea typeface="Inter" pitchFamily="34" charset="0"/>
              </a:rPr>
              <a:t>Высокая стабильность вязкости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C0DB3E7-AAAA-43DE-BF2D-9CC03EA7DCD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11881" y="3483191"/>
            <a:ext cx="900000" cy="9000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68513971-C369-4DD8-B426-47CF673BE10A}"/>
              </a:ext>
            </a:extLst>
          </p:cNvPr>
          <p:cNvSpPr txBox="1"/>
          <p:nvPr/>
        </p:nvSpPr>
        <p:spPr>
          <a:xfrm>
            <a:off x="5732590" y="3081187"/>
            <a:ext cx="241403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Century Gothic" panose="020B0502020202020204" pitchFamily="34" charset="0"/>
                <a:ea typeface="Inter" panose="020B0604020202020204" charset="0"/>
              </a:rPr>
              <a:t>Исключительная </a:t>
            </a:r>
            <a:r>
              <a:rPr lang="ru-RU" b="1" dirty="0" err="1">
                <a:latin typeface="Century Gothic" panose="020B0502020202020204" pitchFamily="34" charset="0"/>
                <a:ea typeface="Inter" panose="020B0604020202020204" charset="0"/>
              </a:rPr>
              <a:t>термоокислительная</a:t>
            </a:r>
            <a:r>
              <a:rPr lang="ru-RU" b="1" dirty="0">
                <a:latin typeface="Century Gothic" panose="020B0502020202020204" pitchFamily="34" charset="0"/>
                <a:ea typeface="Inter" panose="020B0604020202020204" charset="0"/>
              </a:rPr>
              <a:t> стабильность</a:t>
            </a:r>
          </a:p>
        </p:txBody>
      </p:sp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972BA1C0-B6A4-41C0-A3DE-2193F5C2100C}"/>
              </a:ext>
            </a:extLst>
          </p:cNvPr>
          <p:cNvCxnSpPr>
            <a:cxnSpLocks/>
          </p:cNvCxnSpPr>
          <p:nvPr/>
        </p:nvCxnSpPr>
        <p:spPr>
          <a:xfrm flipH="1">
            <a:off x="1202515" y="1704601"/>
            <a:ext cx="2171298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id="{92677597-634E-49E2-A948-2035EF8FB83D}"/>
              </a:ext>
            </a:extLst>
          </p:cNvPr>
          <p:cNvCxnSpPr>
            <a:cxnSpLocks/>
          </p:cNvCxnSpPr>
          <p:nvPr/>
        </p:nvCxnSpPr>
        <p:spPr>
          <a:xfrm flipH="1">
            <a:off x="5720465" y="1685546"/>
            <a:ext cx="2145702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id="{2BE6405C-8C96-47A2-9D0C-5B77AC9ABA55}"/>
              </a:ext>
            </a:extLst>
          </p:cNvPr>
          <p:cNvCxnSpPr>
            <a:cxnSpLocks/>
          </p:cNvCxnSpPr>
          <p:nvPr/>
        </p:nvCxnSpPr>
        <p:spPr>
          <a:xfrm flipH="1" flipV="1">
            <a:off x="5863586" y="3997124"/>
            <a:ext cx="2014793" cy="8575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" name="Группа 111">
            <a:extLst>
              <a:ext uri="{FF2B5EF4-FFF2-40B4-BE49-F238E27FC236}">
                <a16:creationId xmlns:a16="http://schemas.microsoft.com/office/drawing/2014/main" id="{DF7D4CF2-7354-4B95-A1CC-B04851EA0179}"/>
              </a:ext>
            </a:extLst>
          </p:cNvPr>
          <p:cNvGrpSpPr/>
          <p:nvPr/>
        </p:nvGrpSpPr>
        <p:grpSpPr>
          <a:xfrm>
            <a:off x="3070899" y="1403097"/>
            <a:ext cx="2927519" cy="2773056"/>
            <a:chOff x="3074652" y="1020973"/>
            <a:chExt cx="2978037" cy="2957835"/>
          </a:xfrm>
        </p:grpSpPr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4399CE4F-C582-4D32-A398-1A78C4363A2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599057" y="1492815"/>
              <a:ext cx="34982" cy="3487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4" name="Группа 43">
              <a:extLst>
                <a:ext uri="{FF2B5EF4-FFF2-40B4-BE49-F238E27FC236}">
                  <a16:creationId xmlns:a16="http://schemas.microsoft.com/office/drawing/2014/main" id="{C6F21CB9-E717-49A5-AFEE-8AFB9E9F0865}"/>
                </a:ext>
              </a:extLst>
            </p:cNvPr>
            <p:cNvGrpSpPr/>
            <p:nvPr/>
          </p:nvGrpSpPr>
          <p:grpSpPr>
            <a:xfrm>
              <a:off x="3125712" y="1055524"/>
              <a:ext cx="2880000" cy="2880000"/>
              <a:chOff x="3125712" y="1142987"/>
              <a:chExt cx="2880000" cy="2880000"/>
            </a:xfrm>
          </p:grpSpPr>
          <p:sp>
            <p:nvSpPr>
              <p:cNvPr id="24" name="Овал 23">
                <a:extLst>
                  <a:ext uri="{FF2B5EF4-FFF2-40B4-BE49-F238E27FC236}">
                    <a16:creationId xmlns:a16="http://schemas.microsoft.com/office/drawing/2014/main" id="{7E1A6F24-9AA2-4F38-9E30-EE5351148008}"/>
                  </a:ext>
                </a:extLst>
              </p:cNvPr>
              <p:cNvSpPr/>
              <p:nvPr/>
            </p:nvSpPr>
            <p:spPr>
              <a:xfrm>
                <a:off x="3125712" y="1142987"/>
                <a:ext cx="2880000" cy="2880000"/>
              </a:xfrm>
              <a:prstGeom prst="ellipse">
                <a:avLst/>
              </a:prstGeom>
              <a:solidFill>
                <a:srgbClr val="FA7800"/>
              </a:solidFill>
              <a:ln w="38100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3" name="Овал 42">
                <a:extLst>
                  <a:ext uri="{FF2B5EF4-FFF2-40B4-BE49-F238E27FC236}">
                    <a16:creationId xmlns:a16="http://schemas.microsoft.com/office/drawing/2014/main" id="{92D04AC8-2BEE-41E9-A604-D489E57168E0}"/>
                  </a:ext>
                </a:extLst>
              </p:cNvPr>
              <p:cNvSpPr/>
              <p:nvPr/>
            </p:nvSpPr>
            <p:spPr>
              <a:xfrm>
                <a:off x="3305712" y="1327092"/>
                <a:ext cx="2520000" cy="2520000"/>
              </a:xfrm>
              <a:prstGeom prst="ellipse">
                <a:avLst/>
              </a:prstGeom>
              <a:solidFill>
                <a:schemeClr val="bg1"/>
              </a:solidFill>
              <a:ln w="38100">
                <a:noFill/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</p:grpSp>
        <p:sp>
          <p:nvSpPr>
            <p:cNvPr id="45" name="Стрелка: шеврон 44">
              <a:extLst>
                <a:ext uri="{FF2B5EF4-FFF2-40B4-BE49-F238E27FC236}">
                  <a16:creationId xmlns:a16="http://schemas.microsoft.com/office/drawing/2014/main" id="{45B21A75-D898-4542-9EDA-7095452529B4}"/>
                </a:ext>
              </a:extLst>
            </p:cNvPr>
            <p:cNvSpPr/>
            <p:nvPr/>
          </p:nvSpPr>
          <p:spPr>
            <a:xfrm>
              <a:off x="4513777" y="1020973"/>
              <a:ext cx="87679" cy="270414"/>
            </a:xfrm>
            <a:prstGeom prst="chevron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46" name="Стрелка: шеврон 45">
              <a:extLst>
                <a:ext uri="{FF2B5EF4-FFF2-40B4-BE49-F238E27FC236}">
                  <a16:creationId xmlns:a16="http://schemas.microsoft.com/office/drawing/2014/main" id="{1140D7C1-DC38-4EE6-A03D-7D818DB54E37}"/>
                </a:ext>
              </a:extLst>
            </p:cNvPr>
            <p:cNvSpPr/>
            <p:nvPr/>
          </p:nvSpPr>
          <p:spPr>
            <a:xfrm rot="5400000">
              <a:off x="5873642" y="2343921"/>
              <a:ext cx="87679" cy="270414"/>
            </a:xfrm>
            <a:prstGeom prst="chevron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47" name="Стрелка: шеврон 46">
              <a:extLst>
                <a:ext uri="{FF2B5EF4-FFF2-40B4-BE49-F238E27FC236}">
                  <a16:creationId xmlns:a16="http://schemas.microsoft.com/office/drawing/2014/main" id="{5C3289C4-EE3E-41F9-ABC9-E2769E42D33F}"/>
                </a:ext>
              </a:extLst>
            </p:cNvPr>
            <p:cNvSpPr/>
            <p:nvPr/>
          </p:nvSpPr>
          <p:spPr>
            <a:xfrm rot="16200000">
              <a:off x="3166019" y="2356180"/>
              <a:ext cx="87679" cy="270414"/>
            </a:xfrm>
            <a:prstGeom prst="chevron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50" name="Стрелка: шеврон 49">
              <a:extLst>
                <a:ext uri="{FF2B5EF4-FFF2-40B4-BE49-F238E27FC236}">
                  <a16:creationId xmlns:a16="http://schemas.microsoft.com/office/drawing/2014/main" id="{60EBE13C-08E4-4E5C-9D11-16FF14DFC7F6}"/>
                </a:ext>
              </a:extLst>
            </p:cNvPr>
            <p:cNvSpPr/>
            <p:nvPr/>
          </p:nvSpPr>
          <p:spPr>
            <a:xfrm rot="5400000">
              <a:off x="4557616" y="3179995"/>
              <a:ext cx="87679" cy="270414"/>
            </a:xfrm>
            <a:prstGeom prst="chevron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54" name="Стрелка: шеврон 53">
              <a:extLst>
                <a:ext uri="{FF2B5EF4-FFF2-40B4-BE49-F238E27FC236}">
                  <a16:creationId xmlns:a16="http://schemas.microsoft.com/office/drawing/2014/main" id="{2B4C129A-F2F8-48AC-8C83-2075A5CCB41C}"/>
                </a:ext>
              </a:extLst>
            </p:cNvPr>
            <p:cNvSpPr/>
            <p:nvPr/>
          </p:nvSpPr>
          <p:spPr>
            <a:xfrm rot="10800000">
              <a:off x="4524221" y="3708394"/>
              <a:ext cx="87679" cy="270414"/>
            </a:xfrm>
            <a:prstGeom prst="chevron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cxnSp>
          <p:nvCxnSpPr>
            <p:cNvPr id="58" name="Прямая соединительная линия 57">
              <a:extLst>
                <a:ext uri="{FF2B5EF4-FFF2-40B4-BE49-F238E27FC236}">
                  <a16:creationId xmlns:a16="http://schemas.microsoft.com/office/drawing/2014/main" id="{6A22FDCD-F1B5-4411-B1F6-90808EC7144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365443" y="1336786"/>
              <a:ext cx="154800" cy="115200"/>
            </a:xfrm>
            <a:prstGeom prst="line">
              <a:avLst/>
            </a:prstGeom>
            <a:ln>
              <a:solidFill>
                <a:schemeClr val="bg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Прямая соединительная линия 77">
              <a:extLst>
                <a:ext uri="{FF2B5EF4-FFF2-40B4-BE49-F238E27FC236}">
                  <a16:creationId xmlns:a16="http://schemas.microsoft.com/office/drawing/2014/main" id="{5B54FA17-CAC1-4AB3-8056-F6BD444AF61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10294" y="1335155"/>
              <a:ext cx="154800" cy="115200"/>
            </a:xfrm>
            <a:prstGeom prst="line">
              <a:avLst/>
            </a:prstGeom>
            <a:ln>
              <a:solidFill>
                <a:schemeClr val="bg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Прямая соединительная линия 84">
              <a:extLst>
                <a:ext uri="{FF2B5EF4-FFF2-40B4-BE49-F238E27FC236}">
                  <a16:creationId xmlns:a16="http://schemas.microsoft.com/office/drawing/2014/main" id="{B81C95B0-D48C-4AB3-AC7D-DB8FC32E899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675419" y="3437332"/>
              <a:ext cx="212849" cy="350517"/>
            </a:xfrm>
            <a:prstGeom prst="line">
              <a:avLst/>
            </a:prstGeom>
            <a:ln>
              <a:solidFill>
                <a:schemeClr val="bg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Прямая соединительная линия 100">
              <a:extLst>
                <a:ext uri="{FF2B5EF4-FFF2-40B4-BE49-F238E27FC236}">
                  <a16:creationId xmlns:a16="http://schemas.microsoft.com/office/drawing/2014/main" id="{62B73371-E491-4F6C-8885-11578B61EF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52285" y="3439186"/>
              <a:ext cx="159421" cy="369275"/>
            </a:xfrm>
            <a:prstGeom prst="line">
              <a:avLst/>
            </a:prstGeom>
            <a:ln>
              <a:solidFill>
                <a:schemeClr val="bg2">
                  <a:lumMod val="60000"/>
                  <a:lumOff val="4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2" name="Прямая соединительная линия 101">
            <a:extLst>
              <a:ext uri="{FF2B5EF4-FFF2-40B4-BE49-F238E27FC236}">
                <a16:creationId xmlns:a16="http://schemas.microsoft.com/office/drawing/2014/main" id="{F328ECEF-5E77-41A9-AF6A-42B0684F0146}"/>
              </a:ext>
            </a:extLst>
          </p:cNvPr>
          <p:cNvCxnSpPr>
            <a:cxnSpLocks/>
          </p:cNvCxnSpPr>
          <p:nvPr/>
        </p:nvCxnSpPr>
        <p:spPr>
          <a:xfrm flipH="1" flipV="1">
            <a:off x="1141072" y="4016448"/>
            <a:ext cx="2104447" cy="2393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oogle Shape;91;p16">
            <a:extLst>
              <a:ext uri="{FF2B5EF4-FFF2-40B4-BE49-F238E27FC236}">
                <a16:creationId xmlns:a16="http://schemas.microsoft.com/office/drawing/2014/main" id="{208406AF-047F-45F0-BD9A-1C0E48E97AB4}"/>
              </a:ext>
            </a:extLst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38" name="Google Shape;92;p16">
            <a:extLst>
              <a:ext uri="{FF2B5EF4-FFF2-40B4-BE49-F238E27FC236}">
                <a16:creationId xmlns:a16="http://schemas.microsoft.com/office/drawing/2014/main" id="{97EF7C25-B9DC-4530-B107-BF73918F477B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r>
              <a:rPr lang="ru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lang="en-US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600" dirty="0">
                <a:solidFill>
                  <a:srgbClr val="999999"/>
                </a:solidFill>
                <a:latin typeface="Inter"/>
                <a:ea typeface="Inter"/>
                <a:cs typeface="Inter"/>
                <a:sym typeface="Inter"/>
              </a:rPr>
              <a:t>	</a:t>
            </a:r>
            <a:endParaRPr sz="600" dirty="0">
              <a:solidFill>
                <a:srgbClr val="999999"/>
              </a:solidFill>
              <a:latin typeface="Inter"/>
              <a:ea typeface="Inter"/>
              <a:cs typeface="Inter"/>
              <a:sym typeface="Inter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6F5D40A-64D8-446F-94DB-BC7CB27550B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59469" y="2097374"/>
            <a:ext cx="1338476" cy="1385817"/>
          </a:xfrm>
          <a:prstGeom prst="rect">
            <a:avLst/>
          </a:prstGeom>
        </p:spPr>
      </p:pic>
      <p:pic>
        <p:nvPicPr>
          <p:cNvPr id="19" name="Рисунок 18" descr="Термометр">
            <a:extLst>
              <a:ext uri="{FF2B5EF4-FFF2-40B4-BE49-F238E27FC236}">
                <a16:creationId xmlns:a16="http://schemas.microsoft.com/office/drawing/2014/main" id="{07A67894-A589-4D11-B264-A2DA304BFFA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076878" y="761158"/>
            <a:ext cx="900000" cy="900000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5C8D2403-741B-4AE2-9020-BA32B5BAF871}"/>
              </a:ext>
            </a:extLst>
          </p:cNvPr>
          <p:cNvSpPr txBox="1"/>
          <p:nvPr/>
        </p:nvSpPr>
        <p:spPr>
          <a:xfrm>
            <a:off x="5637625" y="927125"/>
            <a:ext cx="225255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Century Gothic" panose="020B0502020202020204" pitchFamily="34" charset="0"/>
                <a:ea typeface="Inter" pitchFamily="34" charset="0"/>
              </a:rPr>
              <a:t>Отличные низкотемпературные характеристики</a:t>
            </a:r>
          </a:p>
        </p:txBody>
      </p:sp>
      <p:pic>
        <p:nvPicPr>
          <p:cNvPr id="6" name="Рисунок 5" descr="Бесконечность">
            <a:extLst>
              <a:ext uri="{FF2B5EF4-FFF2-40B4-BE49-F238E27FC236}">
                <a16:creationId xmlns:a16="http://schemas.microsoft.com/office/drawing/2014/main" id="{17A83F94-4897-4ECB-B649-2B7FEE46501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11881" y="2114550"/>
            <a:ext cx="914400" cy="914400"/>
          </a:xfrm>
          <a:prstGeom prst="rect">
            <a:avLst/>
          </a:prstGeom>
        </p:spPr>
      </p:pic>
      <p:pic>
        <p:nvPicPr>
          <p:cNvPr id="9" name="Рисунок 8" descr="Лист">
            <a:extLst>
              <a:ext uri="{FF2B5EF4-FFF2-40B4-BE49-F238E27FC236}">
                <a16:creationId xmlns:a16="http://schemas.microsoft.com/office/drawing/2014/main" id="{1DBE0009-B891-4984-9108-62A4A48FFC1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069678" y="2124979"/>
            <a:ext cx="914400" cy="914400"/>
          </a:xfrm>
          <a:prstGeom prst="rect">
            <a:avLst/>
          </a:prstGeom>
        </p:spPr>
      </p:pic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540C17D9-A8BC-47A6-B4BB-7C219F1940E5}"/>
              </a:ext>
            </a:extLst>
          </p:cNvPr>
          <p:cNvCxnSpPr>
            <a:cxnSpLocks/>
          </p:cNvCxnSpPr>
          <p:nvPr/>
        </p:nvCxnSpPr>
        <p:spPr>
          <a:xfrm flipH="1">
            <a:off x="1143000" y="2752703"/>
            <a:ext cx="1939993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E2A773DC-DA63-48E3-9215-DA95F4E3EA34}"/>
              </a:ext>
            </a:extLst>
          </p:cNvPr>
          <p:cNvCxnSpPr>
            <a:cxnSpLocks/>
          </p:cNvCxnSpPr>
          <p:nvPr/>
        </p:nvCxnSpPr>
        <p:spPr>
          <a:xfrm flipH="1">
            <a:off x="5998418" y="2729058"/>
            <a:ext cx="2101974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66667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oogle Shape;91;p16">
            <a:extLst>
              <a:ext uri="{FF2B5EF4-FFF2-40B4-BE49-F238E27FC236}">
                <a16:creationId xmlns:a16="http://schemas.microsoft.com/office/drawing/2014/main" id="{C155C265-EC0D-4CAE-AF05-5D4273FA993D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92;p16">
            <a:extLst>
              <a:ext uri="{FF2B5EF4-FFF2-40B4-BE49-F238E27FC236}">
                <a16:creationId xmlns:a16="http://schemas.microsoft.com/office/drawing/2014/main" id="{577EF62E-7690-4B8C-BB17-43AFEE141727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	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B1522D20-6DA3-4BF6-A305-BD05541527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" y="106579"/>
            <a:ext cx="9143994" cy="44514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000" b="1" u="none" dirty="0">
                <a:latin typeface="Century Gothic" panose="020B0502020202020204" pitchFamily="34" charset="0"/>
                <a:ea typeface="Inter" panose="020B0604020202020204" charset="0"/>
                <a:cs typeface="Tahoma" panose="020B0604030504040204" pitchFamily="34" charset="0"/>
              </a:rPr>
              <a:t>АССОРТИМЕНТ ПРОДУКЦИИ</a:t>
            </a:r>
          </a:p>
        </p:txBody>
      </p:sp>
      <p:graphicFrame>
        <p:nvGraphicFramePr>
          <p:cNvPr id="11" name="Таблица 124">
            <a:extLst>
              <a:ext uri="{FF2B5EF4-FFF2-40B4-BE49-F238E27FC236}">
                <a16:creationId xmlns:a16="http://schemas.microsoft.com/office/drawing/2014/main" id="{8376EE83-A7C3-4437-929F-E204753756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1781099"/>
              </p:ext>
            </p:extLst>
          </p:nvPr>
        </p:nvGraphicFramePr>
        <p:xfrm>
          <a:off x="233998" y="551722"/>
          <a:ext cx="8676000" cy="4050798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412000">
                  <a:extLst>
                    <a:ext uri="{9D8B030D-6E8A-4147-A177-3AD203B41FA5}">
                      <a16:colId xmlns:a16="http://schemas.microsoft.com/office/drawing/2014/main" val="3952707231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305653588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4777467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751778725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713971404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078757948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486620145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686070949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38379425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88483780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432260217"/>
                    </a:ext>
                  </a:extLst>
                </a:gridCol>
              </a:tblGrid>
              <a:tr h="159111">
                <a:tc row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dirty="0">
                          <a:latin typeface="Century Gothic" panose="020B0502020202020204" pitchFamily="34" charset="0"/>
                        </a:rPr>
                        <a:t>Показатель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400" b="0" dirty="0">
                          <a:latin typeface="Century Gothic" panose="020B0502020202020204" pitchFamily="34" charset="0"/>
                        </a:rPr>
                        <a:t>Мето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9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b="1" dirty="0">
                          <a:latin typeface="Century Gothic" panose="020B0502020202020204" pitchFamily="34" charset="0"/>
                        </a:rPr>
                        <a:t>TAIF PAO</a:t>
                      </a: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8213342"/>
                  </a:ext>
                </a:extLst>
              </a:tr>
              <a:tr h="179458">
                <a:tc v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dirty="0">
                          <a:latin typeface="Century Gothic" panose="020B0502020202020204" pitchFamily="34" charset="0"/>
                        </a:rPr>
                        <a:t>Property</a:t>
                      </a:r>
                      <a:endParaRPr lang="ru-RU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100" b="1" dirty="0">
                          <a:latin typeface="Century Gothic" panose="020B0502020202020204" pitchFamily="34" charset="0"/>
                        </a:rPr>
                        <a:t>Test method</a:t>
                      </a:r>
                      <a:endParaRPr lang="ru-RU" sz="1100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b="1" dirty="0">
                          <a:latin typeface="Century Gothic" panose="020B0502020202020204" pitchFamily="34" charset="0"/>
                        </a:rPr>
                        <a:t>2</a:t>
                      </a: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b="1" dirty="0">
                          <a:latin typeface="Century Gothic" panose="020B0502020202020204" pitchFamily="34" charset="0"/>
                        </a:rPr>
                        <a:t>4</a:t>
                      </a: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b="1" dirty="0">
                          <a:latin typeface="Century Gothic" panose="020B0502020202020204" pitchFamily="34" charset="0"/>
                        </a:rPr>
                        <a:t>6</a:t>
                      </a: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b="1" dirty="0">
                          <a:latin typeface="Century Gothic" panose="020B0502020202020204" pitchFamily="34" charset="0"/>
                        </a:rPr>
                        <a:t>8</a:t>
                      </a: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b="1" dirty="0">
                          <a:latin typeface="Century Gothic" panose="020B0502020202020204" pitchFamily="34" charset="0"/>
                        </a:rPr>
                        <a:t>10</a:t>
                      </a: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b="1" dirty="0">
                          <a:latin typeface="Century Gothic" panose="020B0502020202020204" pitchFamily="34" charset="0"/>
                        </a:rPr>
                        <a:t>12</a:t>
                      </a: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b="1" dirty="0">
                          <a:latin typeface="Century Gothic" panose="020B0502020202020204" pitchFamily="34" charset="0"/>
                        </a:rPr>
                        <a:t>20</a:t>
                      </a: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b="1" dirty="0">
                          <a:latin typeface="Century Gothic" panose="020B0502020202020204" pitchFamily="34" charset="0"/>
                        </a:rPr>
                        <a:t>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b="1" dirty="0">
                          <a:latin typeface="Century Gothic" panose="020B0502020202020204" pitchFamily="34" charset="0"/>
                        </a:rPr>
                        <a:t>1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9924329"/>
                  </a:ext>
                </a:extLst>
              </a:tr>
              <a:tr h="178552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КВ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при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 100 °С, 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мм</a:t>
                      </a:r>
                      <a:r>
                        <a:rPr lang="en-US" sz="1200" baseline="30000" dirty="0">
                          <a:latin typeface="Century Gothic" panose="020B0502020202020204" pitchFamily="34" charset="0"/>
                        </a:rPr>
                        <a:t>2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/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с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ASTM D445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,7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4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,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6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,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7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,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0,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11,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19,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44,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96,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3020423"/>
                  </a:ext>
                </a:extLst>
              </a:tr>
              <a:tr h="157203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КВ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при 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-40 °С, 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мм</a:t>
                      </a:r>
                      <a:r>
                        <a:rPr lang="en-US" sz="1200" baseline="30000" dirty="0">
                          <a:latin typeface="Century Gothic" panose="020B0502020202020204" pitchFamily="34" charset="0"/>
                        </a:rPr>
                        <a:t>2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/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с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ASTM D445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318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3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64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03053714"/>
                  </a:ext>
                </a:extLst>
              </a:tr>
              <a:tr h="157203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CCS 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при -35 °С, </a:t>
                      </a:r>
                      <a:r>
                        <a:rPr lang="ru-RU" sz="1200" dirty="0" err="1">
                          <a:latin typeface="Century Gothic" panose="020B0502020202020204" pitchFamily="34" charset="0"/>
                        </a:rPr>
                        <a:t>сП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ASTM D5293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176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711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55708915"/>
                  </a:ext>
                </a:extLst>
              </a:tr>
              <a:tr h="1572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CCS 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при -30 °С, </a:t>
                      </a:r>
                      <a:r>
                        <a:rPr lang="ru-RU" sz="1200" dirty="0" err="1">
                          <a:latin typeface="Century Gothic" panose="020B0502020202020204" pitchFamily="34" charset="0"/>
                        </a:rPr>
                        <a:t>сП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ASTM D5293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11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423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97905542"/>
                  </a:ext>
                </a:extLst>
              </a:tr>
              <a:tr h="157203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CCS 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при -25 °С, </a:t>
                      </a:r>
                      <a:r>
                        <a:rPr lang="ru-RU" sz="1200" dirty="0" err="1">
                          <a:latin typeface="Century Gothic" panose="020B0502020202020204" pitchFamily="34" charset="0"/>
                        </a:rPr>
                        <a:t>сП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ASTM D5293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75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255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66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85986514"/>
                  </a:ext>
                </a:extLst>
              </a:tr>
              <a:tr h="16678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Индекс вязкости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ASTM D227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1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1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2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27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2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4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15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17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2138723"/>
                  </a:ext>
                </a:extLst>
              </a:tr>
              <a:tr h="166788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NOACK, %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ASTM D580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3,7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6,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6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,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3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,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1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,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73978563"/>
                  </a:ext>
                </a:extLst>
              </a:tr>
              <a:tr h="15365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Температура вспышки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, °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С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ASTM D92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1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5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2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24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2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5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2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7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2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6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0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2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7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28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29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10076582"/>
                  </a:ext>
                </a:extLst>
              </a:tr>
              <a:tr h="15365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Температура застывания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, °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С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ASTM D97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-75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-7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-6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-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5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-5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-5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-4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3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-2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3678271"/>
                  </a:ext>
                </a:extLst>
              </a:tr>
              <a:tr h="166149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Плотность при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 20 °C, 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кг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/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м</a:t>
                      </a:r>
                      <a:r>
                        <a:rPr lang="en-US" sz="1200" baseline="30000" dirty="0">
                          <a:latin typeface="Century Gothic" panose="020B0502020202020204" pitchFamily="34" charset="0"/>
                        </a:rPr>
                        <a:t>3</a:t>
                      </a: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 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ASTM D1298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797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8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82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8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3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83</a:t>
                      </a: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839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843</a:t>
                      </a:r>
                      <a:endParaRPr lang="ru-RU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85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200" dirty="0">
                          <a:latin typeface="Century Gothic" panose="020B0502020202020204" pitchFamily="34" charset="0"/>
                        </a:rPr>
                        <a:t>86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7839592"/>
                  </a:ext>
                </a:extLst>
              </a:tr>
            </a:tbl>
          </a:graphicData>
        </a:graphic>
      </p:graphicFrame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84A8A63B-D18A-42E9-8317-838CC173A656}"/>
              </a:ext>
            </a:extLst>
          </p:cNvPr>
          <p:cNvCxnSpPr>
            <a:cxnSpLocks/>
          </p:cNvCxnSpPr>
          <p:nvPr/>
        </p:nvCxnSpPr>
        <p:spPr>
          <a:xfrm>
            <a:off x="233998" y="1282100"/>
            <a:ext cx="8676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52800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oogle Shape;91;p16">
            <a:extLst>
              <a:ext uri="{FF2B5EF4-FFF2-40B4-BE49-F238E27FC236}">
                <a16:creationId xmlns:a16="http://schemas.microsoft.com/office/drawing/2014/main" id="{C155C265-EC0D-4CAE-AF05-5D4273FA993D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92;p16">
            <a:extLst>
              <a:ext uri="{FF2B5EF4-FFF2-40B4-BE49-F238E27FC236}">
                <a16:creationId xmlns:a16="http://schemas.microsoft.com/office/drawing/2014/main" id="{577EF62E-7690-4B8C-BB17-43AFEE141727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	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B1522D20-6DA3-4BF6-A305-BD05541527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" y="62509"/>
            <a:ext cx="9143994" cy="44514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000" b="1" u="none" dirty="0">
                <a:latin typeface="Century Gothic" panose="020B0502020202020204" pitchFamily="34" charset="0"/>
                <a:ea typeface="Inter" panose="020B0604020202020204" charset="0"/>
                <a:cs typeface="Tahoma" panose="020B0604030504040204" pitchFamily="34" charset="0"/>
              </a:rPr>
              <a:t>ОБЛАСТЬ ПРИМЕНЕНИЯ</a:t>
            </a:r>
          </a:p>
        </p:txBody>
      </p:sp>
      <p:graphicFrame>
        <p:nvGraphicFramePr>
          <p:cNvPr id="11" name="Таблица 124">
            <a:extLst>
              <a:ext uri="{FF2B5EF4-FFF2-40B4-BE49-F238E27FC236}">
                <a16:creationId xmlns:a16="http://schemas.microsoft.com/office/drawing/2014/main" id="{8376EE83-A7C3-4437-929F-E204753756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3388283"/>
              </p:ext>
            </p:extLst>
          </p:nvPr>
        </p:nvGraphicFramePr>
        <p:xfrm>
          <a:off x="408138" y="469552"/>
          <a:ext cx="8316000" cy="3713968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3132000">
                  <a:extLst>
                    <a:ext uri="{9D8B030D-6E8A-4147-A177-3AD203B41FA5}">
                      <a16:colId xmlns:a16="http://schemas.microsoft.com/office/drawing/2014/main" val="3952707231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4777467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751778725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713971404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078757948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486620145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686070949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38379425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88483780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432260217"/>
                    </a:ext>
                  </a:extLst>
                </a:gridCol>
              </a:tblGrid>
              <a:tr h="326419">
                <a:tc row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b="1" dirty="0">
                          <a:latin typeface="Century Gothic" panose="020B0502020202020204" pitchFamily="34" charset="0"/>
                        </a:rPr>
                        <a:t>ОБЛАСТЬ ПРИМЕНЕНИЯ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9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b="1" dirty="0">
                          <a:latin typeface="Century Gothic" panose="020B0502020202020204" pitchFamily="34" charset="0"/>
                        </a:rPr>
                        <a:t>TAIF PAO</a:t>
                      </a: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8213342"/>
                  </a:ext>
                </a:extLst>
              </a:tr>
              <a:tr h="417619">
                <a:tc vMerge="1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dirty="0">
                          <a:latin typeface="Century Gothic" panose="020B0502020202020204" pitchFamily="34" charset="0"/>
                        </a:rPr>
                        <a:t>Property</a:t>
                      </a:r>
                      <a:endParaRPr lang="ru-RU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b="1" dirty="0">
                          <a:latin typeface="Century Gothic" panose="020B0502020202020204" pitchFamily="34" charset="0"/>
                        </a:rPr>
                        <a:t>2</a:t>
                      </a: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b="1" dirty="0">
                          <a:latin typeface="Century Gothic" panose="020B0502020202020204" pitchFamily="34" charset="0"/>
                        </a:rPr>
                        <a:t>4</a:t>
                      </a: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b="1" dirty="0">
                          <a:latin typeface="Century Gothic" panose="020B0502020202020204" pitchFamily="34" charset="0"/>
                        </a:rPr>
                        <a:t>6</a:t>
                      </a: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b="1" dirty="0">
                          <a:latin typeface="Century Gothic" panose="020B0502020202020204" pitchFamily="34" charset="0"/>
                        </a:rPr>
                        <a:t>8</a:t>
                      </a: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b="1" dirty="0">
                          <a:latin typeface="Century Gothic" panose="020B0502020202020204" pitchFamily="34" charset="0"/>
                        </a:rPr>
                        <a:t>10</a:t>
                      </a: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b="1" dirty="0">
                          <a:latin typeface="Century Gothic" panose="020B0502020202020204" pitchFamily="34" charset="0"/>
                        </a:rPr>
                        <a:t>12</a:t>
                      </a: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b="1" dirty="0">
                          <a:latin typeface="Century Gothic" panose="020B0502020202020204" pitchFamily="34" charset="0"/>
                        </a:rPr>
                        <a:t>20</a:t>
                      </a:r>
                      <a:endParaRPr lang="ru-RU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b="1" dirty="0">
                          <a:latin typeface="Century Gothic" panose="020B0502020202020204" pitchFamily="34" charset="0"/>
                        </a:rPr>
                        <a:t>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b="1" dirty="0">
                          <a:latin typeface="Century Gothic" panose="020B0502020202020204" pitchFamily="34" charset="0"/>
                        </a:rPr>
                        <a:t>1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99243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000" dirty="0">
                          <a:latin typeface="Century Gothic" panose="020B0502020202020204" pitchFamily="34" charset="0"/>
                        </a:rPr>
                        <a:t>Моторные масл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30204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000" dirty="0">
                          <a:latin typeface="Century Gothic" panose="020B0502020202020204" pitchFamily="34" charset="0"/>
                        </a:rPr>
                        <a:t>Масла для </a:t>
                      </a:r>
                      <a:r>
                        <a:rPr lang="ru-RU" sz="1000" dirty="0" err="1">
                          <a:latin typeface="Century Gothic" panose="020B0502020202020204" pitchFamily="34" charset="0"/>
                        </a:rPr>
                        <a:t>газопоршневых</a:t>
                      </a:r>
                      <a:r>
                        <a:rPr lang="ru-RU" sz="1000" dirty="0">
                          <a:latin typeface="Century Gothic" panose="020B0502020202020204" pitchFamily="34" charset="0"/>
                        </a:rPr>
                        <a:t> двигателей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030537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000" dirty="0">
                          <a:latin typeface="Century Gothic" panose="020B0502020202020204" pitchFamily="34" charset="0"/>
                        </a:rPr>
                        <a:t>Масля для автоматических трансмиссий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721387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000" dirty="0">
                          <a:latin typeface="Century Gothic" panose="020B0502020202020204" pitchFamily="34" charset="0"/>
                        </a:rPr>
                        <a:t>Редукторные и трансмиссионные масл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739785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000" dirty="0">
                          <a:latin typeface="Century Gothic" panose="020B0502020202020204" pitchFamily="34" charset="0"/>
                        </a:rPr>
                        <a:t>Компрессорные масл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100765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000" dirty="0">
                          <a:latin typeface="Century Gothic" panose="020B0502020202020204" pitchFamily="34" charset="0"/>
                        </a:rPr>
                        <a:t>Холодильные масл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36782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000" dirty="0">
                          <a:latin typeface="Century Gothic" panose="020B0502020202020204" pitchFamily="34" charset="0"/>
                        </a:rPr>
                        <a:t>Циркуляционные масл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78395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000" dirty="0">
                          <a:latin typeface="Century Gothic" panose="020B0502020202020204" pitchFamily="34" charset="0"/>
                        </a:rPr>
                        <a:t>Турбинные масл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754243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000" dirty="0">
                          <a:latin typeface="Century Gothic" panose="020B0502020202020204" pitchFamily="34" charset="0"/>
                        </a:rPr>
                        <a:t>Гидравлические масл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279124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000" dirty="0">
                          <a:latin typeface="Century Gothic" panose="020B0502020202020204" pitchFamily="34" charset="0"/>
                        </a:rPr>
                        <a:t>Пластичные смазки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974798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000" dirty="0">
                          <a:latin typeface="Century Gothic" panose="020B0502020202020204" pitchFamily="34" charset="0"/>
                        </a:rPr>
                        <a:t>Масла-теплоносители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44184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000" dirty="0">
                          <a:latin typeface="Century Gothic" panose="020B0502020202020204" pitchFamily="34" charset="0"/>
                        </a:rPr>
                        <a:t>Трансформаторные масл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52869318"/>
                  </a:ext>
                </a:extLst>
              </a:tr>
            </a:tbl>
          </a:graphicData>
        </a:graphic>
      </p:graphicFrame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84A8A63B-D18A-42E9-8317-838CC173A656}"/>
              </a:ext>
            </a:extLst>
          </p:cNvPr>
          <p:cNvCxnSpPr>
            <a:cxnSpLocks/>
          </p:cNvCxnSpPr>
          <p:nvPr/>
        </p:nvCxnSpPr>
        <p:spPr>
          <a:xfrm>
            <a:off x="408138" y="1248805"/>
            <a:ext cx="8314393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Овал 7">
            <a:extLst>
              <a:ext uri="{FF2B5EF4-FFF2-40B4-BE49-F238E27FC236}">
                <a16:creationId xmlns:a16="http://schemas.microsoft.com/office/drawing/2014/main" id="{F851E61F-B2EE-456C-982C-D9E5A3C7D096}"/>
              </a:ext>
            </a:extLst>
          </p:cNvPr>
          <p:cNvSpPr>
            <a:spLocks noChangeAspect="1"/>
          </p:cNvSpPr>
          <p:nvPr/>
        </p:nvSpPr>
        <p:spPr>
          <a:xfrm>
            <a:off x="3759200" y="3750695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7E15E009-D074-4106-B653-935FA3029D61}"/>
              </a:ext>
            </a:extLst>
          </p:cNvPr>
          <p:cNvSpPr>
            <a:spLocks noChangeAspect="1"/>
          </p:cNvSpPr>
          <p:nvPr/>
        </p:nvSpPr>
        <p:spPr>
          <a:xfrm>
            <a:off x="4337050" y="3750695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54B46676-D1B6-4E26-AAD2-220D66E15D69}"/>
              </a:ext>
            </a:extLst>
          </p:cNvPr>
          <p:cNvSpPr>
            <a:spLocks noChangeAspect="1"/>
          </p:cNvSpPr>
          <p:nvPr/>
        </p:nvSpPr>
        <p:spPr>
          <a:xfrm>
            <a:off x="3759200" y="3997492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6B9C85BB-DD20-4E1B-B1F3-F4997D955849}"/>
              </a:ext>
            </a:extLst>
          </p:cNvPr>
          <p:cNvSpPr>
            <a:spLocks noChangeAspect="1"/>
          </p:cNvSpPr>
          <p:nvPr/>
        </p:nvSpPr>
        <p:spPr>
          <a:xfrm>
            <a:off x="4336734" y="3997999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DD3FDDC0-6E07-4AF1-9F26-37C962915036}"/>
              </a:ext>
            </a:extLst>
          </p:cNvPr>
          <p:cNvSpPr>
            <a:spLocks noChangeAspect="1"/>
          </p:cNvSpPr>
          <p:nvPr/>
        </p:nvSpPr>
        <p:spPr>
          <a:xfrm>
            <a:off x="3767384" y="3503898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9215932C-5929-4AE1-B61E-5945794AAD48}"/>
              </a:ext>
            </a:extLst>
          </p:cNvPr>
          <p:cNvSpPr>
            <a:spLocks noChangeAspect="1"/>
          </p:cNvSpPr>
          <p:nvPr/>
        </p:nvSpPr>
        <p:spPr>
          <a:xfrm>
            <a:off x="7792765" y="3502402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BD55C91D-1C0C-4534-AEF2-43BA537157E4}"/>
              </a:ext>
            </a:extLst>
          </p:cNvPr>
          <p:cNvSpPr>
            <a:spLocks noChangeAspect="1"/>
          </p:cNvSpPr>
          <p:nvPr/>
        </p:nvSpPr>
        <p:spPr>
          <a:xfrm>
            <a:off x="8366099" y="3503898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AAA50BB8-5487-4CCD-9A61-FF31E2BD964B}"/>
              </a:ext>
            </a:extLst>
          </p:cNvPr>
          <p:cNvSpPr>
            <a:spLocks noChangeAspect="1"/>
          </p:cNvSpPr>
          <p:nvPr/>
        </p:nvSpPr>
        <p:spPr>
          <a:xfrm>
            <a:off x="6646498" y="3503898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79AA5B06-B976-4893-9E1C-B6A366E96FC8}"/>
              </a:ext>
            </a:extLst>
          </p:cNvPr>
          <p:cNvSpPr>
            <a:spLocks noChangeAspect="1"/>
          </p:cNvSpPr>
          <p:nvPr/>
        </p:nvSpPr>
        <p:spPr>
          <a:xfrm>
            <a:off x="7198630" y="3503898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97738995-CCA7-4379-AD5E-DA168A6A3C2B}"/>
              </a:ext>
            </a:extLst>
          </p:cNvPr>
          <p:cNvSpPr>
            <a:spLocks noChangeAspect="1"/>
          </p:cNvSpPr>
          <p:nvPr/>
        </p:nvSpPr>
        <p:spPr>
          <a:xfrm>
            <a:off x="6059484" y="3498046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EA20391B-E2AC-451B-B2DB-1B94367F0592}"/>
              </a:ext>
            </a:extLst>
          </p:cNvPr>
          <p:cNvSpPr>
            <a:spLocks noChangeAspect="1"/>
          </p:cNvSpPr>
          <p:nvPr/>
        </p:nvSpPr>
        <p:spPr>
          <a:xfrm>
            <a:off x="4910284" y="325659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74C75A3B-2F27-4E1C-BE68-DA0235062B05}"/>
              </a:ext>
            </a:extLst>
          </p:cNvPr>
          <p:cNvSpPr>
            <a:spLocks noChangeAspect="1"/>
          </p:cNvSpPr>
          <p:nvPr/>
        </p:nvSpPr>
        <p:spPr>
          <a:xfrm>
            <a:off x="5486767" y="325659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A9364C7E-3A74-48C7-A671-E90B0E9E0143}"/>
              </a:ext>
            </a:extLst>
          </p:cNvPr>
          <p:cNvSpPr>
            <a:spLocks noChangeAspect="1"/>
          </p:cNvSpPr>
          <p:nvPr/>
        </p:nvSpPr>
        <p:spPr>
          <a:xfrm>
            <a:off x="3763184" y="325659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6FE11D07-1DDB-4998-AE0E-C6D7706217A4}"/>
              </a:ext>
            </a:extLst>
          </p:cNvPr>
          <p:cNvSpPr>
            <a:spLocks noChangeAspect="1"/>
          </p:cNvSpPr>
          <p:nvPr/>
        </p:nvSpPr>
        <p:spPr>
          <a:xfrm>
            <a:off x="4336734" y="325659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AF71DECF-ECFB-455D-87A1-94762E5E1D95}"/>
              </a:ext>
            </a:extLst>
          </p:cNvPr>
          <p:cNvSpPr>
            <a:spLocks noChangeAspect="1"/>
          </p:cNvSpPr>
          <p:nvPr/>
        </p:nvSpPr>
        <p:spPr>
          <a:xfrm>
            <a:off x="6059484" y="3256594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4D169DE0-C17E-4223-B63A-77BE9C6DCDF5}"/>
              </a:ext>
            </a:extLst>
          </p:cNvPr>
          <p:cNvSpPr>
            <a:spLocks noChangeAspect="1"/>
          </p:cNvSpPr>
          <p:nvPr/>
        </p:nvSpPr>
        <p:spPr>
          <a:xfrm>
            <a:off x="6646498" y="3256594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DB7AAD8C-7F9F-46BB-B30A-34869C9949C9}"/>
              </a:ext>
            </a:extLst>
          </p:cNvPr>
          <p:cNvSpPr>
            <a:spLocks noChangeAspect="1"/>
          </p:cNvSpPr>
          <p:nvPr/>
        </p:nvSpPr>
        <p:spPr>
          <a:xfrm>
            <a:off x="7200560" y="325659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9F1A1DA1-4741-47DE-AA86-6849EC33EB40}"/>
              </a:ext>
            </a:extLst>
          </p:cNvPr>
          <p:cNvSpPr>
            <a:spLocks noChangeAspect="1"/>
          </p:cNvSpPr>
          <p:nvPr/>
        </p:nvSpPr>
        <p:spPr>
          <a:xfrm>
            <a:off x="4910284" y="3014342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Овал 34">
            <a:extLst>
              <a:ext uri="{FF2B5EF4-FFF2-40B4-BE49-F238E27FC236}">
                <a16:creationId xmlns:a16="http://schemas.microsoft.com/office/drawing/2014/main" id="{E740011D-B6DF-413F-A538-1E7E014BC0ED}"/>
              </a:ext>
            </a:extLst>
          </p:cNvPr>
          <p:cNvSpPr>
            <a:spLocks noChangeAspect="1"/>
          </p:cNvSpPr>
          <p:nvPr/>
        </p:nvSpPr>
        <p:spPr>
          <a:xfrm>
            <a:off x="5486767" y="3014342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25EDAF19-D51C-448D-ADC7-F746D7271EC5}"/>
              </a:ext>
            </a:extLst>
          </p:cNvPr>
          <p:cNvSpPr>
            <a:spLocks noChangeAspect="1"/>
          </p:cNvSpPr>
          <p:nvPr/>
        </p:nvSpPr>
        <p:spPr>
          <a:xfrm>
            <a:off x="4336734" y="3014342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Овал 36">
            <a:extLst>
              <a:ext uri="{FF2B5EF4-FFF2-40B4-BE49-F238E27FC236}">
                <a16:creationId xmlns:a16="http://schemas.microsoft.com/office/drawing/2014/main" id="{515E9349-DEF5-43B5-8433-6A7ED1A19AEE}"/>
              </a:ext>
            </a:extLst>
          </p:cNvPr>
          <p:cNvSpPr>
            <a:spLocks noChangeAspect="1"/>
          </p:cNvSpPr>
          <p:nvPr/>
        </p:nvSpPr>
        <p:spPr>
          <a:xfrm>
            <a:off x="6063250" y="3015142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Овал 37">
            <a:extLst>
              <a:ext uri="{FF2B5EF4-FFF2-40B4-BE49-F238E27FC236}">
                <a16:creationId xmlns:a16="http://schemas.microsoft.com/office/drawing/2014/main" id="{1A7C7262-C211-4338-BAD7-9FFBA440A7A1}"/>
              </a:ext>
            </a:extLst>
          </p:cNvPr>
          <p:cNvSpPr>
            <a:spLocks noChangeAspect="1"/>
          </p:cNvSpPr>
          <p:nvPr/>
        </p:nvSpPr>
        <p:spPr>
          <a:xfrm>
            <a:off x="6642832" y="3015142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B69DC6EE-5031-4F78-BE3B-8922FF0D6C07}"/>
              </a:ext>
            </a:extLst>
          </p:cNvPr>
          <p:cNvSpPr>
            <a:spLocks noChangeAspect="1"/>
          </p:cNvSpPr>
          <p:nvPr/>
        </p:nvSpPr>
        <p:spPr>
          <a:xfrm>
            <a:off x="7198630" y="3014342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Овал 41">
            <a:extLst>
              <a:ext uri="{FF2B5EF4-FFF2-40B4-BE49-F238E27FC236}">
                <a16:creationId xmlns:a16="http://schemas.microsoft.com/office/drawing/2014/main" id="{DF2ECE85-CCF5-47AD-AFD1-6A011798BD87}"/>
              </a:ext>
            </a:extLst>
          </p:cNvPr>
          <p:cNvSpPr>
            <a:spLocks noChangeAspect="1"/>
          </p:cNvSpPr>
          <p:nvPr/>
        </p:nvSpPr>
        <p:spPr>
          <a:xfrm>
            <a:off x="6646498" y="2765390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Овал 42">
            <a:extLst>
              <a:ext uri="{FF2B5EF4-FFF2-40B4-BE49-F238E27FC236}">
                <a16:creationId xmlns:a16="http://schemas.microsoft.com/office/drawing/2014/main" id="{CBEF1614-4711-486B-AF36-7D78EC3EE395}"/>
              </a:ext>
            </a:extLst>
          </p:cNvPr>
          <p:cNvSpPr>
            <a:spLocks noChangeAspect="1"/>
          </p:cNvSpPr>
          <p:nvPr/>
        </p:nvSpPr>
        <p:spPr>
          <a:xfrm>
            <a:off x="7198630" y="2765390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Овал 43">
            <a:extLst>
              <a:ext uri="{FF2B5EF4-FFF2-40B4-BE49-F238E27FC236}">
                <a16:creationId xmlns:a16="http://schemas.microsoft.com/office/drawing/2014/main" id="{4163E2B2-020B-45F0-AEAB-E3296137B958}"/>
              </a:ext>
            </a:extLst>
          </p:cNvPr>
          <p:cNvSpPr>
            <a:spLocks noChangeAspect="1"/>
          </p:cNvSpPr>
          <p:nvPr/>
        </p:nvSpPr>
        <p:spPr>
          <a:xfrm>
            <a:off x="7794827" y="2763031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075E6E1A-E5BF-44D7-8589-8AF3B8C51A0F}"/>
              </a:ext>
            </a:extLst>
          </p:cNvPr>
          <p:cNvSpPr>
            <a:spLocks noChangeAspect="1"/>
          </p:cNvSpPr>
          <p:nvPr/>
        </p:nvSpPr>
        <p:spPr>
          <a:xfrm>
            <a:off x="8369248" y="2763422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4B3D2BFE-A37D-4D92-AC95-4C25BE6F0783}"/>
              </a:ext>
            </a:extLst>
          </p:cNvPr>
          <p:cNvSpPr>
            <a:spLocks noChangeAspect="1"/>
          </p:cNvSpPr>
          <p:nvPr/>
        </p:nvSpPr>
        <p:spPr>
          <a:xfrm>
            <a:off x="4910284" y="2765390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Овал 46">
            <a:extLst>
              <a:ext uri="{FF2B5EF4-FFF2-40B4-BE49-F238E27FC236}">
                <a16:creationId xmlns:a16="http://schemas.microsoft.com/office/drawing/2014/main" id="{46ABBDD0-8FAC-4603-B703-8C26EE2A4142}"/>
              </a:ext>
            </a:extLst>
          </p:cNvPr>
          <p:cNvSpPr>
            <a:spLocks noChangeAspect="1"/>
          </p:cNvSpPr>
          <p:nvPr/>
        </p:nvSpPr>
        <p:spPr>
          <a:xfrm>
            <a:off x="6062077" y="2765390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4B8DED30-F5BC-4EF7-B917-224245B9213D}"/>
              </a:ext>
            </a:extLst>
          </p:cNvPr>
          <p:cNvSpPr>
            <a:spLocks noChangeAspect="1"/>
          </p:cNvSpPr>
          <p:nvPr/>
        </p:nvSpPr>
        <p:spPr>
          <a:xfrm>
            <a:off x="5486767" y="2765390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Овал 50">
            <a:extLst>
              <a:ext uri="{FF2B5EF4-FFF2-40B4-BE49-F238E27FC236}">
                <a16:creationId xmlns:a16="http://schemas.microsoft.com/office/drawing/2014/main" id="{D34AEFEF-101C-4D43-9319-AA5104AF8D9F}"/>
              </a:ext>
            </a:extLst>
          </p:cNvPr>
          <p:cNvSpPr>
            <a:spLocks noChangeAspect="1"/>
          </p:cNvSpPr>
          <p:nvPr/>
        </p:nvSpPr>
        <p:spPr>
          <a:xfrm>
            <a:off x="6643560" y="2288314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Овал 51">
            <a:extLst>
              <a:ext uri="{FF2B5EF4-FFF2-40B4-BE49-F238E27FC236}">
                <a16:creationId xmlns:a16="http://schemas.microsoft.com/office/drawing/2014/main" id="{01B79229-EC7F-4956-A92D-E0C82F91659E}"/>
              </a:ext>
            </a:extLst>
          </p:cNvPr>
          <p:cNvSpPr>
            <a:spLocks noChangeAspect="1"/>
          </p:cNvSpPr>
          <p:nvPr/>
        </p:nvSpPr>
        <p:spPr>
          <a:xfrm>
            <a:off x="7201314" y="2279936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Овал 52">
            <a:extLst>
              <a:ext uri="{FF2B5EF4-FFF2-40B4-BE49-F238E27FC236}">
                <a16:creationId xmlns:a16="http://schemas.microsoft.com/office/drawing/2014/main" id="{B8EC583A-3772-4FE3-BAB0-B37683ACE513}"/>
              </a:ext>
            </a:extLst>
          </p:cNvPr>
          <p:cNvSpPr>
            <a:spLocks noChangeAspect="1"/>
          </p:cNvSpPr>
          <p:nvPr/>
        </p:nvSpPr>
        <p:spPr>
          <a:xfrm>
            <a:off x="5484887" y="2279936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Овал 53">
            <a:extLst>
              <a:ext uri="{FF2B5EF4-FFF2-40B4-BE49-F238E27FC236}">
                <a16:creationId xmlns:a16="http://schemas.microsoft.com/office/drawing/2014/main" id="{4D6CFDB7-F77E-4BD2-9AEB-00347BC649F0}"/>
              </a:ext>
            </a:extLst>
          </p:cNvPr>
          <p:cNvSpPr>
            <a:spLocks noChangeAspect="1"/>
          </p:cNvSpPr>
          <p:nvPr/>
        </p:nvSpPr>
        <p:spPr>
          <a:xfrm>
            <a:off x="6062764" y="2279936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Овал 55">
            <a:extLst>
              <a:ext uri="{FF2B5EF4-FFF2-40B4-BE49-F238E27FC236}">
                <a16:creationId xmlns:a16="http://schemas.microsoft.com/office/drawing/2014/main" id="{9F058F4B-FF65-47C9-B8F5-F6AAF72F9B06}"/>
              </a:ext>
            </a:extLst>
          </p:cNvPr>
          <p:cNvSpPr>
            <a:spLocks noChangeAspect="1"/>
          </p:cNvSpPr>
          <p:nvPr/>
        </p:nvSpPr>
        <p:spPr>
          <a:xfrm>
            <a:off x="4910132" y="2279936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Овал 56">
            <a:extLst>
              <a:ext uri="{FF2B5EF4-FFF2-40B4-BE49-F238E27FC236}">
                <a16:creationId xmlns:a16="http://schemas.microsoft.com/office/drawing/2014/main" id="{07743571-B48F-457D-A242-B3C456B5494E}"/>
              </a:ext>
            </a:extLst>
          </p:cNvPr>
          <p:cNvSpPr>
            <a:spLocks noChangeAspect="1"/>
          </p:cNvSpPr>
          <p:nvPr/>
        </p:nvSpPr>
        <p:spPr>
          <a:xfrm>
            <a:off x="4331433" y="2279936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Овал 57">
            <a:extLst>
              <a:ext uri="{FF2B5EF4-FFF2-40B4-BE49-F238E27FC236}">
                <a16:creationId xmlns:a16="http://schemas.microsoft.com/office/drawing/2014/main" id="{433D4CC9-BE39-4814-98DB-1F3ED84BE298}"/>
              </a:ext>
            </a:extLst>
          </p:cNvPr>
          <p:cNvSpPr>
            <a:spLocks noChangeAspect="1"/>
          </p:cNvSpPr>
          <p:nvPr/>
        </p:nvSpPr>
        <p:spPr>
          <a:xfrm>
            <a:off x="8368029" y="2280201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Овал 58">
            <a:extLst>
              <a:ext uri="{FF2B5EF4-FFF2-40B4-BE49-F238E27FC236}">
                <a16:creationId xmlns:a16="http://schemas.microsoft.com/office/drawing/2014/main" id="{C6DE17EB-2A23-41AD-9EE5-31FE197792F3}"/>
              </a:ext>
            </a:extLst>
          </p:cNvPr>
          <p:cNvSpPr>
            <a:spLocks noChangeAspect="1"/>
          </p:cNvSpPr>
          <p:nvPr/>
        </p:nvSpPr>
        <p:spPr>
          <a:xfrm>
            <a:off x="3759200" y="2529458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Овал 59">
            <a:extLst>
              <a:ext uri="{FF2B5EF4-FFF2-40B4-BE49-F238E27FC236}">
                <a16:creationId xmlns:a16="http://schemas.microsoft.com/office/drawing/2014/main" id="{6C4081E4-CE8B-4113-8C84-58EA3ECD111E}"/>
              </a:ext>
            </a:extLst>
          </p:cNvPr>
          <p:cNvSpPr>
            <a:spLocks noChangeAspect="1"/>
          </p:cNvSpPr>
          <p:nvPr/>
        </p:nvSpPr>
        <p:spPr>
          <a:xfrm>
            <a:off x="4331433" y="2526586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Овал 60">
            <a:extLst>
              <a:ext uri="{FF2B5EF4-FFF2-40B4-BE49-F238E27FC236}">
                <a16:creationId xmlns:a16="http://schemas.microsoft.com/office/drawing/2014/main" id="{DC00E27F-49F9-44DC-B349-D7AEF9621C60}"/>
              </a:ext>
            </a:extLst>
          </p:cNvPr>
          <p:cNvSpPr>
            <a:spLocks noChangeAspect="1"/>
          </p:cNvSpPr>
          <p:nvPr/>
        </p:nvSpPr>
        <p:spPr>
          <a:xfrm>
            <a:off x="4911015" y="2526586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Овал 61">
            <a:extLst>
              <a:ext uri="{FF2B5EF4-FFF2-40B4-BE49-F238E27FC236}">
                <a16:creationId xmlns:a16="http://schemas.microsoft.com/office/drawing/2014/main" id="{1A9E776F-7933-4201-A1F3-849055E806F8}"/>
              </a:ext>
            </a:extLst>
          </p:cNvPr>
          <p:cNvSpPr>
            <a:spLocks noChangeAspect="1"/>
          </p:cNvSpPr>
          <p:nvPr/>
        </p:nvSpPr>
        <p:spPr>
          <a:xfrm>
            <a:off x="5486767" y="2527523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Овал 62">
            <a:extLst>
              <a:ext uri="{FF2B5EF4-FFF2-40B4-BE49-F238E27FC236}">
                <a16:creationId xmlns:a16="http://schemas.microsoft.com/office/drawing/2014/main" id="{C5DD178C-A4D0-4F79-9FE6-2D06A59EA4EC}"/>
              </a:ext>
            </a:extLst>
          </p:cNvPr>
          <p:cNvSpPr>
            <a:spLocks noChangeAspect="1"/>
          </p:cNvSpPr>
          <p:nvPr/>
        </p:nvSpPr>
        <p:spPr>
          <a:xfrm>
            <a:off x="6059484" y="2530279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Овал 63">
            <a:extLst>
              <a:ext uri="{FF2B5EF4-FFF2-40B4-BE49-F238E27FC236}">
                <a16:creationId xmlns:a16="http://schemas.microsoft.com/office/drawing/2014/main" id="{EBD3C3FB-CEF0-42E9-8D1D-91483C0E336D}"/>
              </a:ext>
            </a:extLst>
          </p:cNvPr>
          <p:cNvSpPr>
            <a:spLocks noChangeAspect="1"/>
          </p:cNvSpPr>
          <p:nvPr/>
        </p:nvSpPr>
        <p:spPr>
          <a:xfrm>
            <a:off x="6645670" y="2526852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Овал 64">
            <a:extLst>
              <a:ext uri="{FF2B5EF4-FFF2-40B4-BE49-F238E27FC236}">
                <a16:creationId xmlns:a16="http://schemas.microsoft.com/office/drawing/2014/main" id="{7E523A58-8EDF-4312-9982-0C7FF3250CE3}"/>
              </a:ext>
            </a:extLst>
          </p:cNvPr>
          <p:cNvSpPr>
            <a:spLocks noChangeAspect="1"/>
          </p:cNvSpPr>
          <p:nvPr/>
        </p:nvSpPr>
        <p:spPr>
          <a:xfrm>
            <a:off x="7198630" y="2526586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Овал 65">
            <a:extLst>
              <a:ext uri="{FF2B5EF4-FFF2-40B4-BE49-F238E27FC236}">
                <a16:creationId xmlns:a16="http://schemas.microsoft.com/office/drawing/2014/main" id="{CBB8500C-D73A-45B4-8ECB-09100F4EF334}"/>
              </a:ext>
            </a:extLst>
          </p:cNvPr>
          <p:cNvSpPr>
            <a:spLocks noChangeAspect="1"/>
          </p:cNvSpPr>
          <p:nvPr/>
        </p:nvSpPr>
        <p:spPr>
          <a:xfrm>
            <a:off x="7801004" y="2527789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id="{E5E6A8CE-78AC-4933-82EC-A18316AA1894}"/>
              </a:ext>
            </a:extLst>
          </p:cNvPr>
          <p:cNvSpPr>
            <a:spLocks noChangeAspect="1"/>
          </p:cNvSpPr>
          <p:nvPr/>
        </p:nvSpPr>
        <p:spPr>
          <a:xfrm>
            <a:off x="4331433" y="1791207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Овал 67">
            <a:extLst>
              <a:ext uri="{FF2B5EF4-FFF2-40B4-BE49-F238E27FC236}">
                <a16:creationId xmlns:a16="http://schemas.microsoft.com/office/drawing/2014/main" id="{BBF61942-89B6-4DF6-9F42-FEF8FF9E2ACB}"/>
              </a:ext>
            </a:extLst>
          </p:cNvPr>
          <p:cNvSpPr>
            <a:spLocks noChangeAspect="1"/>
          </p:cNvSpPr>
          <p:nvPr/>
        </p:nvSpPr>
        <p:spPr>
          <a:xfrm>
            <a:off x="3759200" y="1791207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Овал 68">
            <a:extLst>
              <a:ext uri="{FF2B5EF4-FFF2-40B4-BE49-F238E27FC236}">
                <a16:creationId xmlns:a16="http://schemas.microsoft.com/office/drawing/2014/main" id="{8269BD29-23D8-4E8D-9F35-BA21E9593E9D}"/>
              </a:ext>
            </a:extLst>
          </p:cNvPr>
          <p:cNvSpPr>
            <a:spLocks noChangeAspect="1"/>
          </p:cNvSpPr>
          <p:nvPr/>
        </p:nvSpPr>
        <p:spPr>
          <a:xfrm>
            <a:off x="3759200" y="2035357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Овал 69">
            <a:extLst>
              <a:ext uri="{FF2B5EF4-FFF2-40B4-BE49-F238E27FC236}">
                <a16:creationId xmlns:a16="http://schemas.microsoft.com/office/drawing/2014/main" id="{44F825AE-DF35-440C-919A-55D2ADF8B51D}"/>
              </a:ext>
            </a:extLst>
          </p:cNvPr>
          <p:cNvSpPr>
            <a:spLocks noChangeAspect="1"/>
          </p:cNvSpPr>
          <p:nvPr/>
        </p:nvSpPr>
        <p:spPr>
          <a:xfrm>
            <a:off x="4331433" y="2037684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Овал 70">
            <a:extLst>
              <a:ext uri="{FF2B5EF4-FFF2-40B4-BE49-F238E27FC236}">
                <a16:creationId xmlns:a16="http://schemas.microsoft.com/office/drawing/2014/main" id="{3BED0E0B-27F5-4393-96C5-B9E3EABD7377}"/>
              </a:ext>
            </a:extLst>
          </p:cNvPr>
          <p:cNvSpPr>
            <a:spLocks noChangeAspect="1"/>
          </p:cNvSpPr>
          <p:nvPr/>
        </p:nvSpPr>
        <p:spPr>
          <a:xfrm>
            <a:off x="4906132" y="2037630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Овал 72">
            <a:extLst>
              <a:ext uri="{FF2B5EF4-FFF2-40B4-BE49-F238E27FC236}">
                <a16:creationId xmlns:a16="http://schemas.microsoft.com/office/drawing/2014/main" id="{358A11CE-7D0C-40EE-9497-04ECC5A85FC7}"/>
              </a:ext>
            </a:extLst>
          </p:cNvPr>
          <p:cNvSpPr>
            <a:spLocks noChangeAspect="1"/>
          </p:cNvSpPr>
          <p:nvPr/>
        </p:nvSpPr>
        <p:spPr>
          <a:xfrm>
            <a:off x="6638048" y="2026883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Овал 73">
            <a:extLst>
              <a:ext uri="{FF2B5EF4-FFF2-40B4-BE49-F238E27FC236}">
                <a16:creationId xmlns:a16="http://schemas.microsoft.com/office/drawing/2014/main" id="{02C334BE-CC5F-4CD4-B1B9-4921BCEC2171}"/>
              </a:ext>
            </a:extLst>
          </p:cNvPr>
          <p:cNvSpPr>
            <a:spLocks noChangeAspect="1"/>
          </p:cNvSpPr>
          <p:nvPr/>
        </p:nvSpPr>
        <p:spPr>
          <a:xfrm>
            <a:off x="7201588" y="2033286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Овал 74">
            <a:extLst>
              <a:ext uri="{FF2B5EF4-FFF2-40B4-BE49-F238E27FC236}">
                <a16:creationId xmlns:a16="http://schemas.microsoft.com/office/drawing/2014/main" id="{FF2C3D62-1143-4D7D-9F75-DEFAD05329F4}"/>
              </a:ext>
            </a:extLst>
          </p:cNvPr>
          <p:cNvSpPr>
            <a:spLocks noChangeAspect="1"/>
          </p:cNvSpPr>
          <p:nvPr/>
        </p:nvSpPr>
        <p:spPr>
          <a:xfrm>
            <a:off x="5486767" y="2033090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Овал 75">
            <a:extLst>
              <a:ext uri="{FF2B5EF4-FFF2-40B4-BE49-F238E27FC236}">
                <a16:creationId xmlns:a16="http://schemas.microsoft.com/office/drawing/2014/main" id="{AFAD6DBA-0E82-433B-B881-12E54437D7A9}"/>
              </a:ext>
            </a:extLst>
          </p:cNvPr>
          <p:cNvSpPr>
            <a:spLocks noChangeAspect="1"/>
          </p:cNvSpPr>
          <p:nvPr/>
        </p:nvSpPr>
        <p:spPr>
          <a:xfrm>
            <a:off x="6059484" y="2032555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Овал 76">
            <a:extLst>
              <a:ext uri="{FF2B5EF4-FFF2-40B4-BE49-F238E27FC236}">
                <a16:creationId xmlns:a16="http://schemas.microsoft.com/office/drawing/2014/main" id="{E15ADFC6-1BE0-4295-BD08-EB49C1634CD2}"/>
              </a:ext>
            </a:extLst>
          </p:cNvPr>
          <p:cNvSpPr>
            <a:spLocks noChangeAspect="1"/>
          </p:cNvSpPr>
          <p:nvPr/>
        </p:nvSpPr>
        <p:spPr>
          <a:xfrm>
            <a:off x="7792765" y="3256594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Овал 77">
            <a:extLst>
              <a:ext uri="{FF2B5EF4-FFF2-40B4-BE49-F238E27FC236}">
                <a16:creationId xmlns:a16="http://schemas.microsoft.com/office/drawing/2014/main" id="{A4976E92-811F-4468-99AA-B22C11D03151}"/>
              </a:ext>
            </a:extLst>
          </p:cNvPr>
          <p:cNvSpPr>
            <a:spLocks noChangeAspect="1"/>
          </p:cNvSpPr>
          <p:nvPr/>
        </p:nvSpPr>
        <p:spPr>
          <a:xfrm>
            <a:off x="8369248" y="3258076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Овал 78">
            <a:extLst>
              <a:ext uri="{FF2B5EF4-FFF2-40B4-BE49-F238E27FC236}">
                <a16:creationId xmlns:a16="http://schemas.microsoft.com/office/drawing/2014/main" id="{ACCD688A-1C78-4F90-9130-2FCF04945894}"/>
              </a:ext>
            </a:extLst>
          </p:cNvPr>
          <p:cNvSpPr>
            <a:spLocks noChangeAspect="1"/>
          </p:cNvSpPr>
          <p:nvPr/>
        </p:nvSpPr>
        <p:spPr>
          <a:xfrm>
            <a:off x="7796016" y="2272877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Овал 82">
            <a:extLst>
              <a:ext uri="{FF2B5EF4-FFF2-40B4-BE49-F238E27FC236}">
                <a16:creationId xmlns:a16="http://schemas.microsoft.com/office/drawing/2014/main" id="{B3D562C1-0B9E-483C-A36E-157EBCE5920C}"/>
              </a:ext>
            </a:extLst>
          </p:cNvPr>
          <p:cNvSpPr>
            <a:spLocks noChangeAspect="1"/>
          </p:cNvSpPr>
          <p:nvPr/>
        </p:nvSpPr>
        <p:spPr>
          <a:xfrm>
            <a:off x="8373964" y="2037630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Овал 83">
            <a:extLst>
              <a:ext uri="{FF2B5EF4-FFF2-40B4-BE49-F238E27FC236}">
                <a16:creationId xmlns:a16="http://schemas.microsoft.com/office/drawing/2014/main" id="{62010F49-00EE-4DDC-A4CF-810DDDEB2B11}"/>
              </a:ext>
            </a:extLst>
          </p:cNvPr>
          <p:cNvSpPr>
            <a:spLocks noChangeAspect="1"/>
          </p:cNvSpPr>
          <p:nvPr/>
        </p:nvSpPr>
        <p:spPr>
          <a:xfrm>
            <a:off x="7794086" y="2030306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Овал 84">
            <a:extLst>
              <a:ext uri="{FF2B5EF4-FFF2-40B4-BE49-F238E27FC236}">
                <a16:creationId xmlns:a16="http://schemas.microsoft.com/office/drawing/2014/main" id="{7A5C99A4-8941-4B19-9568-2F3E14F53C34}"/>
              </a:ext>
            </a:extLst>
          </p:cNvPr>
          <p:cNvSpPr>
            <a:spLocks noChangeAspect="1"/>
          </p:cNvSpPr>
          <p:nvPr/>
        </p:nvSpPr>
        <p:spPr>
          <a:xfrm>
            <a:off x="5484887" y="1305665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Овал 86">
            <a:extLst>
              <a:ext uri="{FF2B5EF4-FFF2-40B4-BE49-F238E27FC236}">
                <a16:creationId xmlns:a16="http://schemas.microsoft.com/office/drawing/2014/main" id="{D4514C07-78FB-441B-AF07-7F795995CA0D}"/>
              </a:ext>
            </a:extLst>
          </p:cNvPr>
          <p:cNvSpPr>
            <a:spLocks noChangeAspect="1"/>
          </p:cNvSpPr>
          <p:nvPr/>
        </p:nvSpPr>
        <p:spPr>
          <a:xfrm>
            <a:off x="4331433" y="1302477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Овал 87">
            <a:extLst>
              <a:ext uri="{FF2B5EF4-FFF2-40B4-BE49-F238E27FC236}">
                <a16:creationId xmlns:a16="http://schemas.microsoft.com/office/drawing/2014/main" id="{D613C4F5-28A1-45B4-BFA8-E67292526027}"/>
              </a:ext>
            </a:extLst>
          </p:cNvPr>
          <p:cNvSpPr>
            <a:spLocks noChangeAspect="1"/>
          </p:cNvSpPr>
          <p:nvPr/>
        </p:nvSpPr>
        <p:spPr>
          <a:xfrm>
            <a:off x="4911275" y="1307045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Овал 89">
            <a:extLst>
              <a:ext uri="{FF2B5EF4-FFF2-40B4-BE49-F238E27FC236}">
                <a16:creationId xmlns:a16="http://schemas.microsoft.com/office/drawing/2014/main" id="{A6AC170D-FDF9-4C84-A127-759A2BAC4BEE}"/>
              </a:ext>
            </a:extLst>
          </p:cNvPr>
          <p:cNvSpPr>
            <a:spLocks noChangeAspect="1"/>
          </p:cNvSpPr>
          <p:nvPr/>
        </p:nvSpPr>
        <p:spPr>
          <a:xfrm>
            <a:off x="6639635" y="1308077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Овал 90">
            <a:extLst>
              <a:ext uri="{FF2B5EF4-FFF2-40B4-BE49-F238E27FC236}">
                <a16:creationId xmlns:a16="http://schemas.microsoft.com/office/drawing/2014/main" id="{07FD1D5C-DF31-43DD-881E-5207FCBBDF14}"/>
              </a:ext>
            </a:extLst>
          </p:cNvPr>
          <p:cNvSpPr>
            <a:spLocks noChangeAspect="1"/>
          </p:cNvSpPr>
          <p:nvPr/>
        </p:nvSpPr>
        <p:spPr>
          <a:xfrm>
            <a:off x="6058499" y="1305665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Овал 91">
            <a:extLst>
              <a:ext uri="{FF2B5EF4-FFF2-40B4-BE49-F238E27FC236}">
                <a16:creationId xmlns:a16="http://schemas.microsoft.com/office/drawing/2014/main" id="{092027AC-BBA4-4BE4-8EA2-9EF373B577DE}"/>
              </a:ext>
            </a:extLst>
          </p:cNvPr>
          <p:cNvSpPr>
            <a:spLocks noChangeAspect="1"/>
          </p:cNvSpPr>
          <p:nvPr/>
        </p:nvSpPr>
        <p:spPr>
          <a:xfrm>
            <a:off x="6639635" y="1544211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Овал 92">
            <a:extLst>
              <a:ext uri="{FF2B5EF4-FFF2-40B4-BE49-F238E27FC236}">
                <a16:creationId xmlns:a16="http://schemas.microsoft.com/office/drawing/2014/main" id="{33341395-761D-4C23-8968-9CEE5A87AA02}"/>
              </a:ext>
            </a:extLst>
          </p:cNvPr>
          <p:cNvSpPr>
            <a:spLocks noChangeAspect="1"/>
          </p:cNvSpPr>
          <p:nvPr/>
        </p:nvSpPr>
        <p:spPr>
          <a:xfrm>
            <a:off x="7212432" y="1544211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4" name="Овал 93">
            <a:extLst>
              <a:ext uri="{FF2B5EF4-FFF2-40B4-BE49-F238E27FC236}">
                <a16:creationId xmlns:a16="http://schemas.microsoft.com/office/drawing/2014/main" id="{AC35F82E-11AD-48FF-ACD4-E186D12F2B06}"/>
              </a:ext>
            </a:extLst>
          </p:cNvPr>
          <p:cNvSpPr>
            <a:spLocks noChangeAspect="1"/>
          </p:cNvSpPr>
          <p:nvPr/>
        </p:nvSpPr>
        <p:spPr>
          <a:xfrm>
            <a:off x="6062764" y="1544767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5" name="Овал 94">
            <a:extLst>
              <a:ext uri="{FF2B5EF4-FFF2-40B4-BE49-F238E27FC236}">
                <a16:creationId xmlns:a16="http://schemas.microsoft.com/office/drawing/2014/main" id="{BACDEF86-FC92-42B8-B952-F0547CD70B9C}"/>
              </a:ext>
            </a:extLst>
          </p:cNvPr>
          <p:cNvSpPr>
            <a:spLocks noChangeAspect="1"/>
          </p:cNvSpPr>
          <p:nvPr/>
        </p:nvSpPr>
        <p:spPr>
          <a:xfrm>
            <a:off x="408138" y="4389083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Овал 95">
            <a:extLst>
              <a:ext uri="{FF2B5EF4-FFF2-40B4-BE49-F238E27FC236}">
                <a16:creationId xmlns:a16="http://schemas.microsoft.com/office/drawing/2014/main" id="{BBCB20C4-69E8-4273-9CC7-727E47D079B4}"/>
              </a:ext>
            </a:extLst>
          </p:cNvPr>
          <p:cNvSpPr>
            <a:spLocks noChangeAspect="1"/>
          </p:cNvSpPr>
          <p:nvPr/>
        </p:nvSpPr>
        <p:spPr>
          <a:xfrm>
            <a:off x="5330020" y="4389083"/>
            <a:ext cx="144000" cy="144000"/>
          </a:xfrm>
          <a:prstGeom prst="ellipse">
            <a:avLst/>
          </a:prstGeom>
          <a:noFill/>
          <a:ln>
            <a:solidFill>
              <a:srgbClr val="FFAB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7" name="Объект 2">
            <a:extLst>
              <a:ext uri="{FF2B5EF4-FFF2-40B4-BE49-F238E27FC236}">
                <a16:creationId xmlns:a16="http://schemas.microsoft.com/office/drawing/2014/main" id="{03609A5B-6C1D-4911-AFFC-97C8A1FBF213}"/>
              </a:ext>
            </a:extLst>
          </p:cNvPr>
          <p:cNvSpPr txBox="1">
            <a:spLocks/>
          </p:cNvSpPr>
          <p:nvPr/>
        </p:nvSpPr>
        <p:spPr>
          <a:xfrm>
            <a:off x="552138" y="4283670"/>
            <a:ext cx="2640642" cy="45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2800"/>
              <a:buFont typeface="Arial"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Процент вовлечения выше</a:t>
            </a:r>
          </a:p>
        </p:txBody>
      </p:sp>
      <p:sp>
        <p:nvSpPr>
          <p:cNvPr id="98" name="Объект 2">
            <a:extLst>
              <a:ext uri="{FF2B5EF4-FFF2-40B4-BE49-F238E27FC236}">
                <a16:creationId xmlns:a16="http://schemas.microsoft.com/office/drawing/2014/main" id="{DA386BF5-559B-4D90-B7E6-13014E4726DB}"/>
              </a:ext>
            </a:extLst>
          </p:cNvPr>
          <p:cNvSpPr txBox="1">
            <a:spLocks/>
          </p:cNvSpPr>
          <p:nvPr/>
        </p:nvSpPr>
        <p:spPr>
          <a:xfrm>
            <a:off x="5486767" y="4282236"/>
            <a:ext cx="2640642" cy="45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2800"/>
              <a:buFont typeface="Arial"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/>
              </a:rPr>
              <a:t>Процент вовлечения ниже</a:t>
            </a:r>
          </a:p>
        </p:txBody>
      </p:sp>
    </p:spTree>
    <p:extLst>
      <p:ext uri="{BB962C8B-B14F-4D97-AF65-F5344CB8AC3E}">
        <p14:creationId xmlns:p14="http://schemas.microsoft.com/office/powerpoint/2010/main" val="25477556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009D63F-1701-4135-A439-D0228F38F0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712" t="12229" r="28423" b="4865"/>
          <a:stretch/>
        </p:blipFill>
        <p:spPr>
          <a:xfrm>
            <a:off x="228600" y="254000"/>
            <a:ext cx="3725871" cy="4264230"/>
          </a:xfrm>
          <a:prstGeom prst="rect">
            <a:avLst/>
          </a:prstGeom>
        </p:spPr>
      </p:pic>
      <p:pic>
        <p:nvPicPr>
          <p:cNvPr id="23" name="Google Shape;91;p16">
            <a:extLst>
              <a:ext uri="{FF2B5EF4-FFF2-40B4-BE49-F238E27FC236}">
                <a16:creationId xmlns:a16="http://schemas.microsoft.com/office/drawing/2014/main" id="{C155C265-EC0D-4CAE-AF05-5D4273FA993D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0" y="4738646"/>
            <a:ext cx="9143996" cy="40458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92;p16">
            <a:extLst>
              <a:ext uri="{FF2B5EF4-FFF2-40B4-BE49-F238E27FC236}">
                <a16:creationId xmlns:a16="http://schemas.microsoft.com/office/drawing/2014/main" id="{577EF62E-7690-4B8C-BB17-43AFEE141727}"/>
              </a:ext>
            </a:extLst>
          </p:cNvPr>
          <p:cNvSpPr txBox="1"/>
          <p:nvPr/>
        </p:nvSpPr>
        <p:spPr>
          <a:xfrm>
            <a:off x="178167" y="4768243"/>
            <a:ext cx="7796700" cy="40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© Taif Lubricants 2021.	</a:t>
            </a: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               +7 (800) 5518843                    sm@taif-sm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" sz="600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Inter"/>
                <a:ea typeface="Inter"/>
                <a:cs typeface="Inter"/>
                <a:sym typeface="Inter"/>
              </a:rPr>
              <a:t>	</a:t>
            </a:r>
            <a:endParaRPr kumimoji="0" sz="600" b="0" i="0" u="none" strike="noStrike" kern="0" cap="none" spc="0" normalizeH="0" baseline="0" noProof="0" dirty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Inter"/>
              <a:ea typeface="Inter"/>
              <a:cs typeface="Inter"/>
              <a:sym typeface="Inter"/>
            </a:endParaRP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BC2926E2-E62B-42BC-86BA-51BAB219B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59500" y="308163"/>
            <a:ext cx="2635383" cy="1210934"/>
          </a:xfrm>
          <a:solidFill>
            <a:srgbClr val="FA7800"/>
          </a:solidFill>
        </p:spPr>
        <p:txBody>
          <a:bodyPr>
            <a:normAutofit lnSpcReduction="10000"/>
          </a:bodyPr>
          <a:lstStyle/>
          <a:p>
            <a:pPr marL="0" indent="0" algn="r">
              <a:lnSpc>
                <a:spcPct val="107000"/>
              </a:lnSpc>
              <a:spcAft>
                <a:spcPts val="600"/>
              </a:spcAft>
              <a:buNone/>
            </a:pPr>
            <a:r>
              <a:rPr lang="ru-RU" sz="2100" b="1" u="sng" dirty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сла для </a:t>
            </a:r>
            <a:r>
              <a:rPr lang="ru-RU" sz="2100" b="1" u="sng" dirty="0" err="1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азопоршневых</a:t>
            </a:r>
            <a:r>
              <a:rPr lang="ru-RU" sz="2100" b="1" u="sng" dirty="0">
                <a:solidFill>
                  <a:schemeClr val="bg1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двигателей (ГПУ)</a:t>
            </a:r>
            <a:endParaRPr lang="ru-RU" sz="2100" b="1" u="sng" dirty="0">
              <a:solidFill>
                <a:schemeClr val="bg1"/>
              </a:solidFill>
              <a:effectLst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7A87863-6538-4BE5-80D4-E8FFE9792E0C}"/>
              </a:ext>
            </a:extLst>
          </p:cNvPr>
          <p:cNvSpPr txBox="1"/>
          <p:nvPr/>
        </p:nvSpPr>
        <p:spPr>
          <a:xfrm>
            <a:off x="4244727" y="1758025"/>
            <a:ext cx="4670673" cy="26695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lnSpc>
                <a:spcPct val="107000"/>
              </a:lnSpc>
              <a:spcAft>
                <a:spcPts val="600"/>
              </a:spcAft>
              <a:buClrTx/>
              <a:defRPr/>
            </a:pPr>
            <a:r>
              <a:rPr kumimoji="0" lang="ru-RU" sz="2100" b="1" i="0" u="sng" strike="noStrike" kern="1200" cap="none" spc="0" normalizeH="0" baseline="0" noProof="0" dirty="0">
                <a:ln>
                  <a:noFill/>
                </a:ln>
                <a:solidFill>
                  <a:srgbClr val="EC7E34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Преимущества</a:t>
            </a:r>
          </a:p>
          <a:p>
            <a:pPr marR="0" lvl="0" algn="just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Синтетические базовые масла обладают следующими преимуществами перед нефтяными:</a:t>
            </a: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Лучшая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термоокислительная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стабильность, а следовательно снижение образования отложений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Медленное увеличение вязкости и кислотного числа в процессе старения, увеличивающее интервалы замены смазочного материала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Низкая летучесть обеспечивающие снижение расхода масла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  <a:p>
            <a:pPr marL="214313" marR="0" lvl="0" indent="-214313" algn="l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Лучшие вязкостно-температурные характеристики (ИВ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779E9E4-A1F2-465E-A371-849AD7B49FAB}"/>
              </a:ext>
            </a:extLst>
          </p:cNvPr>
          <p:cNvCxnSpPr>
            <a:cxnSpLocks/>
          </p:cNvCxnSpPr>
          <p:nvPr/>
        </p:nvCxnSpPr>
        <p:spPr>
          <a:xfrm>
            <a:off x="4183966" y="1758025"/>
            <a:ext cx="0" cy="2760204"/>
          </a:xfrm>
          <a:prstGeom prst="line">
            <a:avLst/>
          </a:prstGeom>
          <a:ln w="22225">
            <a:solidFill>
              <a:srgbClr val="EC7E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25348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B80KdQ7EKIOml9OX2rO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7Rs1kN20Ct19Ka.rny7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nJaipmAU2badWyoDgc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UrjoFOvUuFMAkifAiw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ChJG9_g0aNAQZkYOft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wu_zX3vkWRzhYzbYbl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._YAc1g0GmwCnip5ER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eT00JRR0uCzl_B10YG3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7Rs1kN20Ct19Ka.rny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nJaipmAU2badWyoDgc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UrjoFOvUuFMAkifAiw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ChJG9_g0aNAQZkYOft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wu_zX3vkWRzhYzbYbl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._YAc1g0GmwCnip5ER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eT00JRR0uCzl_B10YG3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B80KdQ7EKIOml9OX2rOQ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172</TotalTime>
  <Words>2339</Words>
  <Application>Microsoft Office PowerPoint</Application>
  <PresentationFormat>Экран (16:9)</PresentationFormat>
  <Paragraphs>635</Paragraphs>
  <Slides>24</Slides>
  <Notes>2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24</vt:i4>
      </vt:variant>
    </vt:vector>
  </HeadingPairs>
  <TitlesOfParts>
    <vt:vector size="34" baseType="lpstr">
      <vt:lpstr>Arial</vt:lpstr>
      <vt:lpstr>Calibri</vt:lpstr>
      <vt:lpstr>Calibri Light</vt:lpstr>
      <vt:lpstr>Century Gothic</vt:lpstr>
      <vt:lpstr>Europe</vt:lpstr>
      <vt:lpstr>Inter</vt:lpstr>
      <vt:lpstr>Times New Roman</vt:lpstr>
      <vt:lpstr>Wingdings</vt:lpstr>
      <vt:lpstr>Simple Light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ЧТО ТАКОЕ ПАО (полиальфаолефины)</vt:lpstr>
      <vt:lpstr>Презентация PowerPoint</vt:lpstr>
      <vt:lpstr>АССОРТИМЕНТ ПРОДУКЦИИ</vt:lpstr>
      <vt:lpstr>ОБЛАСТЬ ПРИМЕНЕ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тдел технической поддержки ООО "ТАИФ-СМ"</dc:creator>
  <cp:lastModifiedBy>Ахметов Руслан Вилевич</cp:lastModifiedBy>
  <cp:revision>331</cp:revision>
  <dcterms:modified xsi:type="dcterms:W3CDTF">2021-08-12T15:36:23Z</dcterms:modified>
</cp:coreProperties>
</file>